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5.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7.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19.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20.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22.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handoutMasterIdLst>
    <p:handoutMasterId r:id="rId32"/>
  </p:handoutMasterIdLst>
  <p:sldIdLst>
    <p:sldId id="459" r:id="rId2"/>
    <p:sldId id="619" r:id="rId3"/>
    <p:sldId id="621" r:id="rId4"/>
    <p:sldId id="622" r:id="rId5"/>
    <p:sldId id="623" r:id="rId6"/>
    <p:sldId id="624" r:id="rId7"/>
    <p:sldId id="625" r:id="rId8"/>
    <p:sldId id="635" r:id="rId9"/>
    <p:sldId id="636" r:id="rId10"/>
    <p:sldId id="637" r:id="rId11"/>
    <p:sldId id="633" r:id="rId12"/>
    <p:sldId id="634" r:id="rId13"/>
    <p:sldId id="631" r:id="rId14"/>
    <p:sldId id="582" r:id="rId15"/>
    <p:sldId id="583" r:id="rId16"/>
    <p:sldId id="585" r:id="rId17"/>
    <p:sldId id="587" r:id="rId18"/>
    <p:sldId id="598" r:id="rId19"/>
    <p:sldId id="599" r:id="rId20"/>
    <p:sldId id="605" r:id="rId21"/>
    <p:sldId id="606" r:id="rId22"/>
    <p:sldId id="607" r:id="rId23"/>
    <p:sldId id="608" r:id="rId24"/>
    <p:sldId id="609" r:id="rId25"/>
    <p:sldId id="610" r:id="rId26"/>
    <p:sldId id="611" r:id="rId27"/>
    <p:sldId id="612" r:id="rId28"/>
    <p:sldId id="613" r:id="rId29"/>
    <p:sldId id="348" r:id="rId30"/>
  </p:sldIdLst>
  <p:sldSz cx="9144000" cy="6858000" type="screen4x3"/>
  <p:notesSz cx="6797675" cy="9874250"/>
  <p:custDataLst>
    <p:tags r:id="rId3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8">
          <p15:clr>
            <a:srgbClr val="A4A3A4"/>
          </p15:clr>
        </p15:guide>
        <p15:guide id="2" orient="horz" pos="663">
          <p15:clr>
            <a:srgbClr val="A4A3A4"/>
          </p15:clr>
        </p15:guide>
        <p15:guide id="3" orient="horz" pos="2273">
          <p15:clr>
            <a:srgbClr val="A4A3A4"/>
          </p15:clr>
        </p15:guide>
        <p15:guide id="4" orient="horz" pos="2364">
          <p15:clr>
            <a:srgbClr val="A4A3A4"/>
          </p15:clr>
        </p15:guide>
        <p15:guide id="5" orient="horz" pos="3226">
          <p15:clr>
            <a:srgbClr val="A4A3A4"/>
          </p15:clr>
        </p15:guide>
        <p15:guide id="6" orient="horz" pos="3974">
          <p15:clr>
            <a:srgbClr val="A4A3A4"/>
          </p15:clr>
        </p15:guide>
        <p15:guide id="7" orient="horz" pos="4110">
          <p15:clr>
            <a:srgbClr val="A4A3A4"/>
          </p15:clr>
        </p15:guide>
        <p15:guide id="8" orient="horz" pos="4224">
          <p15:clr>
            <a:srgbClr val="A4A3A4"/>
          </p15:clr>
        </p15:guide>
        <p15:guide id="9" pos="2835">
          <p15:clr>
            <a:srgbClr val="A4A3A4"/>
          </p15:clr>
        </p15:guide>
        <p15:guide id="10" pos="2925">
          <p15:clr>
            <a:srgbClr val="A4A3A4"/>
          </p15:clr>
        </p15:guide>
        <p15:guide id="11" pos="249">
          <p15:clr>
            <a:srgbClr val="A4A3A4"/>
          </p15:clr>
        </p15:guide>
        <p15:guide id="12" pos="4332">
          <p15:clr>
            <a:srgbClr val="A4A3A4"/>
          </p15:clr>
        </p15:guide>
        <p15:guide id="13" pos="4853">
          <p15:clr>
            <a:srgbClr val="A4A3A4"/>
          </p15:clr>
        </p15:guide>
        <p15:guide id="14" pos="5511">
          <p15:clr>
            <a:srgbClr val="A4A3A4"/>
          </p15:clr>
        </p15:guide>
        <p15:guide id="15" pos="3833">
          <p15:clr>
            <a:srgbClr val="A4A3A4"/>
          </p15:clr>
        </p15:guide>
        <p15:guide id="16" pos="1927">
          <p15:clr>
            <a:srgbClr val="A4A3A4"/>
          </p15:clr>
        </p15:guide>
        <p15:guide id="17" pos="2041">
          <p15:clr>
            <a:srgbClr val="A4A3A4"/>
          </p15:clr>
        </p15:guide>
        <p15:guide id="18" pos="3719">
          <p15:clr>
            <a:srgbClr val="A4A3A4"/>
          </p15:clr>
        </p15:guide>
      </p15:sldGuideLst>
    </p:ext>
    <p:ext uri="{2D200454-40CA-4A62-9FC3-DE9A4176ACB9}">
      <p15:notesGuideLst xmlns:p15="http://schemas.microsoft.com/office/powerpoint/2012/main">
        <p15:guide id="1" orient="horz" pos="527">
          <p15:clr>
            <a:srgbClr val="A4A3A4"/>
          </p15:clr>
        </p15:guide>
        <p15:guide id="2" orient="horz" pos="309">
          <p15:clr>
            <a:srgbClr val="A4A3A4"/>
          </p15:clr>
        </p15:guide>
        <p15:guide id="3" orient="horz" pos="3110">
          <p15:clr>
            <a:srgbClr val="A4A3A4"/>
          </p15:clr>
        </p15:guide>
        <p15:guide id="4" orient="horz" pos="3240">
          <p15:clr>
            <a:srgbClr val="A4A3A4"/>
          </p15:clr>
        </p15:guide>
        <p15:guide id="5" orient="horz" pos="5671">
          <p15:clr>
            <a:srgbClr val="A4A3A4"/>
          </p15:clr>
        </p15:guide>
        <p15:guide id="6" orient="horz" pos="5779">
          <p15:clr>
            <a:srgbClr val="A4A3A4"/>
          </p15:clr>
        </p15:guide>
        <p15:guide id="7" orient="horz" pos="5910">
          <p15:clr>
            <a:srgbClr val="A4A3A4"/>
          </p15:clr>
        </p15:guide>
        <p15:guide id="8" pos="534">
          <p15:clr>
            <a:srgbClr val="A4A3A4"/>
          </p15:clr>
        </p15:guide>
        <p15:guide id="9" pos="398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92" autoAdjust="0"/>
    <p:restoredTop sz="96391" autoAdjust="0"/>
  </p:normalViewPr>
  <p:slideViewPr>
    <p:cSldViewPr snapToObjects="1" showGuides="1">
      <p:cViewPr varScale="1">
        <p:scale>
          <a:sx n="112" d="100"/>
          <a:sy n="112" d="100"/>
        </p:scale>
        <p:origin x="1650" y="108"/>
      </p:cViewPr>
      <p:guideLst>
        <p:guide orient="horz" pos="278"/>
        <p:guide orient="horz" pos="663"/>
        <p:guide orient="horz" pos="2273"/>
        <p:guide orient="horz" pos="2364"/>
        <p:guide orient="horz" pos="3226"/>
        <p:guide orient="horz" pos="3974"/>
        <p:guide orient="horz" pos="4110"/>
        <p:guide orient="horz" pos="4224"/>
        <p:guide pos="2835"/>
        <p:guide pos="2925"/>
        <p:guide pos="249"/>
        <p:guide pos="4332"/>
        <p:guide pos="4853"/>
        <p:guide pos="5511"/>
        <p:guide pos="3833"/>
        <p:guide pos="1927"/>
        <p:guide pos="2041"/>
        <p:guide pos="3719"/>
      </p:guideLst>
    </p:cSldViewPr>
  </p:slideViewPr>
  <p:outlineViewPr>
    <p:cViewPr>
      <p:scale>
        <a:sx n="33" d="100"/>
        <a:sy n="33" d="100"/>
      </p:scale>
      <p:origin x="0" y="0"/>
    </p:cViewPr>
  </p:outlineViewPr>
  <p:notesTextViewPr>
    <p:cViewPr>
      <p:scale>
        <a:sx n="1" d="1"/>
        <a:sy n="1" d="1"/>
      </p:scale>
      <p:origin x="0" y="0"/>
    </p:cViewPr>
  </p:notesTextViewPr>
  <p:notesViewPr>
    <p:cSldViewPr snapToObjects="1" showGuides="1">
      <p:cViewPr>
        <p:scale>
          <a:sx n="75" d="100"/>
          <a:sy n="75" d="100"/>
        </p:scale>
        <p:origin x="-4074" y="-174"/>
      </p:cViewPr>
      <p:guideLst>
        <p:guide orient="horz" pos="527"/>
        <p:guide orient="horz" pos="309"/>
        <p:guide orient="horz" pos="3110"/>
        <p:guide orient="horz" pos="3240"/>
        <p:guide orient="horz" pos="5671"/>
        <p:guide orient="horz" pos="5779"/>
        <p:guide orient="horz" pos="5910"/>
        <p:guide pos="534"/>
        <p:guide pos="398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image" Target="../media/image76.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image" Target="../media/image70.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83.emf"/><Relationship Id="rId1" Type="http://schemas.openxmlformats.org/officeDocument/2006/relationships/image" Target="../media/image76.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4.emf"/><Relationship Id="rId1" Type="http://schemas.openxmlformats.org/officeDocument/2006/relationships/image" Target="../media/image76.emf"/><Relationship Id="rId4" Type="http://schemas.openxmlformats.org/officeDocument/2006/relationships/image" Target="../media/image86.w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image" Target="../media/image40.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03.emf"/><Relationship Id="rId1" Type="http://schemas.openxmlformats.org/officeDocument/2006/relationships/image" Target="../media/image40.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105.emf"/><Relationship Id="rId1" Type="http://schemas.openxmlformats.org/officeDocument/2006/relationships/image" Target="../media/image40.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image" Target="../media/image4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10.emf"/><Relationship Id="rId1" Type="http://schemas.openxmlformats.org/officeDocument/2006/relationships/image" Target="../media/image4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5.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ags" Target="../tags/tag5.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8" name="Group 27"/>
          <p:cNvGrpSpPr/>
          <p:nvPr/>
        </p:nvGrpSpPr>
        <p:grpSpPr bwMode="gray">
          <a:xfrm>
            <a:off x="5341144" y="9169702"/>
            <a:ext cx="988356" cy="394174"/>
            <a:chOff x="7704138" y="217488"/>
            <a:chExt cx="1044575" cy="416595"/>
          </a:xfrm>
        </p:grpSpPr>
        <p:sp>
          <p:nvSpPr>
            <p:cNvPr id="29" name="Freeform 10"/>
            <p:cNvSpPr>
              <a:spLocks noEditPoints="1"/>
            </p:cNvSpPr>
            <p:nvPr userDrawn="1"/>
          </p:nvSpPr>
          <p:spPr bwMode="gray">
            <a:xfrm>
              <a:off x="7704138" y="217488"/>
              <a:ext cx="1044575" cy="223838"/>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30" name="Picture 10" descr="oe_balz_pos_rgb"/>
            <p:cNvPicPr>
              <a:picLocks noChangeAspect="1" noChangeArrowheads="1"/>
            </p:cNvPicPr>
            <p:nvPr userDrawn="1">
              <p:custDataLst>
                <p:tags r:id="rId2"/>
              </p:custDataLst>
            </p:nvPr>
          </p:nvPicPr>
          <p:blipFill rotWithShape="1">
            <a:blip r:embed="rId3"/>
            <a:srcRect t="53761"/>
            <a:stretch/>
          </p:blipFill>
          <p:spPr bwMode="gray">
            <a:xfrm>
              <a:off x="7704138" y="441324"/>
              <a:ext cx="1044575" cy="192759"/>
            </a:xfrm>
            <a:prstGeom prst="rect">
              <a:avLst/>
            </a:prstGeom>
            <a:noFill/>
          </p:spPr>
        </p:pic>
      </p:grpSp>
      <p:sp>
        <p:nvSpPr>
          <p:cNvPr id="2" name="Header Placeholder 1"/>
          <p:cNvSpPr>
            <a:spLocks noGrp="1"/>
          </p:cNvSpPr>
          <p:nvPr>
            <p:ph type="hdr" sz="quarter"/>
          </p:nvPr>
        </p:nvSpPr>
        <p:spPr bwMode="gray">
          <a:xfrm>
            <a:off x="468522" y="487051"/>
            <a:ext cx="2826893" cy="349206"/>
          </a:xfrm>
          <a:prstGeom prst="rect">
            <a:avLst/>
          </a:prstGeom>
        </p:spPr>
        <p:txBody>
          <a:bodyPr vert="horz" lIns="0" tIns="0" rIns="0" bIns="0" rtlCol="0"/>
          <a:lstStyle>
            <a:lvl1pPr algn="l">
              <a:defRPr sz="1100"/>
            </a:lvl1pPr>
          </a:lstStyle>
          <a:p>
            <a:endParaRPr lang="en-US" dirty="0"/>
          </a:p>
        </p:txBody>
      </p:sp>
      <p:sp>
        <p:nvSpPr>
          <p:cNvPr id="3" name="Date Placeholder 2"/>
          <p:cNvSpPr>
            <a:spLocks noGrp="1"/>
          </p:cNvSpPr>
          <p:nvPr>
            <p:ph type="dt" sz="quarter" idx="1"/>
          </p:nvPr>
        </p:nvSpPr>
        <p:spPr bwMode="gray">
          <a:xfrm>
            <a:off x="3536736" y="487050"/>
            <a:ext cx="2792764" cy="349207"/>
          </a:xfrm>
          <a:prstGeom prst="rect">
            <a:avLst/>
          </a:prstGeom>
        </p:spPr>
        <p:txBody>
          <a:bodyPr vert="horz" lIns="0" tIns="0" rIns="0" bIns="0" rtlCol="0"/>
          <a:lstStyle>
            <a:lvl1pPr algn="r">
              <a:defRPr sz="1100"/>
            </a:lvl1pPr>
          </a:lstStyle>
          <a:p>
            <a:fld id="{05EFC736-0AFB-4545-8442-0349816BC7A7}" type="datetimeFigureOut">
              <a:rPr lang="en-US" smtClean="0"/>
              <a:t>5/15/2017</a:t>
            </a:fld>
            <a:endParaRPr lang="en-US"/>
          </a:p>
        </p:txBody>
      </p:sp>
      <p:sp>
        <p:nvSpPr>
          <p:cNvPr id="4" name="Footer Placeholder 3"/>
          <p:cNvSpPr>
            <a:spLocks noGrp="1"/>
          </p:cNvSpPr>
          <p:nvPr>
            <p:ph type="ftr" sz="quarter" idx="2"/>
          </p:nvPr>
        </p:nvSpPr>
        <p:spPr bwMode="gray">
          <a:xfrm>
            <a:off x="1468371" y="8999525"/>
            <a:ext cx="3412956" cy="379838"/>
          </a:xfrm>
          <a:prstGeom prst="rect">
            <a:avLst/>
          </a:prstGeom>
        </p:spPr>
        <p:txBody>
          <a:bodyPr vert="horz" lIns="0" tIns="0" rIns="0" bIns="0" rtlCol="0" anchor="b"/>
          <a:lstStyle>
            <a:lvl1pPr algn="l">
              <a:defRPr sz="1100"/>
            </a:lvl1pPr>
          </a:lstStyle>
          <a:p>
            <a:endParaRPr lang="en-US" dirty="0"/>
          </a:p>
        </p:txBody>
      </p:sp>
      <p:sp>
        <p:nvSpPr>
          <p:cNvPr id="5" name="Slide Number Placeholder 4"/>
          <p:cNvSpPr>
            <a:spLocks noGrp="1"/>
          </p:cNvSpPr>
          <p:nvPr>
            <p:ph type="sldNum" sz="quarter" idx="3"/>
          </p:nvPr>
        </p:nvSpPr>
        <p:spPr bwMode="gray">
          <a:xfrm>
            <a:off x="468523" y="8999525"/>
            <a:ext cx="999848" cy="379838"/>
          </a:xfrm>
          <a:prstGeom prst="rect">
            <a:avLst/>
          </a:prstGeom>
        </p:spPr>
        <p:txBody>
          <a:bodyPr vert="horz" lIns="0" tIns="0" rIns="0" bIns="0" rtlCol="0" anchor="b"/>
          <a:lstStyle>
            <a:lvl1pPr algn="r">
              <a:defRPr sz="1100"/>
            </a:lvl1pPr>
          </a:lstStyle>
          <a:p>
            <a:pPr algn="l"/>
            <a:r>
              <a:rPr lang="en-US" dirty="0" smtClean="0"/>
              <a:t>Page </a:t>
            </a:r>
            <a:fld id="{43B04D1D-CCF3-40A9-B189-CE366AA4F8F6}" type="slidenum">
              <a:rPr lang="en-US" smtClean="0"/>
              <a:pPr algn="l"/>
              <a:t>‹#›</a:t>
            </a:fld>
            <a:endParaRPr lang="en-US" dirty="0"/>
          </a:p>
        </p:txBody>
      </p:sp>
      <p:grpSp>
        <p:nvGrpSpPr>
          <p:cNvPr id="7" name="Group 6"/>
          <p:cNvGrpSpPr/>
          <p:nvPr/>
        </p:nvGrpSpPr>
        <p:grpSpPr bwMode="gray">
          <a:xfrm>
            <a:off x="-83068" y="-97794"/>
            <a:ext cx="7000389" cy="10071682"/>
            <a:chOff x="-86754" y="-101364"/>
            <a:chExt cx="7311008" cy="10439250"/>
          </a:xfrm>
        </p:grpSpPr>
        <p:cxnSp>
          <p:nvCxnSpPr>
            <p:cNvPr id="8" name="Straight Connector 7"/>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89154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ags" Target="../tags/tag4.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855446" y="490114"/>
            <a:ext cx="4094736" cy="342853"/>
          </a:xfrm>
          <a:prstGeom prst="rect">
            <a:avLst/>
          </a:prstGeom>
        </p:spPr>
        <p:txBody>
          <a:bodyPr vert="horz" lIns="0" tIns="0" rIns="0" bIns="0" rtlCol="0"/>
          <a:lstStyle>
            <a:lvl1pPr algn="l">
              <a:defRPr sz="1100" b="1"/>
            </a:lvl1pPr>
          </a:lstStyle>
          <a:p>
            <a:endParaRPr lang="en-US" dirty="0"/>
          </a:p>
        </p:txBody>
      </p:sp>
      <p:sp>
        <p:nvSpPr>
          <p:cNvPr id="3" name="Date Placeholder 2"/>
          <p:cNvSpPr>
            <a:spLocks noGrp="1"/>
          </p:cNvSpPr>
          <p:nvPr>
            <p:ph type="dt" idx="1"/>
          </p:nvPr>
        </p:nvSpPr>
        <p:spPr bwMode="gray">
          <a:xfrm>
            <a:off x="4950181" y="490114"/>
            <a:ext cx="1379318" cy="342853"/>
          </a:xfrm>
          <a:prstGeom prst="rect">
            <a:avLst/>
          </a:prstGeom>
        </p:spPr>
        <p:txBody>
          <a:bodyPr vert="horz" lIns="0" tIns="0" rIns="0" bIns="0" rtlCol="0"/>
          <a:lstStyle>
            <a:lvl1pPr algn="r">
              <a:defRPr sz="900"/>
            </a:lvl1pPr>
          </a:lstStyle>
          <a:p>
            <a:fld id="{DA30A0F7-4C0D-4162-8B62-872A0D160B8C}" type="datetimeFigureOut">
              <a:rPr lang="en-US" smtClean="0"/>
              <a:pPr/>
              <a:t>5/15/2017</a:t>
            </a:fld>
            <a:endParaRPr lang="en-US"/>
          </a:p>
        </p:txBody>
      </p:sp>
      <p:sp>
        <p:nvSpPr>
          <p:cNvPr id="4" name="Slide Image Placeholder 3"/>
          <p:cNvSpPr>
            <a:spLocks noGrp="1" noRot="1" noChangeAspect="1"/>
          </p:cNvSpPr>
          <p:nvPr>
            <p:ph type="sldImg" idx="2"/>
          </p:nvPr>
        </p:nvSpPr>
        <p:spPr bwMode="gray">
          <a:xfrm>
            <a:off x="845237" y="828675"/>
            <a:ext cx="5484263" cy="4113198"/>
          </a:xfrm>
          <a:prstGeom prst="rect">
            <a:avLst/>
          </a:prstGeom>
          <a:noFill/>
          <a:ln w="12700">
            <a:solidFill>
              <a:prstClr val="black"/>
            </a:solidFill>
          </a:ln>
        </p:spPr>
        <p:txBody>
          <a:bodyPr vert="horz" lIns="95264" tIns="47631" rIns="95264" bIns="47631" rtlCol="0" anchor="ctr"/>
          <a:lstStyle/>
          <a:p>
            <a:endParaRPr lang="en-US"/>
          </a:p>
        </p:txBody>
      </p:sp>
      <p:sp>
        <p:nvSpPr>
          <p:cNvPr id="5" name="Notes Placeholder 4"/>
          <p:cNvSpPr>
            <a:spLocks noGrp="1"/>
          </p:cNvSpPr>
          <p:nvPr>
            <p:ph type="body" sz="quarter" idx="3"/>
          </p:nvPr>
        </p:nvSpPr>
        <p:spPr bwMode="gray">
          <a:xfrm>
            <a:off x="848189" y="5144659"/>
            <a:ext cx="5475409" cy="3856579"/>
          </a:xfrm>
          <a:prstGeom prst="rect">
            <a:avLst/>
          </a:prstGeom>
        </p:spPr>
        <p:txBody>
          <a:bodyPr vert="horz" lIns="0" tIns="0" rIns="0" bIns="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 name="Footer Placeholder 5"/>
          <p:cNvSpPr>
            <a:spLocks noGrp="1"/>
          </p:cNvSpPr>
          <p:nvPr>
            <p:ph type="ftr" sz="quarter" idx="4"/>
          </p:nvPr>
        </p:nvSpPr>
        <p:spPr bwMode="gray">
          <a:xfrm>
            <a:off x="1778462" y="9174307"/>
            <a:ext cx="2585657" cy="204517"/>
          </a:xfrm>
          <a:prstGeom prst="rect">
            <a:avLst/>
          </a:prstGeom>
        </p:spPr>
        <p:txBody>
          <a:bodyPr vert="horz" lIns="0" tIns="0" rIns="0" bIns="0" rtlCol="0" anchor="b"/>
          <a:lstStyle>
            <a:lvl1pPr algn="l">
              <a:defRPr sz="900"/>
            </a:lvl1pPr>
          </a:lstStyle>
          <a:p>
            <a:endParaRPr lang="en-US" dirty="0"/>
          </a:p>
        </p:txBody>
      </p:sp>
      <p:sp>
        <p:nvSpPr>
          <p:cNvPr id="7" name="Slide Number Placeholder 6"/>
          <p:cNvSpPr>
            <a:spLocks noGrp="1"/>
          </p:cNvSpPr>
          <p:nvPr>
            <p:ph type="sldNum" sz="quarter" idx="5"/>
          </p:nvPr>
        </p:nvSpPr>
        <p:spPr bwMode="gray">
          <a:xfrm>
            <a:off x="848189" y="9176175"/>
            <a:ext cx="930273" cy="202650"/>
          </a:xfrm>
          <a:prstGeom prst="rect">
            <a:avLst/>
          </a:prstGeom>
        </p:spPr>
        <p:txBody>
          <a:bodyPr vert="horz" lIns="0" tIns="0" rIns="0" bIns="0" rtlCol="0" anchor="b"/>
          <a:lstStyle>
            <a:lvl1pPr algn="l">
              <a:defRPr sz="900"/>
            </a:lvl1pPr>
          </a:lstStyle>
          <a:p>
            <a:r>
              <a:rPr lang="en-US" dirty="0" smtClean="0"/>
              <a:t>Page </a:t>
            </a:r>
            <a:fld id="{B936D8B3-C460-44AC-B9A0-2EFBD5732908}" type="slidenum">
              <a:rPr lang="en-US" smtClean="0"/>
              <a:pPr/>
              <a:t>‹#›</a:t>
            </a:fld>
            <a:endParaRPr lang="en-US" dirty="0"/>
          </a:p>
        </p:txBody>
      </p:sp>
      <p:grpSp>
        <p:nvGrpSpPr>
          <p:cNvPr id="39" name="Group 38"/>
          <p:cNvGrpSpPr/>
          <p:nvPr/>
        </p:nvGrpSpPr>
        <p:grpSpPr bwMode="gray">
          <a:xfrm>
            <a:off x="-83068" y="-97794"/>
            <a:ext cx="7000389" cy="10071682"/>
            <a:chOff x="-86754" y="-101364"/>
            <a:chExt cx="7311008" cy="10439250"/>
          </a:xfrm>
        </p:grpSpPr>
        <p:cxnSp>
          <p:nvCxnSpPr>
            <p:cNvPr id="10" name="Straight Connector 9"/>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86754"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86754" y="511401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a:off x="7152246"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gray">
            <a:xfrm>
              <a:off x="7152246" y="511401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3" name="Group 11"/>
          <p:cNvGrpSpPr>
            <a:grpSpLocks/>
          </p:cNvGrpSpPr>
          <p:nvPr/>
        </p:nvGrpSpPr>
        <p:grpSpPr bwMode="auto">
          <a:xfrm>
            <a:off x="5329305" y="9169717"/>
            <a:ext cx="1000195" cy="398254"/>
            <a:chOff x="4853" y="137"/>
            <a:chExt cx="658" cy="262"/>
          </a:xfrm>
        </p:grpSpPr>
        <p:pic>
          <p:nvPicPr>
            <p:cNvPr id="34" name="Picture 10" descr="oe_balz_pos_rgb"/>
            <p:cNvPicPr>
              <a:picLocks noChangeAspect="1" noChangeArrowheads="1"/>
            </p:cNvPicPr>
            <p:nvPr userDrawn="1">
              <p:custDataLst>
                <p:tags r:id="rId2"/>
              </p:custDataLst>
            </p:nvPr>
          </p:nvPicPr>
          <p:blipFill>
            <a:blip r:embed="rId3">
              <a:extLst>
                <a:ext uri="{28A0092B-C50C-407E-A947-70E740481C1C}">
                  <a14:useLocalDpi xmlns:a14="http://schemas.microsoft.com/office/drawing/2010/main" val="0"/>
                </a:ext>
              </a:extLst>
            </a:blip>
            <a:srcRect t="58397"/>
            <a:stretch>
              <a:fillRect/>
            </a:stretch>
          </p:blipFill>
          <p:spPr bwMode="gray">
            <a:xfrm>
              <a:off x="4853" y="290"/>
              <a:ext cx="658"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Freeform 13"/>
            <p:cNvSpPr>
              <a:spLocks noEditPoints="1"/>
            </p:cNvSpPr>
            <p:nvPr userDrawn="1"/>
          </p:nvSpPr>
          <p:spPr bwMode="gray">
            <a:xfrm>
              <a:off x="4853" y="137"/>
              <a:ext cx="658" cy="141"/>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924782"/>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spcBef>
        <a:spcPts val="300"/>
      </a:spcBef>
      <a:spcAft>
        <a:spcPts val="200"/>
      </a:spcAft>
      <a:defRPr sz="1200" kern="1200">
        <a:solidFill>
          <a:schemeClr val="tx1"/>
        </a:solidFill>
        <a:latin typeface="+mn-lt"/>
        <a:ea typeface="+mn-ea"/>
        <a:cs typeface="+mn-cs"/>
      </a:defRPr>
    </a:lvl1pPr>
    <a:lvl2pPr marL="0" indent="0" algn="l" defTabSz="914400" rtl="0" eaLnBrk="1" latinLnBrk="0" hangingPunct="1">
      <a:spcBef>
        <a:spcPts val="300"/>
      </a:spcBef>
      <a:spcAft>
        <a:spcPts val="200"/>
      </a:spcAft>
      <a:defRPr sz="1200" b="1" kern="1200">
        <a:solidFill>
          <a:schemeClr val="tx1"/>
        </a:solidFill>
        <a:latin typeface="+mn-lt"/>
        <a:ea typeface="+mn-ea"/>
        <a:cs typeface="+mn-cs"/>
      </a:defRPr>
    </a:lvl2pPr>
    <a:lvl3pPr marL="180000" indent="-180000" algn="l" defTabSz="914400" rtl="0" eaLnBrk="1" latinLnBrk="0" hangingPunct="1">
      <a:spcBef>
        <a:spcPts val="300"/>
      </a:spcBef>
      <a:spcAft>
        <a:spcPts val="200"/>
      </a:spcAft>
      <a:buClr>
        <a:schemeClr val="bg2"/>
      </a:buClr>
      <a:buFont typeface="Wingdings" pitchFamily="2" charset="2"/>
      <a:buChar char="§"/>
      <a:defRPr sz="1200" kern="1200">
        <a:solidFill>
          <a:schemeClr val="tx1"/>
        </a:solidFill>
        <a:latin typeface="+mn-lt"/>
        <a:ea typeface="+mn-ea"/>
        <a:cs typeface="+mn-cs"/>
      </a:defRPr>
    </a:lvl3pPr>
    <a:lvl4pPr marL="36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4pPr>
    <a:lvl5pPr marL="54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5pPr>
    <a:lvl6pPr marL="216000" indent="-216000" algn="l" defTabSz="914400" rtl="0" eaLnBrk="1" latinLnBrk="0" hangingPunct="1">
      <a:spcBef>
        <a:spcPts val="300"/>
      </a:spcBef>
      <a:spcAft>
        <a:spcPts val="200"/>
      </a:spcAft>
      <a:buClr>
        <a:schemeClr val="bg2"/>
      </a:buClr>
      <a:buSzPct val="80000"/>
      <a:buFont typeface="+mj-lt"/>
      <a:buAutoNum type="arabicPeriod"/>
      <a:defRPr sz="1200" kern="1200">
        <a:solidFill>
          <a:schemeClr val="tx1"/>
        </a:solidFill>
        <a:latin typeface="+mn-lt"/>
        <a:ea typeface="+mn-ea"/>
        <a:cs typeface="+mn-cs"/>
      </a:defRPr>
    </a:lvl6pPr>
    <a:lvl7pPr marL="0" indent="0" algn="l" defTabSz="914400" rtl="0" eaLnBrk="1" latinLnBrk="0" hangingPunct="1">
      <a:spcBef>
        <a:spcPts val="300"/>
      </a:spcBef>
      <a:spcAft>
        <a:spcPts val="200"/>
      </a:spcAft>
      <a:defRPr sz="1200" b="1" kern="1200">
        <a:solidFill>
          <a:schemeClr val="bg2"/>
        </a:solidFill>
        <a:latin typeface="+mn-lt"/>
        <a:ea typeface="+mn-ea"/>
        <a:cs typeface="+mn-cs"/>
      </a:defRPr>
    </a:lvl7pPr>
    <a:lvl8pPr marL="0" indent="0" algn="l" defTabSz="914400" rtl="0" eaLnBrk="1" latinLnBrk="0" hangingPunct="1">
      <a:spcBef>
        <a:spcPts val="300"/>
      </a:spcBef>
      <a:spcAft>
        <a:spcPts val="200"/>
      </a:spcAft>
      <a:defRPr sz="1050" kern="1200">
        <a:solidFill>
          <a:schemeClr val="tx1"/>
        </a:solidFill>
        <a:latin typeface="+mn-lt"/>
        <a:ea typeface="+mn-ea"/>
        <a:cs typeface="+mn-cs"/>
      </a:defRPr>
    </a:lvl8pPr>
    <a:lvl9pPr marL="0" indent="0" algn="l" defTabSz="914400" rtl="0" eaLnBrk="1" latinLnBrk="0" hangingPunct="1">
      <a:spcBef>
        <a:spcPts val="300"/>
      </a:spcBef>
      <a:spcAft>
        <a:spcPts val="200"/>
      </a:spcAft>
      <a:defRPr sz="10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p:cNvSpPr>
            <a:spLocks noGrp="1"/>
          </p:cNvSpPr>
          <p:nvPr>
            <p:ph type="sldNum" sz="quarter" idx="10"/>
          </p:nvPr>
        </p:nvSpPr>
        <p:spPr/>
        <p:txBody>
          <a:bodyPr/>
          <a:lstStyle/>
          <a:p>
            <a:r>
              <a:rPr lang="en-US" dirty="0" smtClean="0"/>
              <a:t>Page </a:t>
            </a:r>
            <a:fld id="{B936D8B3-C460-44AC-B9A0-2EFBD5732908}" type="slidenum">
              <a:rPr lang="en-US" smtClean="0"/>
              <a:pPr/>
              <a:t>1</a:t>
            </a:fld>
            <a:endParaRPr lang="en-US" dirty="0"/>
          </a:p>
        </p:txBody>
      </p:sp>
      <p:sp>
        <p:nvSpPr>
          <p:cNvPr id="13" name="Slide Image Placeholder 12"/>
          <p:cNvSpPr>
            <a:spLocks noGrp="1" noRot="1" noChangeAspect="1"/>
          </p:cNvSpPr>
          <p:nvPr>
            <p:ph type="sldImg"/>
          </p:nvPr>
        </p:nvSpPr>
        <p:spPr>
          <a:xfrm>
            <a:off x="844550" y="828675"/>
            <a:ext cx="5484813" cy="4113213"/>
          </a:xfrm>
        </p:spPr>
      </p:sp>
      <p:sp>
        <p:nvSpPr>
          <p:cNvPr id="14" name="Notes Placeholder 13"/>
          <p:cNvSpPr>
            <a:spLocks noGrp="1"/>
          </p:cNvSpPr>
          <p:nvPr>
            <p:ph type="body" idx="1"/>
          </p:nvPr>
        </p:nvSpPr>
        <p:spPr>
          <a:xfrm>
            <a:off x="848189" y="5144658"/>
            <a:ext cx="5475408" cy="3856578"/>
          </a:xfrm>
        </p:spPr>
        <p:txBody>
          <a:bodyPr/>
          <a:lstStyle/>
          <a:p>
            <a:endParaRPr lang="en-US" dirty="0"/>
          </a:p>
        </p:txBody>
      </p:sp>
    </p:spTree>
    <p:extLst>
      <p:ext uri="{BB962C8B-B14F-4D97-AF65-F5344CB8AC3E}">
        <p14:creationId xmlns:p14="http://schemas.microsoft.com/office/powerpoint/2010/main" val="25555794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r>
              <a:rPr lang="en-US" dirty="0" smtClean="0">
                <a:solidFill>
                  <a:prstClr val="black"/>
                </a:solidFill>
                <a:latin typeface="Calibri"/>
              </a:rPr>
              <a:t>Page </a:t>
            </a:r>
            <a:fld id="{B936D8B3-C460-44AC-B9A0-2EFBD5732908}" type="slidenum">
              <a:rPr lang="en-US" smtClean="0">
                <a:solidFill>
                  <a:prstClr val="black"/>
                </a:solidFill>
                <a:latin typeface="Calibri"/>
              </a:rPr>
              <a:pPr/>
              <a:t>12</a:t>
            </a:fld>
            <a:endParaRPr lang="en-US" dirty="0">
              <a:solidFill>
                <a:prstClr val="black"/>
              </a:solidFill>
              <a:latin typeface="Calibri"/>
            </a:endParaRPr>
          </a:p>
        </p:txBody>
      </p:sp>
      <p:sp>
        <p:nvSpPr>
          <p:cNvPr id="7" name="Slide Image Placeholder 6"/>
          <p:cNvSpPr>
            <a:spLocks noGrp="1" noRot="1" noChangeAspect="1"/>
          </p:cNvSpPr>
          <p:nvPr>
            <p:ph type="sldImg"/>
          </p:nvPr>
        </p:nvSpPr>
        <p:spPr>
          <a:xfrm>
            <a:off x="815975" y="838200"/>
            <a:ext cx="5543550" cy="4157663"/>
          </a:xfrm>
        </p:spPr>
      </p:sp>
      <p:sp>
        <p:nvSpPr>
          <p:cNvPr id="8" name="Notes Placeholder 7"/>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393531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44550" y="828675"/>
            <a:ext cx="5484813" cy="4113213"/>
          </a:xfrm>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r>
              <a:rPr lang="en-US" smtClean="0"/>
              <a:t>Page </a:t>
            </a:r>
            <a:fld id="{B936D8B3-C460-44AC-B9A0-2EFBD5732908}" type="slidenum">
              <a:rPr lang="en-US" smtClean="0"/>
              <a:pPr/>
              <a:t>13</a:t>
            </a:fld>
            <a:endParaRPr lang="en-US" dirty="0"/>
          </a:p>
        </p:txBody>
      </p:sp>
    </p:spTree>
    <p:extLst>
      <p:ext uri="{BB962C8B-B14F-4D97-AF65-F5344CB8AC3E}">
        <p14:creationId xmlns:p14="http://schemas.microsoft.com/office/powerpoint/2010/main" val="31753992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noRot="1" noChangeAspect="1" noChangeArrowheads="1" noTextEdit="1"/>
          </p:cNvSpPr>
          <p:nvPr>
            <p:ph type="sldImg"/>
          </p:nvPr>
        </p:nvSpPr>
        <p:spPr>
          <a:xfrm>
            <a:off x="844550" y="828675"/>
            <a:ext cx="5484813" cy="4113213"/>
          </a:xfrm>
          <a:ln/>
        </p:spPr>
      </p:sp>
      <p:sp>
        <p:nvSpPr>
          <p:cNvPr id="231427" name="Rectangle 3"/>
          <p:cNvSpPr>
            <a:spLocks noGrp="1" noChangeArrowheads="1"/>
          </p:cNvSpPr>
          <p:nvPr>
            <p:ph type="body" idx="1"/>
          </p:nvPr>
        </p:nvSpPr>
        <p:spPr/>
        <p:txBody>
          <a:bodyPr/>
          <a:lstStyle/>
          <a:p>
            <a:endParaRPr lang="de-CH" smtClean="0"/>
          </a:p>
        </p:txBody>
      </p:sp>
    </p:spTree>
    <p:extLst>
      <p:ext uri="{BB962C8B-B14F-4D97-AF65-F5344CB8AC3E}">
        <p14:creationId xmlns:p14="http://schemas.microsoft.com/office/powerpoint/2010/main" val="572671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Rectangle 2"/>
          <p:cNvSpPr>
            <a:spLocks noGrp="1" noRot="1" noChangeAspect="1" noChangeArrowheads="1" noTextEdit="1"/>
          </p:cNvSpPr>
          <p:nvPr>
            <p:ph type="sldImg"/>
          </p:nvPr>
        </p:nvSpPr>
        <p:spPr>
          <a:xfrm>
            <a:off x="844550" y="828675"/>
            <a:ext cx="5484813" cy="4113213"/>
          </a:xfrm>
          <a:ln/>
        </p:spPr>
      </p:sp>
      <p:sp>
        <p:nvSpPr>
          <p:cNvPr id="230403" name="Rectangle 3"/>
          <p:cNvSpPr>
            <a:spLocks noGrp="1" noChangeArrowheads="1"/>
          </p:cNvSpPr>
          <p:nvPr>
            <p:ph type="body" idx="1"/>
          </p:nvPr>
        </p:nvSpPr>
        <p:spPr/>
        <p:txBody>
          <a:bodyPr/>
          <a:lstStyle/>
          <a:p>
            <a:endParaRPr lang="de-CH" smtClean="0"/>
          </a:p>
        </p:txBody>
      </p:sp>
    </p:spTree>
    <p:extLst>
      <p:ext uri="{BB962C8B-B14F-4D97-AF65-F5344CB8AC3E}">
        <p14:creationId xmlns:p14="http://schemas.microsoft.com/office/powerpoint/2010/main" val="10427980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3925F2AA-7FEB-4C83-B695-9DEAEC37DFA5}" type="slidenum">
              <a:rPr lang="en-US">
                <a:solidFill>
                  <a:prstClr val="black"/>
                </a:solidFill>
                <a:latin typeface="Calibri"/>
              </a:rPr>
              <a:pPr/>
              <a:t>16</a:t>
            </a:fld>
            <a:endParaRPr lang="en-US">
              <a:solidFill>
                <a:prstClr val="black"/>
              </a:solidFill>
              <a:latin typeface="Calibri"/>
            </a:endParaRPr>
          </a:p>
        </p:txBody>
      </p:sp>
      <p:sp>
        <p:nvSpPr>
          <p:cNvPr id="452610" name="Rectangle 2"/>
          <p:cNvSpPr>
            <a:spLocks noGrp="1" noRot="1" noChangeAspect="1" noChangeArrowheads="1" noTextEdit="1"/>
          </p:cNvSpPr>
          <p:nvPr>
            <p:ph type="sldImg"/>
          </p:nvPr>
        </p:nvSpPr>
        <p:spPr>
          <a:xfrm>
            <a:off x="930275" y="741363"/>
            <a:ext cx="4937125" cy="3702050"/>
          </a:xfrm>
          <a:ln/>
        </p:spPr>
      </p:sp>
      <p:sp>
        <p:nvSpPr>
          <p:cNvPr id="452611" name="Rectangle 3"/>
          <p:cNvSpPr>
            <a:spLocks noGrp="1" noChangeArrowheads="1"/>
          </p:cNvSpPr>
          <p:nvPr>
            <p:ph type="body" idx="1"/>
          </p:nvPr>
        </p:nvSpPr>
        <p:spPr/>
        <p:txBody>
          <a:bodyPr/>
          <a:lstStyle/>
          <a:p>
            <a:r>
              <a:rPr lang="de-CH" dirty="0" err="1" smtClean="0"/>
              <a:t>Here</a:t>
            </a:r>
            <a:r>
              <a:rPr lang="de-CH" dirty="0" smtClean="0"/>
              <a:t> </a:t>
            </a:r>
            <a:r>
              <a:rPr lang="de-CH" dirty="0" err="1" smtClean="0"/>
              <a:t>we</a:t>
            </a:r>
            <a:r>
              <a:rPr lang="de-CH" dirty="0" smtClean="0"/>
              <a:t> </a:t>
            </a:r>
            <a:r>
              <a:rPr lang="de-CH" dirty="0" err="1" smtClean="0"/>
              <a:t>compare</a:t>
            </a:r>
            <a:r>
              <a:rPr lang="de-CH" dirty="0" smtClean="0"/>
              <a:t> </a:t>
            </a:r>
            <a:r>
              <a:rPr lang="de-CH" dirty="0" err="1" smtClean="0"/>
              <a:t>manufacturing</a:t>
            </a:r>
            <a:r>
              <a:rPr lang="de-CH" dirty="0" smtClean="0"/>
              <a:t> </a:t>
            </a:r>
            <a:r>
              <a:rPr lang="de-CH" dirty="0" err="1" smtClean="0"/>
              <a:t>costs</a:t>
            </a:r>
            <a:r>
              <a:rPr lang="de-CH" dirty="0" smtClean="0"/>
              <a:t> </a:t>
            </a:r>
            <a:r>
              <a:rPr lang="de-CH" dirty="0" err="1" smtClean="0"/>
              <a:t>of</a:t>
            </a:r>
            <a:r>
              <a:rPr lang="de-CH" dirty="0" smtClean="0"/>
              <a:t> </a:t>
            </a:r>
            <a:r>
              <a:rPr lang="de-CH" dirty="0" err="1" smtClean="0"/>
              <a:t>producing</a:t>
            </a:r>
            <a:r>
              <a:rPr lang="de-CH" dirty="0" smtClean="0"/>
              <a:t> </a:t>
            </a:r>
            <a:r>
              <a:rPr lang="de-CH" dirty="0" err="1" smtClean="0"/>
              <a:t>gears</a:t>
            </a:r>
            <a:r>
              <a:rPr lang="de-CH" dirty="0" smtClean="0"/>
              <a:t> </a:t>
            </a:r>
            <a:r>
              <a:rPr lang="de-CH" dirty="0" err="1" smtClean="0"/>
              <a:t>by</a:t>
            </a:r>
            <a:endParaRPr lang="de-CH" dirty="0" smtClean="0"/>
          </a:p>
          <a:p>
            <a:pPr marL="171450" indent="-171450">
              <a:buFontTx/>
              <a:buChar char="-"/>
            </a:pPr>
            <a:r>
              <a:rPr lang="de-CH" dirty="0" err="1" smtClean="0"/>
              <a:t>Machining</a:t>
            </a:r>
            <a:r>
              <a:rPr lang="de-CH" dirty="0" smtClean="0"/>
              <a:t> </a:t>
            </a:r>
            <a:r>
              <a:rPr lang="de-CH" dirty="0" err="1" smtClean="0"/>
              <a:t>it</a:t>
            </a:r>
            <a:r>
              <a:rPr lang="de-CH" dirty="0" smtClean="0"/>
              <a:t> </a:t>
            </a:r>
            <a:r>
              <a:rPr lang="de-CH" dirty="0" err="1" smtClean="0"/>
              <a:t>at</a:t>
            </a:r>
            <a:r>
              <a:rPr lang="de-CH" dirty="0" smtClean="0"/>
              <a:t> 150 m/ min, </a:t>
            </a:r>
            <a:r>
              <a:rPr lang="de-CH" dirty="0" err="1" smtClean="0"/>
              <a:t>with</a:t>
            </a:r>
            <a:r>
              <a:rPr lang="de-CH" dirty="0" smtClean="0"/>
              <a:t> a PM-HSS, </a:t>
            </a:r>
            <a:r>
              <a:rPr lang="de-CH" dirty="0" err="1" smtClean="0"/>
              <a:t>and</a:t>
            </a:r>
            <a:r>
              <a:rPr lang="de-CH" dirty="0" smtClean="0"/>
              <a:t> a </a:t>
            </a:r>
            <a:r>
              <a:rPr lang="de-CH" dirty="0" err="1" smtClean="0"/>
              <a:t>lower</a:t>
            </a:r>
            <a:r>
              <a:rPr lang="de-CH" dirty="0" smtClean="0"/>
              <a:t> </a:t>
            </a:r>
            <a:r>
              <a:rPr lang="de-CH" dirty="0" err="1" smtClean="0"/>
              <a:t>cost</a:t>
            </a:r>
            <a:r>
              <a:rPr lang="de-CH" dirty="0" smtClean="0"/>
              <a:t> </a:t>
            </a:r>
            <a:r>
              <a:rPr lang="de-CH" dirty="0" err="1" smtClean="0"/>
              <a:t>coating</a:t>
            </a:r>
            <a:endParaRPr lang="de-CH" dirty="0" smtClean="0"/>
          </a:p>
          <a:p>
            <a:pPr marL="171450" indent="-171450">
              <a:buFontTx/>
              <a:buChar char="-"/>
            </a:pPr>
            <a:r>
              <a:rPr lang="de-CH" dirty="0" err="1" smtClean="0"/>
              <a:t>Or</a:t>
            </a:r>
            <a:r>
              <a:rPr lang="de-CH" dirty="0" smtClean="0"/>
              <a:t> </a:t>
            </a:r>
            <a:r>
              <a:rPr lang="de-CH" dirty="0" err="1" smtClean="0"/>
              <a:t>by</a:t>
            </a:r>
            <a:r>
              <a:rPr lang="de-CH" dirty="0" smtClean="0"/>
              <a:t> </a:t>
            </a:r>
            <a:r>
              <a:rPr lang="de-CH" dirty="0" err="1" smtClean="0"/>
              <a:t>machining</a:t>
            </a:r>
            <a:r>
              <a:rPr lang="de-CH" dirty="0" smtClean="0"/>
              <a:t> </a:t>
            </a:r>
            <a:r>
              <a:rPr lang="de-CH" dirty="0" err="1" smtClean="0"/>
              <a:t>it</a:t>
            </a:r>
            <a:r>
              <a:rPr lang="de-CH" dirty="0" smtClean="0"/>
              <a:t> </a:t>
            </a:r>
            <a:r>
              <a:rPr lang="de-CH" dirty="0" err="1" smtClean="0"/>
              <a:t>at</a:t>
            </a:r>
            <a:r>
              <a:rPr lang="de-CH" dirty="0" smtClean="0"/>
              <a:t> 350 m/ min, </a:t>
            </a:r>
            <a:r>
              <a:rPr lang="de-CH" dirty="0" err="1" smtClean="0"/>
              <a:t>with</a:t>
            </a:r>
            <a:r>
              <a:rPr lang="de-CH" dirty="0" smtClean="0"/>
              <a:t> a </a:t>
            </a:r>
            <a:r>
              <a:rPr lang="de-CH" dirty="0" err="1" smtClean="0"/>
              <a:t>carbide</a:t>
            </a:r>
            <a:r>
              <a:rPr lang="de-CH" dirty="0" smtClean="0"/>
              <a:t> hob – </a:t>
            </a:r>
            <a:r>
              <a:rPr lang="de-CH" dirty="0" err="1" smtClean="0"/>
              <a:t>with</a:t>
            </a:r>
            <a:r>
              <a:rPr lang="de-CH" dirty="0" smtClean="0"/>
              <a:t> double </a:t>
            </a:r>
            <a:r>
              <a:rPr lang="de-CH" dirty="0" err="1" smtClean="0"/>
              <a:t>costs</a:t>
            </a:r>
            <a:r>
              <a:rPr lang="de-CH" dirty="0" smtClean="0"/>
              <a:t>, </a:t>
            </a:r>
            <a:r>
              <a:rPr lang="de-CH" dirty="0" err="1" smtClean="0"/>
              <a:t>and</a:t>
            </a:r>
            <a:r>
              <a:rPr lang="de-CH" dirty="0" smtClean="0"/>
              <a:t> a </a:t>
            </a:r>
            <a:r>
              <a:rPr lang="de-CH" dirty="0" err="1" smtClean="0"/>
              <a:t>more</a:t>
            </a:r>
            <a:r>
              <a:rPr lang="de-CH" dirty="0" smtClean="0"/>
              <a:t> </a:t>
            </a:r>
            <a:r>
              <a:rPr lang="de-CH" dirty="0" err="1" smtClean="0"/>
              <a:t>advanced</a:t>
            </a:r>
            <a:r>
              <a:rPr lang="de-CH" dirty="0" smtClean="0"/>
              <a:t> </a:t>
            </a:r>
            <a:r>
              <a:rPr lang="de-CH" dirty="0" err="1" smtClean="0"/>
              <a:t>coating</a:t>
            </a:r>
            <a:endParaRPr lang="de-CH" dirty="0" smtClean="0"/>
          </a:p>
          <a:p>
            <a:pPr marL="171450" indent="-171450">
              <a:buFontTx/>
              <a:buChar char="-"/>
            </a:pPr>
            <a:endParaRPr lang="de-CH" dirty="0"/>
          </a:p>
          <a:p>
            <a:pPr marL="171450" indent="-171450">
              <a:buFontTx/>
              <a:buChar char="-"/>
            </a:pPr>
            <a:r>
              <a:rPr lang="de-CH" dirty="0" smtClean="0">
                <a:sym typeface="Wingdings" pitchFamily="2" charset="2"/>
              </a:rPr>
              <a:t> </a:t>
            </a:r>
            <a:r>
              <a:rPr lang="de-CH" dirty="0" err="1" smtClean="0">
                <a:sym typeface="Wingdings" pitchFamily="2" charset="2"/>
              </a:rPr>
              <a:t>even</a:t>
            </a:r>
            <a:r>
              <a:rPr lang="de-CH" dirty="0" smtClean="0">
                <a:sym typeface="Wingdings" pitchFamily="2" charset="2"/>
              </a:rPr>
              <a:t> </a:t>
            </a:r>
            <a:r>
              <a:rPr lang="de-CH" dirty="0" err="1" smtClean="0">
                <a:sym typeface="Wingdings" pitchFamily="2" charset="2"/>
              </a:rPr>
              <a:t>by</a:t>
            </a:r>
            <a:r>
              <a:rPr lang="de-CH" dirty="0" smtClean="0">
                <a:sym typeface="Wingdings" pitchFamily="2" charset="2"/>
              </a:rPr>
              <a:t> </a:t>
            </a:r>
            <a:r>
              <a:rPr lang="de-CH" dirty="0" err="1" smtClean="0">
                <a:sym typeface="Wingdings" pitchFamily="2" charset="2"/>
              </a:rPr>
              <a:t>using</a:t>
            </a:r>
            <a:r>
              <a:rPr lang="de-CH" dirty="0" smtClean="0">
                <a:sym typeface="Wingdings" pitchFamily="2" charset="2"/>
              </a:rPr>
              <a:t> </a:t>
            </a:r>
            <a:r>
              <a:rPr lang="de-CH" dirty="0" err="1" smtClean="0">
                <a:sym typeface="Wingdings" pitchFamily="2" charset="2"/>
              </a:rPr>
              <a:t>the</a:t>
            </a:r>
            <a:r>
              <a:rPr lang="de-CH" dirty="0" smtClean="0">
                <a:sym typeface="Wingdings" pitchFamily="2" charset="2"/>
              </a:rPr>
              <a:t> double expensive hob material </a:t>
            </a:r>
            <a:r>
              <a:rPr lang="de-CH" dirty="0" err="1" smtClean="0">
                <a:sym typeface="Wingdings" pitchFamily="2" charset="2"/>
              </a:rPr>
              <a:t>and</a:t>
            </a:r>
            <a:r>
              <a:rPr lang="de-CH" dirty="0" smtClean="0">
                <a:sym typeface="Wingdings" pitchFamily="2" charset="2"/>
              </a:rPr>
              <a:t> </a:t>
            </a:r>
            <a:r>
              <a:rPr lang="de-CH" dirty="0" err="1" smtClean="0">
                <a:sym typeface="Wingdings" pitchFamily="2" charset="2"/>
              </a:rPr>
              <a:t>the</a:t>
            </a:r>
            <a:r>
              <a:rPr lang="de-CH" dirty="0" smtClean="0">
                <a:sym typeface="Wingdings" pitchFamily="2" charset="2"/>
              </a:rPr>
              <a:t> double expensive </a:t>
            </a:r>
            <a:r>
              <a:rPr lang="de-CH" dirty="0" err="1" smtClean="0">
                <a:sym typeface="Wingdings" pitchFamily="2" charset="2"/>
              </a:rPr>
              <a:t>coating</a:t>
            </a:r>
            <a:r>
              <a:rPr lang="de-CH" dirty="0" smtClean="0">
                <a:sym typeface="Wingdings" pitchFamily="2" charset="2"/>
              </a:rPr>
              <a:t>, </a:t>
            </a:r>
            <a:r>
              <a:rPr lang="de-CH" dirty="0" err="1" smtClean="0">
                <a:sym typeface="Wingdings" pitchFamily="2" charset="2"/>
              </a:rPr>
              <a:t>we</a:t>
            </a:r>
            <a:r>
              <a:rPr lang="de-CH" dirty="0" smtClean="0">
                <a:sym typeface="Wingdings" pitchFamily="2" charset="2"/>
              </a:rPr>
              <a:t> </a:t>
            </a:r>
            <a:r>
              <a:rPr lang="de-CH" dirty="0" err="1" smtClean="0">
                <a:sym typeface="Wingdings" pitchFamily="2" charset="2"/>
              </a:rPr>
              <a:t>could</a:t>
            </a:r>
            <a:r>
              <a:rPr lang="de-CH" dirty="0" smtClean="0">
                <a:sym typeface="Wingdings" pitchFamily="2" charset="2"/>
              </a:rPr>
              <a:t> </a:t>
            </a:r>
            <a:r>
              <a:rPr lang="de-CH" dirty="0" err="1" smtClean="0">
                <a:sym typeface="Wingdings" pitchFamily="2" charset="2"/>
              </a:rPr>
              <a:t>reduce</a:t>
            </a:r>
            <a:r>
              <a:rPr lang="de-CH" dirty="0" smtClean="0">
                <a:sym typeface="Wingdings" pitchFamily="2" charset="2"/>
              </a:rPr>
              <a:t> </a:t>
            </a:r>
            <a:r>
              <a:rPr lang="de-CH" dirty="0" err="1" smtClean="0">
                <a:sym typeface="Wingdings" pitchFamily="2" charset="2"/>
              </a:rPr>
              <a:t>manufacturing</a:t>
            </a:r>
            <a:r>
              <a:rPr lang="de-CH" dirty="0" smtClean="0">
                <a:sym typeface="Wingdings" pitchFamily="2" charset="2"/>
              </a:rPr>
              <a:t> </a:t>
            </a:r>
            <a:r>
              <a:rPr lang="de-CH" dirty="0" err="1" smtClean="0">
                <a:sym typeface="Wingdings" pitchFamily="2" charset="2"/>
              </a:rPr>
              <a:t>costs</a:t>
            </a:r>
            <a:r>
              <a:rPr lang="de-CH" dirty="0" smtClean="0">
                <a:sym typeface="Wingdings" pitchFamily="2" charset="2"/>
              </a:rPr>
              <a:t> </a:t>
            </a:r>
            <a:r>
              <a:rPr lang="de-CH" dirty="0" err="1" smtClean="0">
                <a:sym typeface="Wingdings" pitchFamily="2" charset="2"/>
              </a:rPr>
              <a:t>by</a:t>
            </a:r>
            <a:r>
              <a:rPr lang="de-CH" dirty="0" smtClean="0">
                <a:sym typeface="Wingdings" pitchFamily="2" charset="2"/>
              </a:rPr>
              <a:t> 25%</a:t>
            </a:r>
            <a:endParaRPr lang="en-US" dirty="0"/>
          </a:p>
        </p:txBody>
      </p:sp>
    </p:spTree>
    <p:extLst>
      <p:ext uri="{BB962C8B-B14F-4D97-AF65-F5344CB8AC3E}">
        <p14:creationId xmlns:p14="http://schemas.microsoft.com/office/powerpoint/2010/main" val="3367076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44550" y="828675"/>
            <a:ext cx="5484813" cy="4113213"/>
          </a:xfrm>
        </p:spPr>
      </p:sp>
      <p:sp>
        <p:nvSpPr>
          <p:cNvPr id="3" name="Notizenplatzhalter 2"/>
          <p:cNvSpPr>
            <a:spLocks noGrp="1"/>
          </p:cNvSpPr>
          <p:nvPr>
            <p:ph type="body" idx="1"/>
          </p:nvPr>
        </p:nvSpPr>
        <p:spPr/>
        <p:txBody>
          <a:bodyPr/>
          <a:lstStyle/>
          <a:p>
            <a:r>
              <a:rPr lang="de-CH" dirty="0" err="1" smtClean="0"/>
              <a:t>From</a:t>
            </a:r>
            <a:r>
              <a:rPr lang="de-CH" dirty="0" smtClean="0"/>
              <a:t> </a:t>
            </a:r>
            <a:r>
              <a:rPr lang="de-CH" dirty="0" err="1" smtClean="0"/>
              <a:t>the</a:t>
            </a:r>
            <a:r>
              <a:rPr lang="de-CH" dirty="0" smtClean="0"/>
              <a:t> 80</a:t>
            </a:r>
            <a:r>
              <a:rPr lang="de-CH" baseline="0" dirty="0" smtClean="0"/>
              <a:t>s </a:t>
            </a:r>
            <a:r>
              <a:rPr lang="de-CH" baseline="0" dirty="0" err="1" smtClean="0"/>
              <a:t>until</a:t>
            </a:r>
            <a:r>
              <a:rPr lang="de-CH" baseline="0" dirty="0" smtClean="0"/>
              <a:t> end </a:t>
            </a:r>
            <a:r>
              <a:rPr lang="de-CH" baseline="0" dirty="0" err="1" smtClean="0"/>
              <a:t>of</a:t>
            </a:r>
            <a:r>
              <a:rPr lang="de-CH" baseline="0" dirty="0" smtClean="0"/>
              <a:t> </a:t>
            </a:r>
            <a:r>
              <a:rPr lang="de-CH" baseline="0" dirty="0" err="1" smtClean="0"/>
              <a:t>the</a:t>
            </a:r>
            <a:r>
              <a:rPr lang="de-CH" baseline="0" dirty="0" smtClean="0"/>
              <a:t> 90s </a:t>
            </a:r>
            <a:r>
              <a:rPr lang="de-CH" baseline="0" dirty="0" err="1" smtClean="0"/>
              <a:t>conventional</a:t>
            </a:r>
            <a:r>
              <a:rPr lang="de-CH" baseline="0" dirty="0" smtClean="0"/>
              <a:t> high </a:t>
            </a:r>
            <a:r>
              <a:rPr lang="de-CH" baseline="0" dirty="0" err="1" smtClean="0"/>
              <a:t>speed</a:t>
            </a:r>
            <a:r>
              <a:rPr lang="de-CH" baseline="0" dirty="0" smtClean="0"/>
              <a:t> </a:t>
            </a:r>
            <a:r>
              <a:rPr lang="de-CH" baseline="0" dirty="0" err="1" smtClean="0"/>
              <a:t>steel</a:t>
            </a:r>
            <a:r>
              <a:rPr lang="de-CH" baseline="0" dirty="0" smtClean="0"/>
              <a:t> was </a:t>
            </a:r>
            <a:r>
              <a:rPr lang="de-CH" baseline="0" dirty="0" err="1" smtClean="0"/>
              <a:t>used</a:t>
            </a:r>
            <a:r>
              <a:rPr lang="de-CH" baseline="0" dirty="0" smtClean="0"/>
              <a:t>, PM-HSS </a:t>
            </a:r>
            <a:r>
              <a:rPr lang="de-CH" baseline="0" dirty="0" err="1" smtClean="0"/>
              <a:t>came</a:t>
            </a:r>
            <a:r>
              <a:rPr lang="de-CH" baseline="0" dirty="0" smtClean="0"/>
              <a:t> </a:t>
            </a:r>
            <a:r>
              <a:rPr lang="de-CH" baseline="0" dirty="0" err="1" smtClean="0"/>
              <a:t>to</a:t>
            </a:r>
            <a:r>
              <a:rPr lang="de-CH" baseline="0" dirty="0" smtClean="0"/>
              <a:t> </a:t>
            </a:r>
            <a:r>
              <a:rPr lang="de-CH" baseline="0" dirty="0" err="1" smtClean="0"/>
              <a:t>the</a:t>
            </a:r>
            <a:r>
              <a:rPr lang="de-CH" baseline="0" dirty="0" smtClean="0"/>
              <a:t> </a:t>
            </a:r>
            <a:r>
              <a:rPr lang="de-CH" baseline="0" dirty="0" err="1" smtClean="0"/>
              <a:t>market</a:t>
            </a:r>
            <a:r>
              <a:rPr lang="de-CH" baseline="0" dirty="0" smtClean="0"/>
              <a:t> end </a:t>
            </a:r>
            <a:r>
              <a:rPr lang="de-CH" baseline="0" dirty="0" err="1" smtClean="0"/>
              <a:t>of</a:t>
            </a:r>
            <a:r>
              <a:rPr lang="de-CH" baseline="0" dirty="0" smtClean="0"/>
              <a:t> </a:t>
            </a:r>
            <a:r>
              <a:rPr lang="de-CH" baseline="0" dirty="0" err="1" smtClean="0"/>
              <a:t>the</a:t>
            </a:r>
            <a:r>
              <a:rPr lang="de-CH" baseline="0" dirty="0" smtClean="0"/>
              <a:t> 90s </a:t>
            </a:r>
            <a:r>
              <a:rPr lang="de-CH" baseline="0" dirty="0" err="1" smtClean="0"/>
              <a:t>and</a:t>
            </a:r>
            <a:r>
              <a:rPr lang="de-CH" baseline="0" dirty="0" smtClean="0"/>
              <a:t> in </a:t>
            </a:r>
            <a:r>
              <a:rPr lang="de-CH" baseline="0" dirty="0" err="1" smtClean="0"/>
              <a:t>combination</a:t>
            </a:r>
            <a:r>
              <a:rPr lang="de-CH" baseline="0" dirty="0" smtClean="0"/>
              <a:t> </a:t>
            </a:r>
            <a:r>
              <a:rPr lang="de-CH" baseline="0" dirty="0" err="1" smtClean="0"/>
              <a:t>with</a:t>
            </a:r>
            <a:r>
              <a:rPr lang="de-CH" baseline="0" dirty="0" smtClean="0"/>
              <a:t> </a:t>
            </a:r>
            <a:r>
              <a:rPr lang="de-CH" baseline="0" dirty="0" err="1" smtClean="0"/>
              <a:t>new</a:t>
            </a:r>
            <a:r>
              <a:rPr lang="de-CH" baseline="0" dirty="0" smtClean="0"/>
              <a:t> </a:t>
            </a:r>
            <a:r>
              <a:rPr lang="de-CH" baseline="0" dirty="0" err="1" smtClean="0"/>
              <a:t>coatings</a:t>
            </a:r>
            <a:r>
              <a:rPr lang="de-CH" baseline="0" dirty="0" smtClean="0"/>
              <a:t> </a:t>
            </a:r>
            <a:r>
              <a:rPr lang="de-CH" baseline="0" dirty="0" err="1" smtClean="0"/>
              <a:t>enabled</a:t>
            </a:r>
            <a:r>
              <a:rPr lang="de-CH" baseline="0" dirty="0" smtClean="0"/>
              <a:t> </a:t>
            </a:r>
            <a:r>
              <a:rPr lang="de-CH" baseline="0" dirty="0" err="1" smtClean="0"/>
              <a:t>cutting</a:t>
            </a:r>
            <a:r>
              <a:rPr lang="de-CH" baseline="0" dirty="0" smtClean="0"/>
              <a:t> </a:t>
            </a:r>
            <a:r>
              <a:rPr lang="de-CH" baseline="0" dirty="0" err="1" smtClean="0"/>
              <a:t>speeds</a:t>
            </a:r>
            <a:r>
              <a:rPr lang="de-CH" baseline="0" dirty="0" smtClean="0"/>
              <a:t> </a:t>
            </a:r>
            <a:r>
              <a:rPr lang="de-CH" baseline="0" dirty="0" err="1" smtClean="0"/>
              <a:t>above</a:t>
            </a:r>
            <a:r>
              <a:rPr lang="de-CH" baseline="0" dirty="0" smtClean="0"/>
              <a:t> 200 m/min.</a:t>
            </a:r>
          </a:p>
          <a:p>
            <a:endParaRPr lang="en-US" dirty="0"/>
          </a:p>
        </p:txBody>
      </p:sp>
      <p:sp>
        <p:nvSpPr>
          <p:cNvPr id="4" name="Foliennummernplatzhalter 3"/>
          <p:cNvSpPr>
            <a:spLocks noGrp="1"/>
          </p:cNvSpPr>
          <p:nvPr>
            <p:ph type="sldNum" sz="quarter" idx="10"/>
          </p:nvPr>
        </p:nvSpPr>
        <p:spPr/>
        <p:txBody>
          <a:bodyPr/>
          <a:lstStyle/>
          <a:p>
            <a:r>
              <a:rPr lang="en-US" smtClean="0"/>
              <a:t>Page </a:t>
            </a:r>
            <a:fld id="{B936D8B3-C460-44AC-B9A0-2EFBD5732908}" type="slidenum">
              <a:rPr lang="en-US" smtClean="0"/>
              <a:pPr/>
              <a:t>17</a:t>
            </a:fld>
            <a:endParaRPr lang="en-US" dirty="0"/>
          </a:p>
        </p:txBody>
      </p:sp>
    </p:spTree>
    <p:extLst>
      <p:ext uri="{BB962C8B-B14F-4D97-AF65-F5344CB8AC3E}">
        <p14:creationId xmlns:p14="http://schemas.microsoft.com/office/powerpoint/2010/main" val="2475293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06405DB1-B065-419A-91C7-4F81DA262736}" type="slidenum">
              <a:rPr lang="en-US"/>
              <a:pPr/>
              <a:t>18</a:t>
            </a:fld>
            <a:endParaRPr lang="en-US"/>
          </a:p>
        </p:txBody>
      </p:sp>
      <p:sp>
        <p:nvSpPr>
          <p:cNvPr id="313346" name="Rectangle 2"/>
          <p:cNvSpPr>
            <a:spLocks noGrp="1" noRot="1" noChangeAspect="1" noChangeArrowheads="1" noTextEdit="1"/>
          </p:cNvSpPr>
          <p:nvPr>
            <p:ph type="sldImg"/>
          </p:nvPr>
        </p:nvSpPr>
        <p:spPr>
          <a:xfrm>
            <a:off x="930275" y="741363"/>
            <a:ext cx="4937125" cy="3702050"/>
          </a:xfrm>
          <a:ln/>
        </p:spPr>
      </p:sp>
      <p:sp>
        <p:nvSpPr>
          <p:cNvPr id="3133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136031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274A2D95-B8E6-4A03-B091-6A57010130FF}" type="slidenum">
              <a:rPr lang="en-US"/>
              <a:pPr/>
              <a:t>19</a:t>
            </a:fld>
            <a:endParaRPr lang="en-US"/>
          </a:p>
        </p:txBody>
      </p:sp>
      <p:sp>
        <p:nvSpPr>
          <p:cNvPr id="342018" name="Rectangle 2"/>
          <p:cNvSpPr>
            <a:spLocks noGrp="1" noRot="1" noChangeAspect="1" noChangeArrowheads="1" noTextEdit="1"/>
          </p:cNvSpPr>
          <p:nvPr>
            <p:ph type="sldImg"/>
          </p:nvPr>
        </p:nvSpPr>
        <p:spPr>
          <a:xfrm>
            <a:off x="930275" y="741363"/>
            <a:ext cx="4937125" cy="3702050"/>
          </a:xfrm>
          <a:ln/>
        </p:spPr>
      </p:sp>
      <p:sp>
        <p:nvSpPr>
          <p:cNvPr id="34201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194814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44550" y="828675"/>
            <a:ext cx="5484813" cy="411321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r>
              <a:rPr lang="en-US" smtClean="0"/>
              <a:t>Page </a:t>
            </a:r>
            <a:fld id="{B936D8B3-C460-44AC-B9A0-2EFBD5732908}" type="slidenum">
              <a:rPr lang="en-US" smtClean="0"/>
              <a:pPr/>
              <a:t>20</a:t>
            </a:fld>
            <a:endParaRPr lang="en-US" dirty="0"/>
          </a:p>
        </p:txBody>
      </p:sp>
    </p:spTree>
    <p:extLst>
      <p:ext uri="{BB962C8B-B14F-4D97-AF65-F5344CB8AC3E}">
        <p14:creationId xmlns:p14="http://schemas.microsoft.com/office/powerpoint/2010/main" val="2475293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B2FF536-97B2-4963-A910-5D900FA13B72}" type="slidenum">
              <a:rPr lang="de-CH">
                <a:solidFill>
                  <a:prstClr val="black"/>
                </a:solidFill>
                <a:latin typeface="HelveticaNeue LT 45 Light"/>
              </a:rPr>
              <a:pPr/>
              <a:t>24</a:t>
            </a:fld>
            <a:endParaRPr lang="de-CH">
              <a:solidFill>
                <a:prstClr val="black"/>
              </a:solidFill>
              <a:latin typeface="HelveticaNeue LT 45 Light"/>
            </a:endParaRPr>
          </a:p>
        </p:txBody>
      </p:sp>
      <p:sp>
        <p:nvSpPr>
          <p:cNvPr id="266242" name="Rectangle 2"/>
          <p:cNvSpPr>
            <a:spLocks noGrp="1" noRot="1" noChangeAspect="1" noChangeArrowheads="1" noTextEdit="1"/>
          </p:cNvSpPr>
          <p:nvPr>
            <p:ph type="sldImg"/>
          </p:nvPr>
        </p:nvSpPr>
        <p:spPr>
          <a:xfrm>
            <a:off x="930275" y="741363"/>
            <a:ext cx="4937125" cy="3702050"/>
          </a:xfrm>
          <a:ln/>
        </p:spPr>
      </p:sp>
      <p:sp>
        <p:nvSpPr>
          <p:cNvPr id="266243" name="Rectangle 3"/>
          <p:cNvSpPr>
            <a:spLocks noGrp="1" noChangeArrowheads="1"/>
          </p:cNvSpPr>
          <p:nvPr>
            <p:ph type="body" idx="1"/>
          </p:nvPr>
        </p:nvSpPr>
        <p:spPr/>
        <p:txBody>
          <a:bodyPr/>
          <a:lstStyle/>
          <a:p>
            <a:r>
              <a:rPr lang="de-CH" dirty="0" smtClean="0"/>
              <a:t>Schicht entwickelt und an </a:t>
            </a:r>
            <a:r>
              <a:rPr lang="de-CH" dirty="0" err="1" smtClean="0"/>
              <a:t>Instiut</a:t>
            </a:r>
            <a:r>
              <a:rPr lang="de-CH" dirty="0" smtClean="0"/>
              <a:t> </a:t>
            </a:r>
            <a:r>
              <a:rPr lang="de-CH" dirty="0" err="1" smtClean="0"/>
              <a:t>gestestet</a:t>
            </a:r>
            <a:r>
              <a:rPr lang="de-CH" dirty="0" smtClean="0"/>
              <a:t> bei höheren</a:t>
            </a:r>
            <a:r>
              <a:rPr lang="de-CH" baseline="0" dirty="0" smtClean="0"/>
              <a:t> Schnittgeschwindigkeiten, vielversprechende Resultate</a:t>
            </a:r>
            <a:endParaRPr lang="de-CH" dirty="0"/>
          </a:p>
        </p:txBody>
      </p:sp>
    </p:spTree>
    <p:extLst>
      <p:ext uri="{BB962C8B-B14F-4D97-AF65-F5344CB8AC3E}">
        <p14:creationId xmlns:p14="http://schemas.microsoft.com/office/powerpoint/2010/main" val="2946463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44550" y="828675"/>
            <a:ext cx="5484813" cy="4113213"/>
          </a:xfrm>
        </p:spPr>
      </p:sp>
      <p:sp>
        <p:nvSpPr>
          <p:cNvPr id="3" name="Notizenplatzhalter 2"/>
          <p:cNvSpPr>
            <a:spLocks noGrp="1"/>
          </p:cNvSpPr>
          <p:nvPr>
            <p:ph type="body" idx="1"/>
          </p:nvPr>
        </p:nvSpPr>
        <p:spPr/>
        <p:txBody>
          <a:bodyPr/>
          <a:lstStyle/>
          <a:p>
            <a:pPr algn="l" rtl="0"/>
            <a:r>
              <a:rPr lang="en" sz="1200" b="0" i="0" u="none" kern="1200" baseline="0">
                <a:solidFill>
                  <a:schemeClr val="tx1"/>
                </a:solidFill>
                <a:effectLst/>
              </a:rPr>
              <a:t>Surface solutions </a:t>
            </a:r>
            <a:r>
              <a:rPr lang="en" sz="1200" b="0" i="0" u="none" baseline="0"/>
              <a:t>are more and more the key to meeting the growing requirements of today’s and tomorrow’s world</a:t>
            </a:r>
          </a:p>
          <a:p>
            <a:endParaRPr lang="en" sz="1200" kern="1200" dirty="0" smtClean="0">
              <a:solidFill>
                <a:schemeClr val="tx1"/>
              </a:solidFill>
              <a:effectLst/>
            </a:endParaRPr>
          </a:p>
          <a:p>
            <a:pPr algn="l" rtl="0"/>
            <a:r>
              <a:rPr lang="en" sz="1200" b="0" i="0" u="none" kern="1200" baseline="0">
                <a:solidFill>
                  <a:schemeClr val="tx1"/>
                </a:solidFill>
                <a:effectLst/>
              </a:rPr>
              <a:t>Surface solutions make the difference in productivity for cutting tools but also for metal-working and plastic-processing tools.</a:t>
            </a:r>
          </a:p>
          <a:p>
            <a:endParaRPr lang="en" sz="1200" dirty="0" smtClean="0"/>
          </a:p>
          <a:p>
            <a:pPr algn="l" rtl="0"/>
            <a:r>
              <a:rPr lang="en" sz="1200" b="0" i="0" u="none" kern="1200" baseline="0">
                <a:solidFill>
                  <a:schemeClr val="tx1"/>
                </a:solidFill>
                <a:effectLst/>
              </a:rPr>
              <a:t>Advanced surface solutions as we </a:t>
            </a:r>
            <a:r>
              <a:rPr lang="en" sz="1200" b="0" i="0" u="none" baseline="0"/>
              <a:t>understand them </a:t>
            </a:r>
            <a:r>
              <a:rPr lang="en" sz="1200" b="0" i="0" u="none" kern="1200" baseline="0">
                <a:solidFill>
                  <a:schemeClr val="tx1"/>
                </a:solidFill>
                <a:effectLst/>
              </a:rPr>
              <a:t>also make the difference when it comes to clean processes ….. PPD – the plasma nitriding process – replaces hard chrome on large automotive dies </a:t>
            </a:r>
          </a:p>
          <a:p>
            <a:endParaRPr lang="en" sz="1200" dirty="0" smtClean="0"/>
          </a:p>
          <a:p>
            <a:pPr marL="0" marR="0" indent="0" algn="l" defTabSz="914400" rtl="0" eaLnBrk="1" fontAlgn="auto" latinLnBrk="0" hangingPunct="1">
              <a:lnSpc>
                <a:spcPct val="100000"/>
              </a:lnSpc>
              <a:spcBef>
                <a:spcPts val="300"/>
              </a:spcBef>
              <a:spcAft>
                <a:spcPts val="200"/>
              </a:spcAft>
              <a:buClrTx/>
              <a:buSzTx/>
              <a:buFontTx/>
              <a:buNone/>
              <a:tabLst/>
              <a:defRPr/>
            </a:pPr>
            <a:r>
              <a:rPr lang="en" sz="1200" b="0" i="0" u="none" baseline="0"/>
              <a:t>Surface Solutions ... Making a difference in reliability, for example, in ball valves in the O&amp;G industries</a:t>
            </a:r>
            <a:endParaRPr lang="en" sz="1200" dirty="0" smtClean="0"/>
          </a:p>
          <a:p>
            <a:endParaRPr lang="en" sz="1200" kern="1200" dirty="0" smtClean="0">
              <a:solidFill>
                <a:schemeClr val="tx1"/>
              </a:solidFill>
              <a:effectLst/>
            </a:endParaRPr>
          </a:p>
          <a:p>
            <a:pPr algn="l" rtl="0"/>
            <a:r>
              <a:rPr lang="en" sz="1200" b="0" i="0" u="none" kern="1200" baseline="0">
                <a:solidFill>
                  <a:schemeClr val="tx1"/>
                </a:solidFill>
                <a:effectLst/>
              </a:rPr>
              <a:t>Surfaces solutions make the difference in engine performance, in fuel </a:t>
            </a:r>
            <a:r>
              <a:rPr lang="en" sz="1200" b="0" i="0" u="none" baseline="0"/>
              <a:t>injection and in synchronizing manually shifted gears </a:t>
            </a:r>
          </a:p>
          <a:p>
            <a:endParaRPr lang="en" sz="1200" dirty="0" smtClean="0"/>
          </a:p>
          <a:p>
            <a:pPr algn="l" rtl="0"/>
            <a:r>
              <a:rPr lang="en" sz="1200" b="0" i="0" u="none" kern="1200" baseline="0">
                <a:solidFill>
                  <a:schemeClr val="tx1"/>
                </a:solidFill>
                <a:effectLst/>
              </a:rPr>
              <a:t>Surfaces solutions can make the difference in design, especially when excellent wear resistance is needed as well. </a:t>
            </a:r>
            <a:r>
              <a:rPr lang="en" sz="1200" b="0" i="0" u="none" kern="1200" baseline="0">
                <a:solidFill>
                  <a:schemeClr val="tx1"/>
                </a:solidFill>
                <a:effectLst/>
                <a:sym typeface="Wingdings"/>
              </a:rPr>
              <a:t></a:t>
            </a:r>
            <a:r>
              <a:rPr lang="en" sz="1200" b="0" i="0" u="none" kern="1200" baseline="0">
                <a:solidFill>
                  <a:schemeClr val="tx1"/>
                </a:solidFill>
                <a:effectLst/>
              </a:rPr>
              <a:t>Examples include the metallic golden or black appearance of luxury watches</a:t>
            </a:r>
            <a:endParaRPr lang="en" sz="1200" kern="1200" dirty="0" smtClean="0">
              <a:solidFill>
                <a:schemeClr val="tx1"/>
              </a:solidFill>
              <a:effectLst/>
            </a:endParaRPr>
          </a:p>
          <a:p>
            <a:endParaRPr lang="en" dirty="0" smtClean="0"/>
          </a:p>
          <a:p>
            <a:pPr marL="0" marR="0" indent="0" algn="l" defTabSz="914400" rtl="0" eaLnBrk="1" fontAlgn="auto" latinLnBrk="0" hangingPunct="1">
              <a:lnSpc>
                <a:spcPct val="100000"/>
              </a:lnSpc>
              <a:spcBef>
                <a:spcPts val="300"/>
              </a:spcBef>
              <a:spcAft>
                <a:spcPts val="200"/>
              </a:spcAft>
              <a:buClrTx/>
              <a:buSzTx/>
              <a:buFontTx/>
              <a:buNone/>
              <a:tabLst/>
              <a:defRPr/>
            </a:pPr>
            <a:r>
              <a:rPr lang="en" sz="1200" b="0" i="0" u="none" baseline="0"/>
              <a:t>Surface solutions make the difference in energy efficiency, be it in jet turbines or in industrial gas turbines, with TBC and abradable coatings but also with honeycomb structures for clearance control.</a:t>
            </a:r>
          </a:p>
          <a:p>
            <a:endParaRPr lang="en" dirty="0" smtClean="0"/>
          </a:p>
          <a:p>
            <a:endParaRPr lang="en" dirty="0"/>
          </a:p>
        </p:txBody>
      </p:sp>
      <p:sp>
        <p:nvSpPr>
          <p:cNvPr id="4" name="Foliennummernplatzhalter 3"/>
          <p:cNvSpPr>
            <a:spLocks noGrp="1"/>
          </p:cNvSpPr>
          <p:nvPr>
            <p:ph type="sldNum" sz="quarter" idx="10"/>
          </p:nvPr>
        </p:nvSpPr>
        <p:spPr/>
        <p:txBody>
          <a:bodyPr/>
          <a:lstStyle/>
          <a:p>
            <a:pPr algn="l" rtl="0"/>
            <a:r>
              <a:rPr lang="en" b="0" i="0" u="none" baseline="0"/>
              <a:t>Page </a:t>
            </a:r>
            <a:fld id="{B936D8B3-C460-44AC-B9A0-2EFBD5732908}" type="slidenum">
              <a:rPr/>
              <a:pPr algn="l" rtl="0"/>
              <a:t>2</a:t>
            </a:fld>
            <a:endParaRPr lang="en" dirty="0"/>
          </a:p>
        </p:txBody>
      </p:sp>
    </p:spTree>
    <p:extLst>
      <p:ext uri="{BB962C8B-B14F-4D97-AF65-F5344CB8AC3E}">
        <p14:creationId xmlns:p14="http://schemas.microsoft.com/office/powerpoint/2010/main" val="25866961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B2FF536-97B2-4963-A910-5D900FA13B72}" type="slidenum">
              <a:rPr lang="de-CH">
                <a:solidFill>
                  <a:prstClr val="black"/>
                </a:solidFill>
                <a:latin typeface="HelveticaNeue LT 45 Light"/>
              </a:rPr>
              <a:pPr/>
              <a:t>25</a:t>
            </a:fld>
            <a:endParaRPr lang="de-CH">
              <a:solidFill>
                <a:prstClr val="black"/>
              </a:solidFill>
              <a:latin typeface="HelveticaNeue LT 45 Light"/>
            </a:endParaRPr>
          </a:p>
        </p:txBody>
      </p:sp>
      <p:sp>
        <p:nvSpPr>
          <p:cNvPr id="266242" name="Rectangle 2"/>
          <p:cNvSpPr>
            <a:spLocks noGrp="1" noRot="1" noChangeAspect="1" noChangeArrowheads="1" noTextEdit="1"/>
          </p:cNvSpPr>
          <p:nvPr>
            <p:ph type="sldImg"/>
          </p:nvPr>
        </p:nvSpPr>
        <p:spPr>
          <a:xfrm>
            <a:off x="930275" y="741363"/>
            <a:ext cx="4937125" cy="3702050"/>
          </a:xfrm>
          <a:ln/>
        </p:spPr>
      </p:sp>
      <p:sp>
        <p:nvSpPr>
          <p:cNvPr id="266243" name="Rectangle 3"/>
          <p:cNvSpPr>
            <a:spLocks noGrp="1" noChangeArrowheads="1"/>
          </p:cNvSpPr>
          <p:nvPr>
            <p:ph type="body" idx="1"/>
          </p:nvPr>
        </p:nvSpPr>
        <p:spPr/>
        <p:txBody>
          <a:bodyPr/>
          <a:lstStyle/>
          <a:p>
            <a:r>
              <a:rPr lang="de-CH" dirty="0" smtClean="0"/>
              <a:t>Anschliessend erster Versuch bei Kunden mit 260m/min </a:t>
            </a:r>
            <a:r>
              <a:rPr lang="de-CH" baseline="0" dirty="0" smtClean="0"/>
              <a:t>, Ergebnis konnte reproduziert werden, und zeigt Potenzial nach oben …</a:t>
            </a:r>
            <a:endParaRPr lang="de-CH" dirty="0"/>
          </a:p>
        </p:txBody>
      </p:sp>
    </p:spTree>
    <p:extLst>
      <p:ext uri="{BB962C8B-B14F-4D97-AF65-F5344CB8AC3E}">
        <p14:creationId xmlns:p14="http://schemas.microsoft.com/office/powerpoint/2010/main" val="24388532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B2FF536-97B2-4963-A910-5D900FA13B72}" type="slidenum">
              <a:rPr lang="de-CH">
                <a:solidFill>
                  <a:prstClr val="black"/>
                </a:solidFill>
                <a:latin typeface="HelveticaNeue LT 45 Light"/>
              </a:rPr>
              <a:pPr/>
              <a:t>26</a:t>
            </a:fld>
            <a:endParaRPr lang="de-CH">
              <a:solidFill>
                <a:prstClr val="black"/>
              </a:solidFill>
              <a:latin typeface="HelveticaNeue LT 45 Light"/>
            </a:endParaRPr>
          </a:p>
        </p:txBody>
      </p:sp>
      <p:sp>
        <p:nvSpPr>
          <p:cNvPr id="266242" name="Rectangle 2"/>
          <p:cNvSpPr>
            <a:spLocks noGrp="1" noRot="1" noChangeAspect="1" noChangeArrowheads="1" noTextEdit="1"/>
          </p:cNvSpPr>
          <p:nvPr>
            <p:ph type="sldImg"/>
          </p:nvPr>
        </p:nvSpPr>
        <p:spPr>
          <a:xfrm>
            <a:off x="930275" y="741363"/>
            <a:ext cx="4937125" cy="3702050"/>
          </a:xfrm>
          <a:ln/>
        </p:spPr>
      </p:sp>
      <p:sp>
        <p:nvSpPr>
          <p:cNvPr id="266243" name="Rectangle 3"/>
          <p:cNvSpPr>
            <a:spLocks noGrp="1" noChangeArrowheads="1"/>
          </p:cNvSpPr>
          <p:nvPr>
            <p:ph type="body" idx="1"/>
          </p:nvPr>
        </p:nvSpPr>
        <p:spPr/>
        <p:txBody>
          <a:bodyPr/>
          <a:lstStyle/>
          <a:p>
            <a:r>
              <a:rPr lang="de-CH" dirty="0" smtClean="0"/>
              <a:t>In</a:t>
            </a:r>
            <a:r>
              <a:rPr lang="de-CH" baseline="0" dirty="0" smtClean="0"/>
              <a:t> der 2. Testreihe Geschwindigkeitserhöhung auf 300 m/min, Ergebnis ergab: tool life gleichbleibend hoch </a:t>
            </a:r>
            <a:endParaRPr lang="de-CH" dirty="0"/>
          </a:p>
        </p:txBody>
      </p:sp>
    </p:spTree>
    <p:extLst>
      <p:ext uri="{BB962C8B-B14F-4D97-AF65-F5344CB8AC3E}">
        <p14:creationId xmlns:p14="http://schemas.microsoft.com/office/powerpoint/2010/main" val="38491945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B2FF536-97B2-4963-A910-5D900FA13B72}" type="slidenum">
              <a:rPr lang="de-CH">
                <a:solidFill>
                  <a:prstClr val="black"/>
                </a:solidFill>
                <a:latin typeface="HelveticaNeue LT 45 Light"/>
              </a:rPr>
              <a:pPr/>
              <a:t>27</a:t>
            </a:fld>
            <a:endParaRPr lang="de-CH">
              <a:solidFill>
                <a:prstClr val="black"/>
              </a:solidFill>
              <a:latin typeface="HelveticaNeue LT 45 Light"/>
            </a:endParaRPr>
          </a:p>
        </p:txBody>
      </p:sp>
      <p:sp>
        <p:nvSpPr>
          <p:cNvPr id="266242" name="Rectangle 2"/>
          <p:cNvSpPr>
            <a:spLocks noGrp="1" noRot="1" noChangeAspect="1" noChangeArrowheads="1" noTextEdit="1"/>
          </p:cNvSpPr>
          <p:nvPr>
            <p:ph type="sldImg"/>
          </p:nvPr>
        </p:nvSpPr>
        <p:spPr>
          <a:xfrm>
            <a:off x="930275" y="741363"/>
            <a:ext cx="4937125" cy="3702050"/>
          </a:xfrm>
          <a:ln/>
        </p:spPr>
      </p:sp>
      <p:sp>
        <p:nvSpPr>
          <p:cNvPr id="266243" name="Rectangle 3"/>
          <p:cNvSpPr>
            <a:spLocks noGrp="1" noChangeArrowheads="1"/>
          </p:cNvSpPr>
          <p:nvPr>
            <p:ph type="body" idx="1"/>
          </p:nvPr>
        </p:nvSpPr>
        <p:spPr/>
        <p:txBody>
          <a:bodyPr/>
          <a:lstStyle/>
          <a:p>
            <a:r>
              <a:rPr lang="de-CH" dirty="0" err="1" smtClean="0"/>
              <a:t>Assumptions</a:t>
            </a:r>
            <a:r>
              <a:rPr lang="de-CH" dirty="0" smtClean="0"/>
              <a:t>: </a:t>
            </a:r>
          </a:p>
          <a:p>
            <a:pPr marL="171450" indent="-171450">
              <a:buFontTx/>
              <a:buChar char="-"/>
            </a:pPr>
            <a:r>
              <a:rPr lang="de-CH" dirty="0" err="1" smtClean="0"/>
              <a:t>machine</a:t>
            </a:r>
            <a:r>
              <a:rPr lang="de-CH" dirty="0" smtClean="0"/>
              <a:t> </a:t>
            </a:r>
            <a:r>
              <a:rPr lang="de-CH" dirty="0" err="1" smtClean="0"/>
              <a:t>costs</a:t>
            </a:r>
            <a:r>
              <a:rPr lang="de-CH" dirty="0" smtClean="0"/>
              <a:t> per </a:t>
            </a:r>
            <a:r>
              <a:rPr lang="de-CH" dirty="0" err="1" smtClean="0"/>
              <a:t>hour</a:t>
            </a:r>
            <a:r>
              <a:rPr lang="de-CH" dirty="0" smtClean="0"/>
              <a:t> 80 EUR</a:t>
            </a:r>
          </a:p>
          <a:p>
            <a:pPr marL="171450" indent="-171450">
              <a:buFontTx/>
              <a:buChar char="-"/>
            </a:pPr>
            <a:r>
              <a:rPr lang="de-CH" baseline="0" dirty="0" err="1" smtClean="0"/>
              <a:t>machining</a:t>
            </a:r>
            <a:r>
              <a:rPr lang="de-CH" baseline="0" dirty="0" smtClean="0"/>
              <a:t> time at 200 m/min = 0.56 min/ </a:t>
            </a:r>
            <a:r>
              <a:rPr lang="de-CH" baseline="0" dirty="0" err="1" smtClean="0"/>
              <a:t>gear</a:t>
            </a:r>
            <a:endParaRPr lang="de-CH" baseline="0" dirty="0" smtClean="0"/>
          </a:p>
          <a:p>
            <a:pPr marL="171450" indent="-171450">
              <a:buFontTx/>
              <a:buChar char="-"/>
            </a:pPr>
            <a:r>
              <a:rPr lang="de-CH" baseline="0" dirty="0" err="1" smtClean="0"/>
              <a:t>machining</a:t>
            </a:r>
            <a:r>
              <a:rPr lang="de-CH" baseline="0" dirty="0" smtClean="0"/>
              <a:t> time at 300 m/min = 0.46 min/ </a:t>
            </a:r>
            <a:r>
              <a:rPr lang="de-CH" baseline="0" dirty="0" err="1" smtClean="0"/>
              <a:t>gear</a:t>
            </a:r>
            <a:endParaRPr lang="de-CH" baseline="0" dirty="0" smtClean="0"/>
          </a:p>
          <a:p>
            <a:pPr marL="0" indent="0">
              <a:buFontTx/>
              <a:buNone/>
            </a:pPr>
            <a:r>
              <a:rPr lang="de-CH" baseline="0" dirty="0" err="1" smtClean="0"/>
              <a:t>Cost</a:t>
            </a:r>
            <a:r>
              <a:rPr lang="de-CH" baseline="0" dirty="0" smtClean="0"/>
              <a:t> </a:t>
            </a:r>
            <a:r>
              <a:rPr lang="de-CH" baseline="0" dirty="0" err="1" smtClean="0"/>
              <a:t>savings</a:t>
            </a:r>
            <a:r>
              <a:rPr lang="de-CH" baseline="0" dirty="0" smtClean="0"/>
              <a:t> 288 EUR </a:t>
            </a:r>
          </a:p>
          <a:p>
            <a:pPr marL="0" indent="0">
              <a:buFontTx/>
              <a:buNone/>
            </a:pPr>
            <a:endParaRPr lang="de-CH" baseline="0" dirty="0" smtClean="0"/>
          </a:p>
          <a:p>
            <a:pPr marL="0" indent="0">
              <a:buFontTx/>
              <a:buNone/>
            </a:pPr>
            <a:r>
              <a:rPr lang="de-CH" baseline="0" dirty="0" smtClean="0"/>
              <a:t>Fair </a:t>
            </a:r>
            <a:r>
              <a:rPr lang="de-CH" baseline="0" dirty="0" err="1" smtClean="0"/>
              <a:t>sharing</a:t>
            </a:r>
            <a:r>
              <a:rPr lang="de-CH" baseline="0" dirty="0" smtClean="0"/>
              <a:t> </a:t>
            </a:r>
            <a:r>
              <a:rPr lang="de-CH" baseline="0" dirty="0" err="1" smtClean="0"/>
              <a:t>of</a:t>
            </a:r>
            <a:r>
              <a:rPr lang="de-CH" baseline="0" dirty="0" smtClean="0"/>
              <a:t> </a:t>
            </a:r>
            <a:r>
              <a:rPr lang="de-CH" baseline="0" dirty="0" err="1" smtClean="0"/>
              <a:t>cost</a:t>
            </a:r>
            <a:r>
              <a:rPr lang="de-CH" baseline="0" dirty="0" smtClean="0"/>
              <a:t> </a:t>
            </a:r>
            <a:r>
              <a:rPr lang="de-CH" baseline="0" dirty="0" err="1" smtClean="0"/>
              <a:t>savings</a:t>
            </a:r>
            <a:r>
              <a:rPr lang="de-CH" baseline="0" dirty="0" smtClean="0"/>
              <a:t>?</a:t>
            </a:r>
          </a:p>
          <a:p>
            <a:pPr marL="0" indent="0">
              <a:buFontTx/>
              <a:buNone/>
            </a:pPr>
            <a:r>
              <a:rPr lang="de-CH" baseline="0" dirty="0" smtClean="0"/>
              <a:t>150 EUR additional </a:t>
            </a:r>
            <a:r>
              <a:rPr lang="de-CH" baseline="0" dirty="0" err="1" smtClean="0"/>
              <a:t>coating</a:t>
            </a:r>
            <a:r>
              <a:rPr lang="de-CH" baseline="0" dirty="0" smtClean="0"/>
              <a:t> </a:t>
            </a:r>
            <a:r>
              <a:rPr lang="de-CH" baseline="0" dirty="0" err="1" smtClean="0"/>
              <a:t>costs</a:t>
            </a:r>
            <a:r>
              <a:rPr lang="de-CH" baseline="0" dirty="0" smtClean="0"/>
              <a:t> per hob</a:t>
            </a:r>
          </a:p>
          <a:p>
            <a:pPr marL="0" indent="0">
              <a:buFontTx/>
              <a:buNone/>
            </a:pPr>
            <a:endParaRPr lang="de-CH" baseline="0" dirty="0" smtClean="0"/>
          </a:p>
        </p:txBody>
      </p:sp>
    </p:spTree>
    <p:extLst>
      <p:ext uri="{BB962C8B-B14F-4D97-AF65-F5344CB8AC3E}">
        <p14:creationId xmlns:p14="http://schemas.microsoft.com/office/powerpoint/2010/main" val="33299593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B2FF536-97B2-4963-A910-5D900FA13B72}" type="slidenum">
              <a:rPr lang="de-CH">
                <a:solidFill>
                  <a:prstClr val="black"/>
                </a:solidFill>
                <a:latin typeface="HelveticaNeue LT 45 Light"/>
              </a:rPr>
              <a:pPr/>
              <a:t>28</a:t>
            </a:fld>
            <a:endParaRPr lang="de-CH">
              <a:solidFill>
                <a:prstClr val="black"/>
              </a:solidFill>
              <a:latin typeface="HelveticaNeue LT 45 Light"/>
            </a:endParaRPr>
          </a:p>
        </p:txBody>
      </p:sp>
      <p:sp>
        <p:nvSpPr>
          <p:cNvPr id="266242" name="Rectangle 2"/>
          <p:cNvSpPr>
            <a:spLocks noGrp="1" noRot="1" noChangeAspect="1" noChangeArrowheads="1" noTextEdit="1"/>
          </p:cNvSpPr>
          <p:nvPr>
            <p:ph type="sldImg"/>
          </p:nvPr>
        </p:nvSpPr>
        <p:spPr>
          <a:xfrm>
            <a:off x="930275" y="741363"/>
            <a:ext cx="4937125" cy="3702050"/>
          </a:xfrm>
          <a:ln/>
        </p:spPr>
      </p:sp>
      <p:sp>
        <p:nvSpPr>
          <p:cNvPr id="266243" name="Rectangle 3"/>
          <p:cNvSpPr>
            <a:spLocks noGrp="1" noChangeArrowheads="1"/>
          </p:cNvSpPr>
          <p:nvPr>
            <p:ph type="body" idx="1"/>
          </p:nvPr>
        </p:nvSpPr>
        <p:spPr/>
        <p:txBody>
          <a:bodyPr/>
          <a:lstStyle/>
          <a:p>
            <a:endParaRPr lang="de-CH" dirty="0"/>
          </a:p>
        </p:txBody>
      </p:sp>
    </p:spTree>
    <p:extLst>
      <p:ext uri="{BB962C8B-B14F-4D97-AF65-F5344CB8AC3E}">
        <p14:creationId xmlns:p14="http://schemas.microsoft.com/office/powerpoint/2010/main" val="1904731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30263" y="833438"/>
            <a:ext cx="5513387" cy="4135437"/>
          </a:xfrm>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300"/>
              </a:spcBef>
              <a:spcAft>
                <a:spcPts val="200"/>
              </a:spcAft>
              <a:buClrTx/>
              <a:buSzTx/>
              <a:buFontTx/>
              <a:buNone/>
              <a:tabLst/>
              <a:defRPr/>
            </a:pPr>
            <a:r>
              <a:rPr lang="de-CH" dirty="0" smtClean="0"/>
              <a:t>Source:</a:t>
            </a:r>
            <a:r>
              <a:rPr lang="de-CH" baseline="0" dirty="0" smtClean="0"/>
              <a:t> Oerlikon Corporate </a:t>
            </a:r>
            <a:r>
              <a:rPr lang="de-CH" baseline="0" dirty="0" err="1" smtClean="0"/>
              <a:t>presentation</a:t>
            </a:r>
            <a:r>
              <a:rPr lang="de-CH" baseline="0" dirty="0" smtClean="0"/>
              <a:t> </a:t>
            </a:r>
            <a:r>
              <a:rPr lang="de-CH" baseline="0" dirty="0" err="1" smtClean="0"/>
              <a:t>as</a:t>
            </a:r>
            <a:r>
              <a:rPr lang="de-CH" baseline="0" dirty="0" smtClean="0"/>
              <a:t> </a:t>
            </a:r>
            <a:r>
              <a:rPr lang="de-CH" baseline="0" dirty="0" err="1" smtClean="0"/>
              <a:t>of</a:t>
            </a:r>
            <a:r>
              <a:rPr lang="de-CH" baseline="0" dirty="0" smtClean="0"/>
              <a:t> March 2016</a:t>
            </a:r>
            <a:endParaRPr lang="de-CH" dirty="0" smtClean="0"/>
          </a:p>
          <a:p>
            <a:endParaRPr lang="de" dirty="0" smtClean="0"/>
          </a:p>
          <a:p>
            <a:endParaRPr lang="de" dirty="0" smtClean="0"/>
          </a:p>
          <a:p>
            <a:endParaRPr lang="de" dirty="0"/>
          </a:p>
        </p:txBody>
      </p:sp>
      <p:sp>
        <p:nvSpPr>
          <p:cNvPr id="4" name="Foliennummernplatzhalter 3"/>
          <p:cNvSpPr>
            <a:spLocks noGrp="1"/>
          </p:cNvSpPr>
          <p:nvPr>
            <p:ph type="sldNum" sz="quarter" idx="10"/>
          </p:nvPr>
        </p:nvSpPr>
        <p:spPr/>
        <p:txBody>
          <a:bodyPr/>
          <a:lstStyle/>
          <a:p>
            <a:pPr>
              <a:defRPr/>
            </a:pPr>
            <a:r>
              <a:rPr lang="en-US" altLang="en-US" smtClean="0"/>
              <a:t>Page </a:t>
            </a:r>
            <a:fld id="{D7BDC5CB-BD28-4DA2-9BCE-B610215A4562}" type="slidenum">
              <a:rPr lang="en-US" altLang="en-US" smtClean="0"/>
              <a:pPr>
                <a:defRPr/>
              </a:pPr>
              <a:t>3</a:t>
            </a:fld>
            <a:endParaRPr lang="en-US" altLang="en-US" dirty="0"/>
          </a:p>
        </p:txBody>
      </p:sp>
    </p:spTree>
    <p:extLst>
      <p:ext uri="{BB962C8B-B14F-4D97-AF65-F5344CB8AC3E}">
        <p14:creationId xmlns:p14="http://schemas.microsoft.com/office/powerpoint/2010/main" val="227617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44550" y="828675"/>
            <a:ext cx="5484813" cy="4113213"/>
          </a:xfrm>
        </p:spPr>
      </p:sp>
      <p:sp>
        <p:nvSpPr>
          <p:cNvPr id="3" name="Notizenplatzhalter 2"/>
          <p:cNvSpPr>
            <a:spLocks noGrp="1"/>
          </p:cNvSpPr>
          <p:nvPr>
            <p:ph type="body" idx="1"/>
          </p:nvPr>
        </p:nvSpPr>
        <p:spPr/>
        <p:txBody>
          <a:bodyPr/>
          <a:lstStyle/>
          <a:p>
            <a:r>
              <a:rPr lang="en" dirty="0" smtClean="0"/>
              <a:t>Locations</a:t>
            </a:r>
            <a:r>
              <a:rPr lang="en" baseline="0" dirty="0" smtClean="0"/>
              <a:t> </a:t>
            </a:r>
            <a:r>
              <a:rPr lang="en" dirty="0" smtClean="0"/>
              <a:t>= Customer centre</a:t>
            </a:r>
            <a:r>
              <a:rPr lang="en" baseline="0" dirty="0" smtClean="0"/>
              <a:t> + office only</a:t>
            </a:r>
            <a:endParaRPr lang="en" dirty="0" smtClean="0"/>
          </a:p>
          <a:p>
            <a:r>
              <a:rPr lang="en" dirty="0" smtClean="0"/>
              <a:t>Customer centres = equipment assembly + production centre + service centre + sales</a:t>
            </a:r>
            <a:r>
              <a:rPr lang="en" baseline="0" dirty="0" smtClean="0"/>
              <a:t> office</a:t>
            </a:r>
            <a:r>
              <a:rPr lang="en" dirty="0" smtClean="0"/>
              <a:t> </a:t>
            </a:r>
            <a:endParaRPr lang="en" dirty="0"/>
          </a:p>
        </p:txBody>
      </p:sp>
      <p:sp>
        <p:nvSpPr>
          <p:cNvPr id="4" name="Foliennummernplatzhalter 3"/>
          <p:cNvSpPr>
            <a:spLocks noGrp="1"/>
          </p:cNvSpPr>
          <p:nvPr>
            <p:ph type="sldNum" sz="quarter" idx="10"/>
          </p:nvPr>
        </p:nvSpPr>
        <p:spPr/>
        <p:txBody>
          <a:bodyPr/>
          <a:lstStyle/>
          <a:p>
            <a:pPr algn="l" rtl="0"/>
            <a:r>
              <a:rPr lang="en" b="0" i="0" u="none" baseline="0"/>
              <a:t>Page </a:t>
            </a:r>
            <a:fld id="{B936D8B3-C460-44AC-B9A0-2EFBD5732908}" type="slidenum">
              <a:rPr/>
              <a:pPr algn="l" rtl="0"/>
              <a:t>4</a:t>
            </a:fld>
            <a:endParaRPr lang="en" dirty="0"/>
          </a:p>
        </p:txBody>
      </p:sp>
    </p:spTree>
    <p:extLst>
      <p:ext uri="{BB962C8B-B14F-4D97-AF65-F5344CB8AC3E}">
        <p14:creationId xmlns:p14="http://schemas.microsoft.com/office/powerpoint/2010/main" val="3545495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747713"/>
            <a:ext cx="4991100" cy="3743325"/>
          </a:xfrm>
        </p:spPr>
      </p:sp>
      <p:sp>
        <p:nvSpPr>
          <p:cNvPr id="3" name="Notes Placeholder 2"/>
          <p:cNvSpPr>
            <a:spLocks noGrp="1"/>
          </p:cNvSpPr>
          <p:nvPr>
            <p:ph type="body" idx="1"/>
          </p:nvPr>
        </p:nvSpPr>
        <p:spPr/>
        <p:txBody>
          <a:bodyPr/>
          <a:lstStyle/>
          <a:p>
            <a:endParaRPr lang="de-CH">
              <a:latin typeface="HelveticaNeueLT Com 45 Lt"/>
            </a:endParaRPr>
          </a:p>
        </p:txBody>
      </p:sp>
      <p:sp>
        <p:nvSpPr>
          <p:cNvPr id="4" name="Slide Number Placeholder 3"/>
          <p:cNvSpPr>
            <a:spLocks noGrp="1"/>
          </p:cNvSpPr>
          <p:nvPr>
            <p:ph type="sldNum" sz="quarter" idx="10"/>
          </p:nvPr>
        </p:nvSpPr>
        <p:spPr/>
        <p:txBody>
          <a:bodyPr/>
          <a:lstStyle/>
          <a:p>
            <a:fld id="{12C33F97-1322-4F11-80BD-1761D60700F8}" type="slidenum">
              <a:rPr lang="en-US" smtClean="0">
                <a:latin typeface="HelveticaNeueLT Com 45 Lt"/>
              </a:rPr>
              <a:pPr/>
              <a:t>5</a:t>
            </a:fld>
            <a:endParaRPr lang="en-US">
              <a:latin typeface="HelveticaNeueLT Com 45 Lt"/>
            </a:endParaRPr>
          </a:p>
        </p:txBody>
      </p:sp>
    </p:spTree>
    <p:extLst>
      <p:ext uri="{BB962C8B-B14F-4D97-AF65-F5344CB8AC3E}">
        <p14:creationId xmlns:p14="http://schemas.microsoft.com/office/powerpoint/2010/main" val="23272503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44550" y="828675"/>
            <a:ext cx="5484813" cy="4113213"/>
          </a:xfrm>
        </p:spPr>
      </p:sp>
      <p:sp>
        <p:nvSpPr>
          <p:cNvPr id="3" name="Notizenplatzhalter 2"/>
          <p:cNvSpPr>
            <a:spLocks noGrp="1"/>
          </p:cNvSpPr>
          <p:nvPr>
            <p:ph type="body" idx="1"/>
          </p:nvPr>
        </p:nvSpPr>
        <p:spPr/>
        <p:txBody>
          <a:bodyPr/>
          <a:lstStyle/>
          <a:p>
            <a:pPr algn="l" rtl="0"/>
            <a:r>
              <a:rPr lang="en" b="0" i="0" u="none" baseline="0" dirty="0" smtClean="0"/>
              <a:t>&gt;1,100 systems refers to ALL </a:t>
            </a:r>
            <a:r>
              <a:rPr lang="en" b="0" i="0" u="none" baseline="0" dirty="0"/>
              <a:t>Balzers, Metaplas, Schopfheim, Stetten </a:t>
            </a:r>
            <a:r>
              <a:rPr lang="en" b="0" i="0" u="none" baseline="0" dirty="0" smtClean="0"/>
              <a:t>systems within the Balzers coating centre network a</a:t>
            </a:r>
            <a:r>
              <a:rPr lang="de-CH" b="0" i="0" u="none" baseline="0" dirty="0" err="1" smtClean="0"/>
              <a:t>nd</a:t>
            </a:r>
            <a:r>
              <a:rPr lang="en" b="0" i="0" u="none" baseline="0" dirty="0" smtClean="0"/>
              <a:t> at 3</a:t>
            </a:r>
            <a:r>
              <a:rPr lang="en" b="0" i="0" u="none" baseline="30000" dirty="0" smtClean="0"/>
              <a:t>rd</a:t>
            </a:r>
            <a:r>
              <a:rPr lang="en" b="0" i="0" u="none" baseline="0" dirty="0" smtClean="0"/>
              <a:t> party customers</a:t>
            </a:r>
          </a:p>
          <a:p>
            <a:pPr algn="l" rtl="0"/>
            <a:endParaRPr lang="en" b="0" i="0" u="none" baseline="0" dirty="0" smtClean="0"/>
          </a:p>
          <a:p>
            <a:pPr algn="l" rtl="0"/>
            <a:r>
              <a:rPr lang="en" b="0" i="0" u="none" baseline="0" dirty="0" smtClean="0"/>
              <a:t>&gt;&gt; </a:t>
            </a:r>
            <a:r>
              <a:rPr lang="en-US" sz="1200" kern="1200" dirty="0" smtClean="0">
                <a:solidFill>
                  <a:schemeClr val="tx1"/>
                </a:solidFill>
                <a:effectLst/>
                <a:latin typeface="+mn-lt"/>
                <a:ea typeface="+mn-ea"/>
                <a:cs typeface="+mn-cs"/>
              </a:rPr>
              <a:t>33% of coated tools are coated with Balzers over all segments</a:t>
            </a:r>
            <a:endParaRPr lang="en" dirty="0"/>
          </a:p>
        </p:txBody>
      </p:sp>
      <p:sp>
        <p:nvSpPr>
          <p:cNvPr id="4" name="Foliennummernplatzhalter 3"/>
          <p:cNvSpPr>
            <a:spLocks noGrp="1"/>
          </p:cNvSpPr>
          <p:nvPr>
            <p:ph type="sldNum" sz="quarter" idx="10"/>
          </p:nvPr>
        </p:nvSpPr>
        <p:spPr/>
        <p:txBody>
          <a:bodyPr/>
          <a:lstStyle/>
          <a:p>
            <a:pPr algn="l" rtl="0"/>
            <a:r>
              <a:rPr lang="en" b="0" i="0" u="none" baseline="0"/>
              <a:t>Page </a:t>
            </a:r>
            <a:fld id="{B936D8B3-C460-44AC-B9A0-2EFBD5732908}" type="slidenum">
              <a:rPr/>
              <a:pPr algn="l" rtl="0"/>
              <a:t>6</a:t>
            </a:fld>
            <a:endParaRPr lang="en" dirty="0"/>
          </a:p>
        </p:txBody>
      </p:sp>
    </p:spTree>
    <p:extLst>
      <p:ext uri="{BB962C8B-B14F-4D97-AF65-F5344CB8AC3E}">
        <p14:creationId xmlns:p14="http://schemas.microsoft.com/office/powerpoint/2010/main" val="934089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747713"/>
            <a:ext cx="4991100" cy="3743325"/>
          </a:xfrm>
        </p:spPr>
      </p:sp>
      <p:sp>
        <p:nvSpPr>
          <p:cNvPr id="3" name="Notes Placeholder 2"/>
          <p:cNvSpPr>
            <a:spLocks noGrp="1"/>
          </p:cNvSpPr>
          <p:nvPr>
            <p:ph type="body" idx="1"/>
          </p:nvPr>
        </p:nvSpPr>
        <p:spPr/>
        <p:txBody>
          <a:bodyPr/>
          <a:lstStyle/>
          <a:p>
            <a:endParaRPr lang="de-CH">
              <a:latin typeface="HelveticaNeueLT Com 45 Lt"/>
            </a:endParaRPr>
          </a:p>
        </p:txBody>
      </p:sp>
      <p:sp>
        <p:nvSpPr>
          <p:cNvPr id="4" name="Slide Number Placeholder 3"/>
          <p:cNvSpPr>
            <a:spLocks noGrp="1"/>
          </p:cNvSpPr>
          <p:nvPr>
            <p:ph type="sldNum" sz="quarter" idx="10"/>
          </p:nvPr>
        </p:nvSpPr>
        <p:spPr/>
        <p:txBody>
          <a:bodyPr/>
          <a:lstStyle/>
          <a:p>
            <a:fld id="{12C33F97-1322-4F11-80BD-1761D60700F8}" type="slidenum">
              <a:rPr lang="en-US" smtClean="0">
                <a:latin typeface="HelveticaNeueLT Com 45 Lt"/>
              </a:rPr>
              <a:pPr/>
              <a:t>7</a:t>
            </a:fld>
            <a:endParaRPr lang="en-US">
              <a:latin typeface="HelveticaNeueLT Com 45 Lt"/>
            </a:endParaRPr>
          </a:p>
        </p:txBody>
      </p:sp>
    </p:spTree>
    <p:extLst>
      <p:ext uri="{BB962C8B-B14F-4D97-AF65-F5344CB8AC3E}">
        <p14:creationId xmlns:p14="http://schemas.microsoft.com/office/powerpoint/2010/main" val="22885217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44550" y="828675"/>
            <a:ext cx="5484813" cy="4113213"/>
          </a:xfrm>
        </p:spPr>
      </p:sp>
      <p:sp>
        <p:nvSpPr>
          <p:cNvPr id="3" name="Notizenplatzhalter 2"/>
          <p:cNvSpPr>
            <a:spLocks noGrp="1"/>
          </p:cNvSpPr>
          <p:nvPr>
            <p:ph type="body" idx="1"/>
          </p:nvPr>
        </p:nvSpPr>
        <p:spPr/>
        <p:txBody>
          <a:bodyPr/>
          <a:lstStyle/>
          <a:p>
            <a:pPr algn="l" rtl="0"/>
            <a:r>
              <a:rPr lang="en" b="0" i="0" u="none" baseline="0" dirty="0"/>
              <a:t>Since 2014: Balzers &amp; Metco locations are counted</a:t>
            </a:r>
            <a:endParaRPr lang="en" baseline="0" dirty="0" smtClean="0"/>
          </a:p>
          <a:p>
            <a:endParaRPr lang="en" baseline="0" dirty="0" smtClean="0"/>
          </a:p>
          <a:p>
            <a:pPr algn="l" rtl="0"/>
            <a:r>
              <a:rPr lang="en" b="0" i="0" u="none" baseline="0" dirty="0"/>
              <a:t>2014: 94 Balzers alone</a:t>
            </a:r>
          </a:p>
          <a:p>
            <a:pPr algn="l" rtl="0"/>
            <a:r>
              <a:rPr lang="en" b="0" i="0" u="none" baseline="0" dirty="0"/>
              <a:t>2015: 107 Balzers alone</a:t>
            </a:r>
          </a:p>
          <a:p>
            <a:pPr algn="l" rtl="0"/>
            <a:r>
              <a:rPr lang="en" b="0" i="0" u="none" baseline="0" dirty="0"/>
              <a:t>2016: 108 Balzers alone (incl. PRC &amp; Automotive)</a:t>
            </a:r>
          </a:p>
          <a:p>
            <a:endParaRPr lang="en" baseline="0" dirty="0" smtClean="0"/>
          </a:p>
          <a:p>
            <a:pPr algn="l" rtl="0"/>
            <a:r>
              <a:rPr lang="en" b="0" i="0" u="none" baseline="0" dirty="0"/>
              <a:t>In 2016: 99 tooling alone without the following PRC &amp; Automotive locations:</a:t>
            </a:r>
          </a:p>
          <a:p>
            <a:endParaRPr lang="en" baseline="0" dirty="0" smtClean="0"/>
          </a:p>
          <a:p>
            <a:pPr lvl="0" algn="l" rtl="0"/>
            <a:r>
              <a:rPr lang="en" sz="1200" b="0" i="0" u="none" kern="1200" baseline="0" dirty="0">
                <a:solidFill>
                  <a:schemeClr val="tx1"/>
                </a:solidFill>
                <a:effectLst/>
                <a:latin typeface="+mn-lt"/>
                <a:ea typeface="+mn-ea"/>
                <a:cs typeface="+mn-cs"/>
              </a:rPr>
              <a:t>BUS Amherst (formerly Metaplas) </a:t>
            </a:r>
          </a:p>
          <a:p>
            <a:pPr lvl="0" algn="l" rtl="0"/>
            <a:r>
              <a:rPr lang="en" sz="1200" b="0" i="0" u="none" kern="1200" baseline="0" dirty="0">
                <a:solidFill>
                  <a:schemeClr val="tx1"/>
                </a:solidFill>
                <a:effectLst/>
                <a:latin typeface="+mn-lt"/>
                <a:ea typeface="+mn-ea"/>
                <a:cs typeface="+mn-cs"/>
              </a:rPr>
              <a:t>BCN Changchun (formerly Metaplas) </a:t>
            </a:r>
          </a:p>
          <a:p>
            <a:pPr lvl="0" algn="l" rtl="0"/>
            <a:r>
              <a:rPr lang="en" sz="1200" b="0" i="0" u="none" kern="1200" baseline="0" dirty="0">
                <a:solidFill>
                  <a:schemeClr val="tx1"/>
                </a:solidFill>
                <a:effectLst/>
                <a:latin typeface="+mn-lt"/>
                <a:ea typeface="+mn-ea"/>
                <a:cs typeface="+mn-cs"/>
              </a:rPr>
              <a:t>BFR Limoges (formerly Metaplas) </a:t>
            </a:r>
          </a:p>
          <a:p>
            <a:pPr lvl="0" algn="l" rtl="0"/>
            <a:r>
              <a:rPr lang="en" sz="1200" b="0" i="0" u="none" kern="1200" baseline="0" dirty="0">
                <a:solidFill>
                  <a:schemeClr val="tx1"/>
                </a:solidFill>
                <a:effectLst/>
                <a:latin typeface="+mn-lt"/>
                <a:ea typeface="+mn-ea"/>
                <a:cs typeface="+mn-cs"/>
              </a:rPr>
              <a:t>BDE Niederwürschnitz (formerly Metaplas) </a:t>
            </a:r>
          </a:p>
          <a:p>
            <a:pPr lvl="0" algn="l" rtl="0"/>
            <a:r>
              <a:rPr lang="en" sz="1200" b="0" i="0" u="none" kern="1200" baseline="0" dirty="0">
                <a:solidFill>
                  <a:schemeClr val="tx1"/>
                </a:solidFill>
                <a:effectLst/>
                <a:latin typeface="+mn-lt"/>
                <a:ea typeface="+mn-ea"/>
                <a:cs typeface="+mn-cs"/>
              </a:rPr>
              <a:t>BDE Salzgitter (formerly Metaplas)</a:t>
            </a:r>
          </a:p>
          <a:p>
            <a:pPr lvl="0" algn="l" rtl="0"/>
            <a:r>
              <a:rPr lang="en" sz="1200" b="0" i="0" u="none" kern="1200" baseline="0" dirty="0">
                <a:solidFill>
                  <a:schemeClr val="tx1"/>
                </a:solidFill>
                <a:effectLst/>
                <a:latin typeface="+mn-lt"/>
                <a:ea typeface="+mn-ea"/>
                <a:cs typeface="+mn-cs"/>
              </a:rPr>
              <a:t>BDE Stollberg </a:t>
            </a:r>
          </a:p>
          <a:p>
            <a:pPr lvl="0" algn="l" rtl="0"/>
            <a:r>
              <a:rPr lang="en" sz="1200" b="0" i="0" u="none" kern="1200" baseline="0" dirty="0">
                <a:solidFill>
                  <a:schemeClr val="tx1"/>
                </a:solidFill>
                <a:effectLst/>
                <a:latin typeface="+mn-lt"/>
                <a:ea typeface="+mn-ea"/>
                <a:cs typeface="+mn-cs"/>
              </a:rPr>
              <a:t>BSK Velka Ida </a:t>
            </a:r>
          </a:p>
          <a:p>
            <a:endParaRPr lang="en" baseline="0" dirty="0" smtClean="0"/>
          </a:p>
          <a:p>
            <a:endParaRPr lang="en" baseline="0" dirty="0" smtClean="0"/>
          </a:p>
          <a:p>
            <a:pPr algn="l" rtl="0"/>
            <a:r>
              <a:rPr lang="en" b="0" i="0" u="none" baseline="0" dirty="0" smtClean="0"/>
              <a:t>From </a:t>
            </a:r>
            <a:r>
              <a:rPr lang="en" b="0" i="0" u="none" baseline="0" dirty="0"/>
              <a:t>the 2015 annual report: OSS: 145 service and production centres. At 149 sites in 37 countries. </a:t>
            </a:r>
            <a:endParaRPr lang="en" dirty="0"/>
          </a:p>
        </p:txBody>
      </p:sp>
      <p:sp>
        <p:nvSpPr>
          <p:cNvPr id="4" name="Foliennummernplatzhalter 3"/>
          <p:cNvSpPr>
            <a:spLocks noGrp="1"/>
          </p:cNvSpPr>
          <p:nvPr>
            <p:ph type="sldNum" sz="quarter" idx="10"/>
          </p:nvPr>
        </p:nvSpPr>
        <p:spPr/>
        <p:txBody>
          <a:bodyPr/>
          <a:lstStyle/>
          <a:p>
            <a:pPr algn="l" rtl="0"/>
            <a:r>
              <a:rPr lang="en" b="0" i="0" u="none" baseline="0"/>
              <a:t>Page </a:t>
            </a:r>
            <a:fld id="{B936D8B3-C460-44AC-B9A0-2EFBD5732908}" type="slidenum">
              <a:rPr/>
              <a:pPr algn="l" rtl="0"/>
              <a:t>10</a:t>
            </a:fld>
            <a:endParaRPr lang="en" dirty="0"/>
          </a:p>
        </p:txBody>
      </p:sp>
    </p:spTree>
    <p:extLst>
      <p:ext uri="{BB962C8B-B14F-4D97-AF65-F5344CB8AC3E}">
        <p14:creationId xmlns:p14="http://schemas.microsoft.com/office/powerpoint/2010/main" val="34227896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44550" y="828675"/>
            <a:ext cx="5484813" cy="4113213"/>
          </a:xfrm>
        </p:spPr>
      </p:sp>
      <p:sp>
        <p:nvSpPr>
          <p:cNvPr id="3" name="Notizenplatzhalter 2"/>
          <p:cNvSpPr>
            <a:spLocks noGrp="1"/>
          </p:cNvSpPr>
          <p:nvPr>
            <p:ph type="body" idx="1"/>
          </p:nvPr>
        </p:nvSpPr>
        <p:spPr/>
        <p:txBody>
          <a:bodyPr/>
          <a:lstStyle/>
          <a:p>
            <a:pPr algn="l" rtl="0"/>
            <a:r>
              <a:rPr lang="en" b="0" i="0" u="none" baseline="0" dirty="0"/>
              <a:t>Balzers locations NOT included in this Tooling map:</a:t>
            </a:r>
          </a:p>
          <a:p>
            <a:endParaRPr lang="en" baseline="0" dirty="0" smtClean="0"/>
          </a:p>
          <a:p>
            <a:pPr lvl="0" algn="l" rtl="0"/>
            <a:r>
              <a:rPr lang="en" sz="1200" b="0" i="0" u="none" kern="1200" baseline="0" dirty="0">
                <a:solidFill>
                  <a:schemeClr val="tx1"/>
                </a:solidFill>
                <a:effectLst/>
                <a:latin typeface="+mn-lt"/>
                <a:ea typeface="+mn-ea"/>
                <a:cs typeface="+mn-cs"/>
              </a:rPr>
              <a:t>BUS Amherst (formerly Metaplas) </a:t>
            </a:r>
          </a:p>
          <a:p>
            <a:pPr lvl="0" algn="l" rtl="0"/>
            <a:r>
              <a:rPr lang="en" sz="1200" b="0" i="0" u="none" kern="1200" baseline="0" dirty="0">
                <a:solidFill>
                  <a:schemeClr val="tx1"/>
                </a:solidFill>
                <a:effectLst/>
                <a:latin typeface="+mn-lt"/>
                <a:ea typeface="+mn-ea"/>
                <a:cs typeface="+mn-cs"/>
              </a:rPr>
              <a:t>BCN Changchun (formerly Metaplas) </a:t>
            </a:r>
          </a:p>
          <a:p>
            <a:pPr lvl="0" algn="l" rtl="0"/>
            <a:r>
              <a:rPr lang="en" sz="1200" b="0" i="0" u="none" kern="1200" baseline="0" dirty="0">
                <a:solidFill>
                  <a:schemeClr val="tx1"/>
                </a:solidFill>
                <a:effectLst/>
                <a:latin typeface="+mn-lt"/>
                <a:ea typeface="+mn-ea"/>
                <a:cs typeface="+mn-cs"/>
              </a:rPr>
              <a:t>BFR Limoges (formerly Metaplas) </a:t>
            </a:r>
          </a:p>
          <a:p>
            <a:pPr lvl="0" algn="l" rtl="0"/>
            <a:r>
              <a:rPr lang="en" sz="1200" b="0" i="0" u="none" kern="1200" baseline="0" dirty="0">
                <a:solidFill>
                  <a:schemeClr val="tx1"/>
                </a:solidFill>
                <a:effectLst/>
                <a:latin typeface="+mn-lt"/>
                <a:ea typeface="+mn-ea"/>
                <a:cs typeface="+mn-cs"/>
              </a:rPr>
              <a:t>BDE Niederwürschnitz (formerly Metaplas) </a:t>
            </a:r>
          </a:p>
          <a:p>
            <a:pPr lvl="0" algn="l" rtl="0"/>
            <a:r>
              <a:rPr lang="en" sz="1200" b="0" i="0" u="none" kern="1200" baseline="0" dirty="0">
                <a:solidFill>
                  <a:schemeClr val="tx1"/>
                </a:solidFill>
                <a:effectLst/>
                <a:latin typeface="+mn-lt"/>
                <a:ea typeface="+mn-ea"/>
                <a:cs typeface="+mn-cs"/>
              </a:rPr>
              <a:t>BDE Salzgitter (formerly Metaplas)</a:t>
            </a:r>
          </a:p>
          <a:p>
            <a:pPr lvl="0" algn="l" rtl="0"/>
            <a:r>
              <a:rPr lang="en" sz="1200" b="0" i="0" u="none" kern="1200" baseline="0" dirty="0">
                <a:solidFill>
                  <a:schemeClr val="tx1"/>
                </a:solidFill>
                <a:effectLst/>
                <a:latin typeface="+mn-lt"/>
                <a:ea typeface="+mn-ea"/>
                <a:cs typeface="+mn-cs"/>
              </a:rPr>
              <a:t>BDE Stollberg </a:t>
            </a:r>
          </a:p>
          <a:p>
            <a:pPr lvl="0" algn="l" rtl="0"/>
            <a:r>
              <a:rPr lang="en" sz="1200" b="0" i="0" u="none" kern="1200" baseline="0" dirty="0">
                <a:solidFill>
                  <a:schemeClr val="tx1"/>
                </a:solidFill>
                <a:effectLst/>
                <a:latin typeface="+mn-lt"/>
                <a:ea typeface="+mn-ea"/>
                <a:cs typeface="+mn-cs"/>
              </a:rPr>
              <a:t>BSK Velka Ida </a:t>
            </a:r>
          </a:p>
          <a:p>
            <a:endParaRPr lang="en" dirty="0"/>
          </a:p>
        </p:txBody>
      </p:sp>
      <p:sp>
        <p:nvSpPr>
          <p:cNvPr id="4" name="Foliennummernplatzhalter 3"/>
          <p:cNvSpPr>
            <a:spLocks noGrp="1"/>
          </p:cNvSpPr>
          <p:nvPr>
            <p:ph type="sldNum" sz="quarter" idx="10"/>
          </p:nvPr>
        </p:nvSpPr>
        <p:spPr/>
        <p:txBody>
          <a:bodyPr/>
          <a:lstStyle/>
          <a:p>
            <a:pPr algn="l" rtl="0"/>
            <a:r>
              <a:rPr lang="en" b="0" i="0" u="none" baseline="0"/>
              <a:t>Page </a:t>
            </a:r>
            <a:fld id="{B936D8B3-C460-44AC-B9A0-2EFBD5732908}" type="slidenum">
              <a:rPr/>
              <a:pPr algn="l" rtl="0"/>
              <a:t>11</a:t>
            </a:fld>
            <a:endParaRPr lang="en" dirty="0"/>
          </a:p>
        </p:txBody>
      </p:sp>
    </p:spTree>
    <p:extLst>
      <p:ext uri="{BB962C8B-B14F-4D97-AF65-F5344CB8AC3E}">
        <p14:creationId xmlns:p14="http://schemas.microsoft.com/office/powerpoint/2010/main" val="9643159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395288" y="441325"/>
            <a:ext cx="6481762" cy="1672481"/>
          </a:xfrm>
        </p:spPr>
        <p:txBody>
          <a:bodyPr tIns="234000"/>
          <a:lstStyle>
            <a:lvl1pPr>
              <a:defRPr sz="3000"/>
            </a:lvl1pPr>
          </a:lstStyle>
          <a:p>
            <a:r>
              <a:rPr lang="en-US" altLang="zh-CN" noProof="0" smtClean="0"/>
              <a:t>Click to edit Master title style</a:t>
            </a:r>
            <a:endParaRPr lang="en-US" noProof="0" dirty="0"/>
          </a:p>
        </p:txBody>
      </p:sp>
      <p:sp>
        <p:nvSpPr>
          <p:cNvPr id="3" name="Untertitel 2"/>
          <p:cNvSpPr>
            <a:spLocks noGrp="1"/>
          </p:cNvSpPr>
          <p:nvPr>
            <p:ph type="subTitle" idx="1"/>
          </p:nvPr>
        </p:nvSpPr>
        <p:spPr bwMode="gray">
          <a:xfrm>
            <a:off x="395288" y="2113806"/>
            <a:ext cx="6481762" cy="1494582"/>
          </a:xfrm>
        </p:spPr>
        <p:txBody>
          <a:bodyPr/>
          <a:lstStyle>
            <a:lvl1pPr marL="0" indent="0" algn="l">
              <a:lnSpc>
                <a:spcPct val="120000"/>
              </a:lnSpc>
              <a:spcBef>
                <a:spcPts val="0"/>
              </a:spcBef>
              <a:spcAft>
                <a:spcPts val="0"/>
              </a:spcAft>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noProof="0" smtClean="0"/>
              <a:t>Click to edit Master subtitle style</a:t>
            </a:r>
            <a:endParaRPr lang="en-US" noProof="0" dirty="0"/>
          </a:p>
        </p:txBody>
      </p:sp>
      <p:sp>
        <p:nvSpPr>
          <p:cNvPr id="7" name="Picture Placeholder 6"/>
          <p:cNvSpPr>
            <a:spLocks noGrp="1"/>
          </p:cNvSpPr>
          <p:nvPr>
            <p:ph type="pic" sz="quarter" idx="10"/>
          </p:nvPr>
        </p:nvSpPr>
        <p:spPr bwMode="gray">
          <a:xfrm>
            <a:off x="0" y="5121275"/>
            <a:ext cx="9144000" cy="1736725"/>
          </a:xfrm>
          <a:solidFill>
            <a:schemeClr val="tx2"/>
          </a:solidFill>
        </p:spPr>
        <p:txBody>
          <a:bodyPr anchor="ctr"/>
          <a:lstStyle>
            <a:lvl1pPr algn="ctr">
              <a:defRPr i="1"/>
            </a:lvl1pPr>
          </a:lstStyle>
          <a:p>
            <a:r>
              <a:rPr lang="en-US" altLang="zh-CN" noProof="0" smtClean="0"/>
              <a:t>Click icon to add picture</a:t>
            </a:r>
            <a:endParaRPr lang="en-US" noProof="0" dirty="0"/>
          </a:p>
        </p:txBody>
      </p:sp>
    </p:spTree>
    <p:extLst>
      <p:ext uri="{BB962C8B-B14F-4D97-AF65-F5344CB8AC3E}">
        <p14:creationId xmlns:p14="http://schemas.microsoft.com/office/powerpoint/2010/main" val="1681213617"/>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6" name="Picture Placeholder 6"/>
          <p:cNvSpPr>
            <a:spLocks noGrp="1"/>
          </p:cNvSpPr>
          <p:nvPr>
            <p:ph type="pic" sz="quarter" idx="13"/>
          </p:nvPr>
        </p:nvSpPr>
        <p:spPr bwMode="gray">
          <a:xfrm>
            <a:off x="395288" y="1052512"/>
            <a:ext cx="8352630"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3" name="Date Placeholder 2"/>
          <p:cNvSpPr>
            <a:spLocks noGrp="1"/>
          </p:cNvSpPr>
          <p:nvPr>
            <p:ph type="dt" sz="half" idx="14"/>
          </p:nvPr>
        </p:nvSpPr>
        <p:spPr bwMode="gray"/>
        <p:txBody>
          <a:bodyPr/>
          <a:lstStyle/>
          <a:p>
            <a:endParaRPr lang="en-US" noProof="0" dirty="0"/>
          </a:p>
        </p:txBody>
      </p:sp>
    </p:spTree>
    <p:extLst>
      <p:ext uri="{BB962C8B-B14F-4D97-AF65-F5344CB8AC3E}">
        <p14:creationId xmlns:p14="http://schemas.microsoft.com/office/powerpoint/2010/main" val="218790166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6" name="Picture Placeholder 6"/>
          <p:cNvSpPr>
            <a:spLocks noGrp="1"/>
          </p:cNvSpPr>
          <p:nvPr>
            <p:ph type="pic" sz="quarter" idx="13"/>
          </p:nvPr>
        </p:nvSpPr>
        <p:spPr bwMode="gray">
          <a:xfrm>
            <a:off x="395288" y="1052512"/>
            <a:ext cx="8352630" cy="406876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4" name="Text Placeholder 3"/>
          <p:cNvSpPr>
            <a:spLocks noGrp="1"/>
          </p:cNvSpPr>
          <p:nvPr>
            <p:ph type="body" sz="quarter" idx="14" hasCustomPrompt="1"/>
          </p:nvPr>
        </p:nvSpPr>
        <p:spPr bwMode="gray">
          <a:xfrm>
            <a:off x="395288" y="5121275"/>
            <a:ext cx="8353425" cy="1187450"/>
          </a:xfrm>
        </p:spPr>
        <p:txBody>
          <a:bodyPr anchor="b"/>
          <a:lstStyle/>
          <a:p>
            <a:pPr lvl="0"/>
            <a:r>
              <a:rPr lang="en-US" noProof="0" dirty="0" smtClean="0"/>
              <a:t>Write your text</a:t>
            </a:r>
          </a:p>
        </p:txBody>
      </p:sp>
      <p:sp>
        <p:nvSpPr>
          <p:cNvPr id="5" name="Date Placeholder 4"/>
          <p:cNvSpPr>
            <a:spLocks noGrp="1"/>
          </p:cNvSpPr>
          <p:nvPr>
            <p:ph type="dt" sz="half" idx="15"/>
          </p:nvPr>
        </p:nvSpPr>
        <p:spPr bwMode="gray"/>
        <p:txBody>
          <a:bodyPr/>
          <a:lstStyle/>
          <a:p>
            <a:endParaRPr lang="en-US" noProof="0" dirty="0"/>
          </a:p>
        </p:txBody>
      </p:sp>
    </p:spTree>
    <p:extLst>
      <p:ext uri="{BB962C8B-B14F-4D97-AF65-F5344CB8AC3E}">
        <p14:creationId xmlns:p14="http://schemas.microsoft.com/office/powerpoint/2010/main" val="314519269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6" name="Picture Placeholder 6"/>
          <p:cNvSpPr>
            <a:spLocks noGrp="1"/>
          </p:cNvSpPr>
          <p:nvPr>
            <p:ph type="pic" sz="quarter" idx="13"/>
          </p:nvPr>
        </p:nvSpPr>
        <p:spPr bwMode="gray">
          <a:xfrm>
            <a:off x="395288" y="1052512"/>
            <a:ext cx="4105275"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9" name="Picture Placeholder 6"/>
          <p:cNvSpPr>
            <a:spLocks noGrp="1"/>
          </p:cNvSpPr>
          <p:nvPr>
            <p:ph type="pic" sz="quarter" idx="14"/>
          </p:nvPr>
        </p:nvSpPr>
        <p:spPr bwMode="gray">
          <a:xfrm>
            <a:off x="4642643" y="1052512"/>
            <a:ext cx="4105275"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3" name="Date Placeholder 2"/>
          <p:cNvSpPr>
            <a:spLocks noGrp="1"/>
          </p:cNvSpPr>
          <p:nvPr>
            <p:ph type="dt" sz="half" idx="15"/>
          </p:nvPr>
        </p:nvSpPr>
        <p:spPr bwMode="gray"/>
        <p:txBody>
          <a:bodyPr/>
          <a:lstStyle/>
          <a:p>
            <a:endParaRPr lang="en-US" noProof="0" dirty="0"/>
          </a:p>
        </p:txBody>
      </p:sp>
    </p:spTree>
    <p:extLst>
      <p:ext uri="{BB962C8B-B14F-4D97-AF65-F5344CB8AC3E}">
        <p14:creationId xmlns:p14="http://schemas.microsoft.com/office/powerpoint/2010/main" val="14379107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6" name="Picture Placeholder 6"/>
          <p:cNvSpPr>
            <a:spLocks noGrp="1"/>
          </p:cNvSpPr>
          <p:nvPr>
            <p:ph type="pic" sz="quarter" idx="13"/>
          </p:nvPr>
        </p:nvSpPr>
        <p:spPr bwMode="gray">
          <a:xfrm>
            <a:off x="395288" y="1052512"/>
            <a:ext cx="2663825"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9" name="Picture Placeholder 6"/>
          <p:cNvSpPr>
            <a:spLocks noGrp="1"/>
          </p:cNvSpPr>
          <p:nvPr>
            <p:ph type="pic" sz="quarter" idx="14"/>
          </p:nvPr>
        </p:nvSpPr>
        <p:spPr bwMode="gray">
          <a:xfrm>
            <a:off x="3240088" y="1052512"/>
            <a:ext cx="2663825"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10" name="Picture Placeholder 6"/>
          <p:cNvSpPr>
            <a:spLocks noGrp="1"/>
          </p:cNvSpPr>
          <p:nvPr>
            <p:ph type="pic" sz="quarter" idx="15"/>
          </p:nvPr>
        </p:nvSpPr>
        <p:spPr bwMode="gray">
          <a:xfrm>
            <a:off x="6084888" y="1052512"/>
            <a:ext cx="2663825"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3" name="Date Placeholder 2"/>
          <p:cNvSpPr>
            <a:spLocks noGrp="1"/>
          </p:cNvSpPr>
          <p:nvPr>
            <p:ph type="dt" sz="half" idx="16"/>
          </p:nvPr>
        </p:nvSpPr>
        <p:spPr bwMode="gray"/>
        <p:txBody>
          <a:bodyPr/>
          <a:lstStyle/>
          <a:p>
            <a:endParaRPr lang="en-US" noProof="0" dirty="0"/>
          </a:p>
        </p:txBody>
      </p:sp>
    </p:spTree>
    <p:extLst>
      <p:ext uri="{BB962C8B-B14F-4D97-AF65-F5344CB8AC3E}">
        <p14:creationId xmlns:p14="http://schemas.microsoft.com/office/powerpoint/2010/main" val="2633147848"/>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3" name="Date Placeholder 2"/>
          <p:cNvSpPr>
            <a:spLocks noGrp="1"/>
          </p:cNvSpPr>
          <p:nvPr>
            <p:ph type="dt" sz="half" idx="12"/>
          </p:nvPr>
        </p:nvSpPr>
        <p:spPr bwMode="gray"/>
        <p:txBody>
          <a:bodyPr/>
          <a:lstStyle/>
          <a:p>
            <a:endParaRPr lang="en-US" noProof="0" dirty="0"/>
          </a:p>
        </p:txBody>
      </p:sp>
    </p:spTree>
    <p:extLst>
      <p:ext uri="{BB962C8B-B14F-4D97-AF65-F5344CB8AC3E}">
        <p14:creationId xmlns:p14="http://schemas.microsoft.com/office/powerpoint/2010/main" val="72377394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4" name="TextBox 3"/>
          <p:cNvSpPr txBox="1"/>
          <p:nvPr userDrawn="1"/>
        </p:nvSpPr>
        <p:spPr bwMode="gray">
          <a:xfrm>
            <a:off x="401854" y="667295"/>
            <a:ext cx="3708412" cy="553998"/>
          </a:xfrm>
          <a:prstGeom prst="rect">
            <a:avLst/>
          </a:prstGeom>
          <a:noFill/>
        </p:spPr>
        <p:txBody>
          <a:bodyPr wrap="square" lIns="0" tIns="0" rIns="0" bIns="0" rtlCol="0">
            <a:noAutofit/>
          </a:bodyPr>
          <a:lstStyle/>
          <a:p>
            <a:r>
              <a:rPr lang="en-US" sz="3000" b="1" noProof="0" dirty="0" smtClean="0">
                <a:latin typeface="+mn-lt"/>
              </a:rPr>
              <a:t>Thank you.</a:t>
            </a:r>
            <a:endParaRPr lang="en-US" sz="3000" b="1" noProof="0" dirty="0">
              <a:latin typeface="+mn-lt"/>
            </a:endParaRPr>
          </a:p>
        </p:txBody>
      </p:sp>
      <p:sp>
        <p:nvSpPr>
          <p:cNvPr id="5" name="Date Placeholder 4"/>
          <p:cNvSpPr>
            <a:spLocks noGrp="1"/>
          </p:cNvSpPr>
          <p:nvPr>
            <p:ph type="dt" sz="half" idx="12"/>
          </p:nvPr>
        </p:nvSpPr>
        <p:spPr bwMode="gray"/>
        <p:txBody>
          <a:bodyPr/>
          <a:lstStyle/>
          <a:p>
            <a:endParaRPr lang="en-US" noProof="0"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523668"/>
            <a:ext cx="9144000" cy="4806017"/>
          </a:xfrm>
          <a:prstGeom prst="rect">
            <a:avLst/>
          </a:prstGeom>
        </p:spPr>
      </p:pic>
    </p:spTree>
    <p:extLst>
      <p:ext uri="{BB962C8B-B14F-4D97-AF65-F5344CB8AC3E}">
        <p14:creationId xmlns:p14="http://schemas.microsoft.com/office/powerpoint/2010/main" val="56443571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xplanatio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dirty="0" smtClean="0"/>
              <a:t>File Name</a:t>
            </a:r>
            <a:endParaRPr lang="en-US" dirty="0"/>
          </a:p>
        </p:txBody>
      </p:sp>
      <p:sp>
        <p:nvSpPr>
          <p:cNvPr id="4" name="Slide Number Placeholder 3"/>
          <p:cNvSpPr>
            <a:spLocks noGrp="1"/>
          </p:cNvSpPr>
          <p:nvPr>
            <p:ph type="sldNum" sz="quarter" idx="11"/>
          </p:nvPr>
        </p:nvSpPr>
        <p:spPr bwMode="gray"/>
        <p:txBody>
          <a:bodyPr/>
          <a:lstStyle/>
          <a:p>
            <a:r>
              <a:rPr lang="en-US" dirty="0" smtClean="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7" name="TextBox 6"/>
          <p:cNvSpPr txBox="1"/>
          <p:nvPr userDrawn="1"/>
        </p:nvSpPr>
        <p:spPr bwMode="gray">
          <a:xfrm>
            <a:off x="395288" y="142877"/>
            <a:ext cx="6552976" cy="838695"/>
          </a:xfrm>
          <a:prstGeom prst="rect">
            <a:avLst/>
          </a:prstGeom>
          <a:noFill/>
        </p:spPr>
        <p:txBody>
          <a:bodyPr wrap="square" lIns="0" tIns="0" rIns="0" bIns="0" rtlCol="0">
            <a:noAutofit/>
          </a:bodyPr>
          <a:lstStyle/>
          <a:p>
            <a:r>
              <a:rPr lang="en-US" sz="2400" b="1" dirty="0" smtClean="0"/>
              <a:t>Explanation Slide-</a:t>
            </a:r>
            <a:br>
              <a:rPr lang="en-US" sz="2400" b="1" dirty="0" smtClean="0"/>
            </a:br>
            <a:r>
              <a:rPr lang="en-US" sz="2400" b="1" dirty="0" smtClean="0"/>
              <a:t>- Please read the following explanations</a:t>
            </a:r>
            <a:endParaRPr lang="en-US" sz="2400" b="1" dirty="0"/>
          </a:p>
        </p:txBody>
      </p:sp>
      <p:sp>
        <p:nvSpPr>
          <p:cNvPr id="2" name="TextBox 1"/>
          <p:cNvSpPr txBox="1"/>
          <p:nvPr userDrawn="1"/>
        </p:nvSpPr>
        <p:spPr bwMode="gray">
          <a:xfrm>
            <a:off x="395288" y="3752850"/>
            <a:ext cx="2663825" cy="2555875"/>
          </a:xfrm>
          <a:prstGeom prst="rect">
            <a:avLst/>
          </a:prstGeom>
          <a:noFill/>
        </p:spPr>
        <p:txBody>
          <a:bodyPr wrap="square" lIns="0" tIns="0" rIns="0" bIns="0" rtlCol="0">
            <a:noAutofit/>
          </a:bodyPr>
          <a:lstStyle/>
          <a:p>
            <a:pPr algn="l">
              <a:lnSpc>
                <a:spcPct val="90000"/>
              </a:lnSpc>
            </a:pPr>
            <a:r>
              <a:rPr lang="en-US" sz="1400" b="1" noProof="1" smtClean="0">
                <a:solidFill>
                  <a:schemeClr val="tx1"/>
                </a:solidFill>
              </a:rPr>
              <a:t>Drawing guides:</a:t>
            </a:r>
          </a:p>
          <a:p>
            <a:pPr algn="l">
              <a:lnSpc>
                <a:spcPct val="90000"/>
              </a:lnSpc>
            </a:pPr>
            <a:r>
              <a:rPr lang="en-US" sz="1400" noProof="1" smtClean="0">
                <a:solidFill>
                  <a:schemeClr val="tx1"/>
                </a:solidFill>
              </a:rPr>
              <a:t>You</a:t>
            </a:r>
            <a:r>
              <a:rPr lang="en-US" sz="1400" baseline="0" noProof="1" smtClean="0">
                <a:solidFill>
                  <a:schemeClr val="tx1"/>
                </a:solidFill>
              </a:rPr>
              <a:t> can enable your guide-lines to align objects on </a:t>
            </a:r>
            <a:br>
              <a:rPr lang="en-US" sz="1400" baseline="0" noProof="1" smtClean="0">
                <a:solidFill>
                  <a:schemeClr val="tx1"/>
                </a:solidFill>
              </a:rPr>
            </a:br>
            <a:r>
              <a:rPr lang="en-US" sz="1400" baseline="0" noProof="1" smtClean="0">
                <a:solidFill>
                  <a:schemeClr val="tx1"/>
                </a:solidFill>
              </a:rPr>
              <a:t>the slide </a:t>
            </a:r>
            <a:r>
              <a:rPr lang="en-US" sz="1400" noProof="1" smtClean="0">
                <a:solidFill>
                  <a:schemeClr val="tx1"/>
                </a:solidFill>
              </a:rPr>
              <a:t>(</a:t>
            </a:r>
            <a:r>
              <a:rPr lang="en-US" sz="1400" b="1" i="1" noProof="1" smtClean="0">
                <a:solidFill>
                  <a:schemeClr val="tx1"/>
                </a:solidFill>
              </a:rPr>
              <a:t>View</a:t>
            </a:r>
            <a:r>
              <a:rPr lang="en-US" sz="1400" noProof="1" smtClean="0">
                <a:solidFill>
                  <a:schemeClr val="tx1"/>
                </a:solidFill>
              </a:rPr>
              <a:t> </a:t>
            </a:r>
            <a:r>
              <a:rPr lang="en-US" sz="1400" baseline="0" noProof="1" smtClean="0">
                <a:solidFill>
                  <a:schemeClr val="tx1"/>
                </a:solidFill>
              </a:rPr>
              <a:t>| </a:t>
            </a:r>
            <a:r>
              <a:rPr lang="en-US" sz="1400" b="1" i="1" baseline="0" noProof="1" smtClean="0">
                <a:solidFill>
                  <a:schemeClr val="tx1"/>
                </a:solidFill>
              </a:rPr>
              <a:t>Show</a:t>
            </a:r>
            <a:r>
              <a:rPr lang="en-US" sz="1400" baseline="0" noProof="1" smtClean="0">
                <a:solidFill>
                  <a:schemeClr val="tx1"/>
                </a:solidFill>
              </a:rPr>
              <a:t> | </a:t>
            </a:r>
            <a:r>
              <a:rPr lang="en-US" sz="1400" b="1" i="1" baseline="0" noProof="1" smtClean="0">
                <a:solidFill>
                  <a:schemeClr val="tx1"/>
                </a:solidFill>
              </a:rPr>
              <a:t>Select</a:t>
            </a:r>
            <a:r>
              <a:rPr lang="en-US" sz="1400" b="1" baseline="0" noProof="1" smtClean="0">
                <a:solidFill>
                  <a:schemeClr val="tx1"/>
                </a:solidFill>
              </a:rPr>
              <a:t> </a:t>
            </a:r>
            <a:r>
              <a:rPr lang="en-US" sz="1400" b="0" baseline="0" noProof="1" smtClean="0">
                <a:solidFill>
                  <a:schemeClr val="tx1"/>
                </a:solidFill>
              </a:rPr>
              <a:t>the option „</a:t>
            </a:r>
            <a:r>
              <a:rPr lang="en-US" sz="1400" b="1" i="1" baseline="0" noProof="1" smtClean="0">
                <a:solidFill>
                  <a:schemeClr val="tx1"/>
                </a:solidFill>
              </a:rPr>
              <a:t>Guides</a:t>
            </a:r>
            <a:r>
              <a:rPr lang="en-US" sz="1400" b="0" baseline="0" noProof="1" smtClean="0">
                <a:solidFill>
                  <a:schemeClr val="tx1"/>
                </a:solidFill>
              </a:rPr>
              <a:t>“)</a:t>
            </a:r>
          </a:p>
          <a:p>
            <a:pPr algn="l">
              <a:lnSpc>
                <a:spcPct val="90000"/>
              </a:lnSpc>
            </a:pPr>
            <a:endParaRPr lang="en-US" sz="1400" b="0" baseline="0" noProof="1" smtClean="0">
              <a:solidFill>
                <a:schemeClr val="tx1"/>
              </a:solidFill>
            </a:endParaRPr>
          </a:p>
          <a:p>
            <a:pPr algn="l">
              <a:lnSpc>
                <a:spcPct val="90000"/>
              </a:lnSpc>
            </a:pPr>
            <a:r>
              <a:rPr lang="en-US" sz="1400" b="0" baseline="0" noProof="1" smtClean="0">
                <a:solidFill>
                  <a:schemeClr val="tx1"/>
                </a:solidFill>
              </a:rPr>
              <a:t>Or hit the right mouse button outside the slide and go at </a:t>
            </a:r>
            <a:r>
              <a:rPr lang="en-US" sz="1400" b="1" i="1" baseline="0" noProof="1" smtClean="0">
                <a:solidFill>
                  <a:schemeClr val="tx1"/>
                </a:solidFill>
              </a:rPr>
              <a:t>„Grid and Guides…“</a:t>
            </a:r>
          </a:p>
          <a:p>
            <a:pPr algn="l">
              <a:lnSpc>
                <a:spcPct val="90000"/>
              </a:lnSpc>
            </a:pPr>
            <a:endParaRPr lang="en-US" sz="1400" b="1" i="1" baseline="0" noProof="1" smtClean="0">
              <a:solidFill>
                <a:schemeClr val="tx1"/>
              </a:solidFill>
            </a:endParaRPr>
          </a:p>
          <a:p>
            <a:pPr algn="l">
              <a:lnSpc>
                <a:spcPct val="90000"/>
              </a:lnSpc>
            </a:pPr>
            <a:endParaRPr lang="en-US" sz="1400" b="1" i="1" noProof="1" smtClean="0">
              <a:solidFill>
                <a:schemeClr val="tx1"/>
              </a:solidFill>
            </a:endParaRPr>
          </a:p>
          <a:p>
            <a:endParaRPr lang="en-US" sz="1400" dirty="0"/>
          </a:p>
        </p:txBody>
      </p:sp>
      <p:sp>
        <p:nvSpPr>
          <p:cNvPr id="8" name="TextBox 7"/>
          <p:cNvSpPr txBox="1"/>
          <p:nvPr userDrawn="1"/>
        </p:nvSpPr>
        <p:spPr bwMode="gray">
          <a:xfrm>
            <a:off x="3240088" y="3752850"/>
            <a:ext cx="2663825" cy="2555875"/>
          </a:xfrm>
          <a:prstGeom prst="rect">
            <a:avLst/>
          </a:prstGeom>
          <a:noFill/>
        </p:spPr>
        <p:txBody>
          <a:bodyPr wrap="square" lIns="0" tIns="0" rIns="0" bIns="0" rtlCol="0">
            <a:noAutofit/>
          </a:bodyPr>
          <a:lstStyle/>
          <a:p>
            <a:pPr algn="l">
              <a:lnSpc>
                <a:spcPct val="90000"/>
              </a:lnSpc>
            </a:pPr>
            <a:r>
              <a:rPr lang="en-US" sz="1400" b="1" noProof="1" smtClean="0">
                <a:solidFill>
                  <a:schemeClr val="tx1"/>
                </a:solidFill>
              </a:rPr>
              <a:t>Slide layouts:</a:t>
            </a:r>
          </a:p>
          <a:p>
            <a:pPr algn="l">
              <a:lnSpc>
                <a:spcPct val="90000"/>
              </a:lnSpc>
            </a:pPr>
            <a:r>
              <a:rPr lang="en-US" sz="1400" noProof="1" smtClean="0">
                <a:solidFill>
                  <a:schemeClr val="tx1"/>
                </a:solidFill>
              </a:rPr>
              <a:t>You can </a:t>
            </a:r>
            <a:r>
              <a:rPr lang="en-US" sz="1400" baseline="0" noProof="1" smtClean="0">
                <a:solidFill>
                  <a:schemeClr val="tx1"/>
                </a:solidFill>
              </a:rPr>
              <a:t>choose between different slide-layouts. </a:t>
            </a:r>
            <a:br>
              <a:rPr lang="en-US" sz="1400" baseline="0" noProof="1" smtClean="0">
                <a:solidFill>
                  <a:schemeClr val="tx1"/>
                </a:solidFill>
              </a:rPr>
            </a:br>
            <a:r>
              <a:rPr lang="en-US" sz="1400" baseline="0" noProof="1" smtClean="0">
                <a:solidFill>
                  <a:schemeClr val="tx1"/>
                </a:solidFill>
              </a:rPr>
              <a:t>These pre-defined layouts give you the opportunity to use text and visualisations just the right way.</a:t>
            </a:r>
          </a:p>
          <a:p>
            <a:pPr algn="l">
              <a:lnSpc>
                <a:spcPct val="90000"/>
              </a:lnSpc>
            </a:pPr>
            <a:endParaRPr lang="en-US" sz="1400" baseline="0" noProof="1" smtClean="0">
              <a:solidFill>
                <a:schemeClr val="tx1"/>
              </a:solidFill>
            </a:endParaRPr>
          </a:p>
          <a:p>
            <a:pPr algn="l">
              <a:lnSpc>
                <a:spcPct val="90000"/>
              </a:lnSpc>
            </a:pPr>
            <a:r>
              <a:rPr lang="en-US" sz="1400" b="1" baseline="0" noProof="1" smtClean="0">
                <a:solidFill>
                  <a:schemeClr val="tx1"/>
                </a:solidFill>
              </a:rPr>
              <a:t>To use these layouts:</a:t>
            </a:r>
          </a:p>
          <a:p>
            <a:pPr algn="l">
              <a:lnSpc>
                <a:spcPct val="90000"/>
              </a:lnSpc>
            </a:pPr>
            <a:r>
              <a:rPr lang="en-US" sz="1400" baseline="0" noProof="1" smtClean="0">
                <a:solidFill>
                  <a:schemeClr val="tx1"/>
                </a:solidFill>
              </a:rPr>
              <a:t>Click on the </a:t>
            </a:r>
            <a:r>
              <a:rPr lang="en-US" sz="1400" b="1" i="1" baseline="0" noProof="1" smtClean="0">
                <a:solidFill>
                  <a:schemeClr val="tx1"/>
                </a:solidFill>
              </a:rPr>
              <a:t>Home-tab </a:t>
            </a:r>
            <a:r>
              <a:rPr lang="en-US" sz="1400" baseline="0" noProof="1" smtClean="0">
                <a:solidFill>
                  <a:schemeClr val="tx1"/>
                </a:solidFill>
              </a:rPr>
              <a:t>| </a:t>
            </a:r>
            <a:r>
              <a:rPr lang="en-US" sz="1400" b="1" baseline="0" noProof="1" smtClean="0">
                <a:solidFill>
                  <a:schemeClr val="tx1"/>
                </a:solidFill>
              </a:rPr>
              <a:t>New Slide or Layout </a:t>
            </a:r>
            <a:r>
              <a:rPr lang="en-US" sz="1400" baseline="0" noProof="1" smtClean="0">
                <a:solidFill>
                  <a:schemeClr val="tx1"/>
                </a:solidFill>
              </a:rPr>
              <a:t>| and choose one out of the layouts</a:t>
            </a:r>
            <a:endParaRPr lang="en-US" sz="1400" noProof="1" smtClean="0">
              <a:solidFill>
                <a:schemeClr val="tx1"/>
              </a:solidFill>
            </a:endParaRPr>
          </a:p>
        </p:txBody>
      </p:sp>
      <p:sp>
        <p:nvSpPr>
          <p:cNvPr id="9" name="TextBox 8"/>
          <p:cNvSpPr txBox="1"/>
          <p:nvPr userDrawn="1"/>
        </p:nvSpPr>
        <p:spPr bwMode="gray">
          <a:xfrm>
            <a:off x="6099023" y="3752850"/>
            <a:ext cx="2663825" cy="2555875"/>
          </a:xfrm>
          <a:prstGeom prst="rect">
            <a:avLst/>
          </a:prstGeom>
          <a:noFill/>
        </p:spPr>
        <p:txBody>
          <a:bodyPr wrap="square" lIns="0" tIns="0" rIns="0" bIns="0" rtlCol="0">
            <a:noAutofit/>
          </a:bodyPr>
          <a:lstStyle/>
          <a:p>
            <a:pPr algn="l">
              <a:lnSpc>
                <a:spcPct val="90000"/>
              </a:lnSpc>
            </a:pPr>
            <a:r>
              <a:rPr lang="en-US" sz="1400" b="1" noProof="1" smtClean="0">
                <a:solidFill>
                  <a:schemeClr val="tx1"/>
                </a:solidFill>
              </a:rPr>
              <a:t>Footer:</a:t>
            </a:r>
          </a:p>
          <a:p>
            <a:pPr algn="l">
              <a:lnSpc>
                <a:spcPct val="90000"/>
              </a:lnSpc>
            </a:pPr>
            <a:r>
              <a:rPr lang="en-US" sz="1400" noProof="1" smtClean="0">
                <a:solidFill>
                  <a:schemeClr val="tx1"/>
                </a:solidFill>
              </a:rPr>
              <a:t>You can insert or change your</a:t>
            </a:r>
            <a:r>
              <a:rPr lang="en-US" sz="1400" baseline="0" noProof="1" smtClean="0">
                <a:solidFill>
                  <a:schemeClr val="tx1"/>
                </a:solidFill>
              </a:rPr>
              <a:t> presentation‘s </a:t>
            </a:r>
            <a:r>
              <a:rPr lang="en-US" sz="1400" noProof="1" smtClean="0">
                <a:solidFill>
                  <a:schemeClr val="tx1"/>
                </a:solidFill>
              </a:rPr>
              <a:t>footer.</a:t>
            </a:r>
            <a:r>
              <a:rPr lang="en-US" sz="1400" baseline="0" noProof="1" smtClean="0">
                <a:solidFill>
                  <a:schemeClr val="tx1"/>
                </a:solidFill>
              </a:rPr>
              <a:t> </a:t>
            </a:r>
            <a:br>
              <a:rPr lang="en-US" sz="1400" baseline="0" noProof="1" smtClean="0">
                <a:solidFill>
                  <a:schemeClr val="tx1"/>
                </a:solidFill>
              </a:rPr>
            </a:br>
            <a:r>
              <a:rPr lang="en-US" sz="1400" baseline="0" noProof="1" smtClean="0">
                <a:solidFill>
                  <a:schemeClr val="tx1"/>
                </a:solidFill>
              </a:rPr>
              <a:t>Click on the </a:t>
            </a:r>
            <a:r>
              <a:rPr lang="en-US" sz="1400" b="1" i="1" noProof="1" smtClean="0">
                <a:solidFill>
                  <a:schemeClr val="tx1"/>
                </a:solidFill>
              </a:rPr>
              <a:t>Insert-tab</a:t>
            </a:r>
            <a:r>
              <a:rPr lang="en-US" sz="1400" noProof="1" smtClean="0">
                <a:solidFill>
                  <a:schemeClr val="tx1"/>
                </a:solidFill>
              </a:rPr>
              <a:t> |</a:t>
            </a:r>
            <a:r>
              <a:rPr lang="en-US" sz="1400" baseline="0" noProof="1" smtClean="0">
                <a:solidFill>
                  <a:schemeClr val="tx1"/>
                </a:solidFill>
              </a:rPr>
              <a:t> Header and Footer | </a:t>
            </a:r>
            <a:endParaRPr lang="en-US" sz="1400" noProof="1" smtClean="0">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gray">
          <a:xfrm>
            <a:off x="401638" y="1051604"/>
            <a:ext cx="2657475" cy="2552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gray">
          <a:xfrm>
            <a:off x="6082521" y="1051604"/>
            <a:ext cx="2666191" cy="2016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236082" y="1051604"/>
            <a:ext cx="2349110" cy="2552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7265337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Oerlikon-Dec201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a:latin typeface="+mj-lt"/>
              </a:defRPr>
            </a:lvl1pPr>
          </a:lstStyle>
          <a:p>
            <a:r>
              <a:rPr lang="de-DE" noProof="0" smtClean="0"/>
              <a:t>Titelmasterformat durch Klicken bearbeiten</a:t>
            </a:r>
            <a:endParaRPr lang="en-US" noProof="0"/>
          </a:p>
        </p:txBody>
      </p:sp>
      <p:sp>
        <p:nvSpPr>
          <p:cNvPr id="3" name="Inhaltsplatzhalter 2"/>
          <p:cNvSpPr>
            <a:spLocks noGrp="1"/>
          </p:cNvSpPr>
          <p:nvPr>
            <p:ph idx="1"/>
          </p:nvPr>
        </p:nvSpPr>
        <p:spPr>
          <a:xfrm>
            <a:off x="396000" y="990000"/>
            <a:ext cx="8366400" cy="1384995"/>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de-DE" dirty="0" smtClean="0"/>
            </a:lvl1pPr>
            <a:lvl2pPr>
              <a:defRPr lang="de-DE" dirty="0" smtClean="0"/>
            </a:lvl2pPr>
            <a:lvl3pPr>
              <a:defRPr lang="de-DE" dirty="0" smtClean="0"/>
            </a:lvl3pPr>
            <a:lvl4pPr>
              <a:defRPr lang="de-DE" dirty="0" smtClean="0"/>
            </a:lvl4pPr>
            <a:lvl5pPr>
              <a:defRPr lang="en-US" dirty="0"/>
            </a:lvl5pPr>
          </a:lstStyle>
          <a:p>
            <a:pPr lvl="0" fontAlgn="base">
              <a:spcBef>
                <a:spcPct val="0"/>
              </a:spcBef>
              <a:spcAft>
                <a:spcPct val="0"/>
              </a:spcAft>
              <a:buClr>
                <a:schemeClr val="bg2"/>
              </a:buClr>
              <a:buFont typeface="Wingdings" pitchFamily="2" charset="2"/>
            </a:pPr>
            <a:r>
              <a:rPr lang="de-DE" smtClean="0"/>
              <a:t>Textmasterformat bearbeiten</a:t>
            </a:r>
          </a:p>
          <a:p>
            <a:pPr lvl="1" fontAlgn="base">
              <a:spcBef>
                <a:spcPct val="0"/>
              </a:spcBef>
              <a:spcAft>
                <a:spcPct val="0"/>
              </a:spcAft>
              <a:buClr>
                <a:schemeClr val="bg2"/>
              </a:buClr>
              <a:buFont typeface="Wingdings" pitchFamily="2" charset="2"/>
            </a:pPr>
            <a:r>
              <a:rPr lang="de-DE" smtClean="0"/>
              <a:t>Zweite Ebene</a:t>
            </a:r>
          </a:p>
          <a:p>
            <a:pPr lvl="2" fontAlgn="base">
              <a:spcBef>
                <a:spcPct val="0"/>
              </a:spcBef>
              <a:spcAft>
                <a:spcPct val="0"/>
              </a:spcAft>
              <a:buClr>
                <a:schemeClr val="bg2"/>
              </a:buClr>
              <a:buFont typeface="Wingdings" pitchFamily="2" charset="2"/>
            </a:pPr>
            <a:r>
              <a:rPr lang="de-DE" smtClean="0"/>
              <a:t>Dritte Ebene</a:t>
            </a:r>
          </a:p>
          <a:p>
            <a:pPr lvl="3" fontAlgn="base">
              <a:spcBef>
                <a:spcPct val="0"/>
              </a:spcBef>
              <a:spcAft>
                <a:spcPct val="0"/>
              </a:spcAft>
              <a:buClr>
                <a:schemeClr val="bg2"/>
              </a:buClr>
              <a:buFont typeface="Wingdings" pitchFamily="2" charset="2"/>
            </a:pPr>
            <a:r>
              <a:rPr lang="de-DE" smtClean="0"/>
              <a:t>Vierte Ebene</a:t>
            </a:r>
          </a:p>
          <a:p>
            <a:pPr lvl="4" fontAlgn="base">
              <a:spcBef>
                <a:spcPct val="0"/>
              </a:spcBef>
              <a:spcAft>
                <a:spcPct val="0"/>
              </a:spcAft>
              <a:buClr>
                <a:schemeClr val="bg2"/>
              </a:buClr>
              <a:buFont typeface="Wingdings" pitchFamily="2" charset="2"/>
            </a:pPr>
            <a:r>
              <a:rPr lang="de-DE" smtClean="0"/>
              <a:t>Fünfte Ebene</a:t>
            </a:r>
            <a:endParaRPr lang="en-US" dirty="0"/>
          </a:p>
        </p:txBody>
      </p:sp>
      <p:sp>
        <p:nvSpPr>
          <p:cNvPr id="5" name="Fußzeilenplatzhalter 4"/>
          <p:cNvSpPr>
            <a:spLocks noGrp="1"/>
          </p:cNvSpPr>
          <p:nvPr>
            <p:ph type="ftr" sz="quarter" idx="11"/>
          </p:nvPr>
        </p:nvSpPr>
        <p:spPr>
          <a:xfrm>
            <a:off x="1065600" y="6544800"/>
            <a:ext cx="5796000" cy="230832"/>
          </a:xfrm>
          <a:prstGeom prst="rect">
            <a:avLst/>
          </a:prstGeom>
        </p:spPr>
        <p:txBody>
          <a:bodyPr vert="horz" wrap="square" lIns="0" tIns="45720" rIns="0" bIns="45720" rtlCol="0" anchor="ctr">
            <a:spAutoFit/>
          </a:bodyPr>
          <a:lstStyle>
            <a:lvl1pPr>
              <a:defRPr lang="en-US" sz="900" dirty="0">
                <a:latin typeface="+mn-lt"/>
              </a:defRPr>
            </a:lvl1pPr>
          </a:lstStyle>
          <a:p>
            <a:pPr defTabSz="957263" fontAlgn="base">
              <a:spcBef>
                <a:spcPct val="0"/>
              </a:spcBef>
              <a:spcAft>
                <a:spcPct val="0"/>
              </a:spcAft>
            </a:pPr>
            <a:r>
              <a:rPr lang="de-AT" smtClean="0">
                <a:solidFill>
                  <a:srgbClr val="000000"/>
                </a:solidFill>
              </a:rPr>
              <a:t>PRECISION AT WORK</a:t>
            </a:r>
            <a:endParaRPr lang="de-AT">
              <a:solidFill>
                <a:srgbClr val="000000"/>
              </a:solidFill>
            </a:endParaRPr>
          </a:p>
        </p:txBody>
      </p:sp>
      <p:sp>
        <p:nvSpPr>
          <p:cNvPr id="6" name="Foliennummernplatzhalter 5"/>
          <p:cNvSpPr>
            <a:spLocks noGrp="1"/>
          </p:cNvSpPr>
          <p:nvPr>
            <p:ph type="sldNum" sz="quarter" idx="12"/>
          </p:nvPr>
        </p:nvSpPr>
        <p:spPr>
          <a:xfrm>
            <a:off x="396000" y="6544800"/>
            <a:ext cx="576000" cy="230832"/>
          </a:xfrm>
          <a:prstGeom prst="rect">
            <a:avLst/>
          </a:prstGeom>
        </p:spPr>
        <p:txBody>
          <a:bodyPr vert="horz" wrap="square" lIns="0" tIns="45720" rIns="0" bIns="45720" rtlCol="0" anchor="ctr">
            <a:spAutoFit/>
          </a:bodyPr>
          <a:lstStyle>
            <a:lvl1pPr>
              <a:defRPr lang="en-US" sz="900" smtClean="0">
                <a:latin typeface="+mn-lt"/>
              </a:defRPr>
            </a:lvl1pPr>
          </a:lstStyle>
          <a:p>
            <a:pPr fontAlgn="base">
              <a:spcBef>
                <a:spcPct val="0"/>
              </a:spcBef>
              <a:spcAft>
                <a:spcPct val="0"/>
              </a:spcAft>
            </a:pPr>
            <a:r>
              <a:rPr>
                <a:solidFill>
                  <a:srgbClr val="000000"/>
                </a:solidFill>
              </a:rPr>
              <a:t>Page </a:t>
            </a:r>
            <a:fld id="{4F5999B1-0A11-48CC-9885-42BBD6108783}" type="slidenum">
              <a:rPr>
                <a:solidFill>
                  <a:srgbClr val="000000"/>
                </a:solidFill>
              </a:rPr>
              <a:pPr fontAlgn="base">
                <a:spcBef>
                  <a:spcPct val="0"/>
                </a:spcBef>
                <a:spcAft>
                  <a:spcPct val="0"/>
                </a:spcAft>
              </a:pPr>
              <a:t>‹#›</a:t>
            </a:fld>
            <a:endParaRPr>
              <a:solidFill>
                <a:srgbClr val="000000"/>
              </a:solidFill>
            </a:endParaRPr>
          </a:p>
        </p:txBody>
      </p:sp>
      <p:sp>
        <p:nvSpPr>
          <p:cNvPr id="7" name="Textplatzhalter 15"/>
          <p:cNvSpPr>
            <a:spLocks noGrp="1"/>
          </p:cNvSpPr>
          <p:nvPr>
            <p:ph type="body" sz="quarter" idx="14" hasCustomPrompt="1"/>
            <p:custDataLst>
              <p:tags r:id="rId1"/>
            </p:custDataLst>
          </p:nvPr>
        </p:nvSpPr>
        <p:spPr>
          <a:xfrm>
            <a:off x="395287" y="517207"/>
            <a:ext cx="8351837" cy="369332"/>
          </a:xfrm>
        </p:spPr>
        <p:txBody>
          <a:bodyPr/>
          <a:lstStyle>
            <a:lvl1pPr>
              <a:defRPr sz="2400" b="0" baseline="0">
                <a:latin typeface="+mj-lt"/>
              </a:defRPr>
            </a:lvl1pPr>
            <a:lvl2pPr>
              <a:defRPr sz="2400"/>
            </a:lvl2pPr>
            <a:lvl3pPr>
              <a:defRPr sz="2400"/>
            </a:lvl3pPr>
            <a:lvl4pPr>
              <a:defRPr sz="2400"/>
            </a:lvl4pPr>
            <a:lvl5pPr>
              <a:defRPr sz="2400"/>
            </a:lvl5pPr>
          </a:lstStyle>
          <a:p>
            <a:pPr lvl="0"/>
            <a:r>
              <a:rPr lang="en-US" noProof="0" dirty="0" smtClean="0"/>
              <a:t>Subtitle</a:t>
            </a:r>
            <a:endParaRPr lang="en-US" noProof="0" dirty="0"/>
          </a:p>
        </p:txBody>
      </p:sp>
    </p:spTree>
    <p:extLst>
      <p:ext uri="{BB962C8B-B14F-4D97-AF65-F5344CB8AC3E}">
        <p14:creationId xmlns:p14="http://schemas.microsoft.com/office/powerpoint/2010/main" val="61244285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395288" y="441325"/>
            <a:ext cx="6481762" cy="1672481"/>
          </a:xfrm>
        </p:spPr>
        <p:txBody>
          <a:bodyPr tIns="234000"/>
          <a:lstStyle>
            <a:lvl1pPr>
              <a:defRPr sz="3000"/>
            </a:lvl1pPr>
          </a:lstStyle>
          <a:p>
            <a:r>
              <a:rPr lang="en-US" noProof="0" smtClean="0"/>
              <a:t>Click to edit Master title style</a:t>
            </a:r>
            <a:endParaRPr lang="en-US" noProof="0" dirty="0"/>
          </a:p>
        </p:txBody>
      </p:sp>
      <p:sp>
        <p:nvSpPr>
          <p:cNvPr id="3" name="Untertitel 2"/>
          <p:cNvSpPr>
            <a:spLocks noGrp="1"/>
          </p:cNvSpPr>
          <p:nvPr>
            <p:ph type="subTitle" idx="1"/>
          </p:nvPr>
        </p:nvSpPr>
        <p:spPr bwMode="gray">
          <a:xfrm>
            <a:off x="395288" y="2113806"/>
            <a:ext cx="6481762" cy="1494582"/>
          </a:xfrm>
        </p:spPr>
        <p:txBody>
          <a:bodyPr/>
          <a:lstStyle>
            <a:lvl1pPr marL="0" indent="0" algn="l">
              <a:lnSpc>
                <a:spcPct val="120000"/>
              </a:lnSpc>
              <a:spcBef>
                <a:spcPts val="0"/>
              </a:spcBef>
              <a:spcAft>
                <a:spcPts val="0"/>
              </a:spcAft>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dirty="0"/>
          </a:p>
        </p:txBody>
      </p:sp>
      <p:sp>
        <p:nvSpPr>
          <p:cNvPr id="7" name="Picture Placeholder 6"/>
          <p:cNvSpPr>
            <a:spLocks noGrp="1"/>
          </p:cNvSpPr>
          <p:nvPr>
            <p:ph type="pic" sz="quarter" idx="10"/>
          </p:nvPr>
        </p:nvSpPr>
        <p:spPr bwMode="gray">
          <a:xfrm>
            <a:off x="0" y="5121275"/>
            <a:ext cx="9144000" cy="1736725"/>
          </a:xfrm>
          <a:solidFill>
            <a:schemeClr val="tx2"/>
          </a:solidFill>
        </p:spPr>
        <p:txBody>
          <a:bodyPr anchor="ctr"/>
          <a:lstStyle>
            <a:lvl1pPr algn="ctr">
              <a:defRPr i="1"/>
            </a:lvl1pPr>
          </a:lstStyle>
          <a:p>
            <a:r>
              <a:rPr lang="en-US" noProof="0" dirty="0" smtClean="0"/>
              <a:t>Click icon to add picture</a:t>
            </a:r>
            <a:endParaRPr lang="en-US" noProof="0" dirty="0"/>
          </a:p>
        </p:txBody>
      </p:sp>
    </p:spTree>
    <p:extLst>
      <p:ext uri="{BB962C8B-B14F-4D97-AF65-F5344CB8AC3E}">
        <p14:creationId xmlns:p14="http://schemas.microsoft.com/office/powerpoint/2010/main" val="244125269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V">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CH"/>
          </a:p>
        </p:txBody>
      </p:sp>
      <p:sp>
        <p:nvSpPr>
          <p:cNvPr id="4" name="Datumsplatzhalter 2"/>
          <p:cNvSpPr txBox="1">
            <a:spLocks/>
          </p:cNvSpPr>
          <p:nvPr userDrawn="1"/>
        </p:nvSpPr>
        <p:spPr>
          <a:xfrm>
            <a:off x="410540" y="6508671"/>
            <a:ext cx="2880320" cy="360362"/>
          </a:xfrm>
          <a:prstGeom prst="rect">
            <a:avLst/>
          </a:prstGeom>
          <a:ln/>
        </p:spPr>
        <p:txBody>
          <a:bodyPr/>
          <a:lstStyle>
            <a:defPPr>
              <a:defRPr lang="de-DE"/>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900" dirty="0" smtClean="0"/>
              <a:t>Page </a:t>
            </a:r>
            <a:fld id="{706F16F0-BB46-43B0-8112-9EABC2B8D1BC}" type="slidenum">
              <a:rPr lang="de-DE" sz="900" smtClean="0"/>
              <a:pPr/>
              <a:t>‹#›</a:t>
            </a:fld>
            <a:r>
              <a:rPr lang="de-DE" sz="900" dirty="0" smtClean="0"/>
              <a:t> 	Technical Seminar:</a:t>
            </a:r>
            <a:r>
              <a:rPr lang="de-DE" sz="900" baseline="0" dirty="0" smtClean="0"/>
              <a:t> </a:t>
            </a:r>
            <a:r>
              <a:rPr lang="de-DE" sz="900" baseline="0" dirty="0" err="1" smtClean="0"/>
              <a:t>Gear</a:t>
            </a:r>
            <a:r>
              <a:rPr lang="de-DE" sz="900" baseline="0" dirty="0" smtClean="0"/>
              <a:t> </a:t>
            </a:r>
            <a:r>
              <a:rPr lang="de-DE" sz="900" baseline="0" dirty="0" err="1" smtClean="0"/>
              <a:t>Cutting</a:t>
            </a:r>
            <a:r>
              <a:rPr lang="de-DE" sz="900" dirty="0" smtClean="0"/>
              <a:t> 	</a:t>
            </a:r>
            <a:r>
              <a:rPr lang="de-CH" sz="900" dirty="0" err="1" smtClean="0"/>
              <a:t>October</a:t>
            </a:r>
            <a:r>
              <a:rPr lang="de-CH" sz="900" dirty="0" smtClean="0"/>
              <a:t> 2015</a:t>
            </a:r>
            <a:endParaRPr lang="en-GB" sz="900" dirty="0" smtClean="0"/>
          </a:p>
        </p:txBody>
      </p:sp>
      <p:sp>
        <p:nvSpPr>
          <p:cNvPr id="5" name="Textfeld 4"/>
          <p:cNvSpPr txBox="1"/>
          <p:nvPr userDrawn="1"/>
        </p:nvSpPr>
        <p:spPr>
          <a:xfrm>
            <a:off x="4829895" y="6508671"/>
            <a:ext cx="4206601" cy="230832"/>
          </a:xfrm>
          <a:prstGeom prst="rect">
            <a:avLst/>
          </a:prstGeom>
          <a:noFill/>
        </p:spPr>
        <p:txBody>
          <a:bodyPr wrap="none" rtlCol="0">
            <a:spAutoFit/>
          </a:bodyPr>
          <a:lstStyle/>
          <a:p>
            <a:r>
              <a:rPr lang="de-CH" sz="900" dirty="0" smtClean="0"/>
              <a:t>© 2015</a:t>
            </a:r>
            <a:r>
              <a:rPr lang="de-CH" sz="900" baseline="0" dirty="0" smtClean="0"/>
              <a:t> Oerlikon Balzers Ltd. / All </a:t>
            </a:r>
            <a:r>
              <a:rPr lang="de-CH" sz="900" baseline="0" dirty="0" err="1" smtClean="0"/>
              <a:t>rights</a:t>
            </a:r>
            <a:r>
              <a:rPr lang="de-CH" sz="900" baseline="0" dirty="0" smtClean="0"/>
              <a:t> </a:t>
            </a:r>
            <a:r>
              <a:rPr lang="de-CH" sz="900" baseline="0" dirty="0" err="1" smtClean="0"/>
              <a:t>reserved</a:t>
            </a:r>
            <a:r>
              <a:rPr lang="de-CH" sz="900" baseline="0" dirty="0" smtClean="0"/>
              <a:t> / </a:t>
            </a:r>
            <a:r>
              <a:rPr lang="de-CH" sz="900" baseline="0" dirty="0" err="1" smtClean="0"/>
              <a:t>Proprietary</a:t>
            </a:r>
            <a:r>
              <a:rPr lang="de-CH" sz="900" baseline="0" dirty="0" smtClean="0"/>
              <a:t> </a:t>
            </a:r>
            <a:r>
              <a:rPr lang="de-CH" sz="900" baseline="0" dirty="0" err="1" smtClean="0"/>
              <a:t>and</a:t>
            </a:r>
            <a:r>
              <a:rPr lang="de-CH" sz="900" baseline="0" dirty="0" smtClean="0"/>
              <a:t> </a:t>
            </a:r>
            <a:r>
              <a:rPr lang="de-CH" sz="900" baseline="0" dirty="0" err="1" smtClean="0"/>
              <a:t>Confidential</a:t>
            </a:r>
            <a:endParaRPr lang="de-CH" sz="900" dirty="0"/>
          </a:p>
        </p:txBody>
      </p:sp>
    </p:spTree>
    <p:extLst>
      <p:ext uri="{BB962C8B-B14F-4D97-AF65-F5344CB8AC3E}">
        <p14:creationId xmlns:p14="http://schemas.microsoft.com/office/powerpoint/2010/main" val="4903932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395288" y="441325"/>
            <a:ext cx="6481762" cy="1672481"/>
          </a:xfrm>
        </p:spPr>
        <p:txBody>
          <a:bodyPr tIns="234000"/>
          <a:lstStyle>
            <a:lvl1pPr>
              <a:defRPr sz="3000"/>
            </a:lvl1pPr>
          </a:lstStyle>
          <a:p>
            <a:r>
              <a:rPr lang="en-US" altLang="zh-CN" noProof="0" smtClean="0"/>
              <a:t>Click to edit Master title style</a:t>
            </a:r>
            <a:endParaRPr lang="en-US" noProof="0" dirty="0"/>
          </a:p>
        </p:txBody>
      </p:sp>
      <p:sp>
        <p:nvSpPr>
          <p:cNvPr id="3" name="Untertitel 2"/>
          <p:cNvSpPr>
            <a:spLocks noGrp="1"/>
          </p:cNvSpPr>
          <p:nvPr>
            <p:ph type="subTitle" idx="1"/>
          </p:nvPr>
        </p:nvSpPr>
        <p:spPr bwMode="gray">
          <a:xfrm>
            <a:off x="395287" y="5121275"/>
            <a:ext cx="8353425" cy="1187449"/>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zh-CN" noProof="0" smtClean="0"/>
              <a:t>Click to edit Master subtitle style</a:t>
            </a:r>
            <a:endParaRPr lang="en-US" noProof="0" dirty="0"/>
          </a:p>
        </p:txBody>
      </p:sp>
    </p:spTree>
    <p:extLst>
      <p:ext uri="{BB962C8B-B14F-4D97-AF65-F5344CB8AC3E}">
        <p14:creationId xmlns:p14="http://schemas.microsoft.com/office/powerpoint/2010/main" val="4175479444"/>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de-DE" smtClean="0"/>
              <a:t>Titelmasterformat durch Klicken bearbeiten</a:t>
            </a:r>
            <a:endParaRPr lang="de-DE"/>
          </a:p>
        </p:txBody>
      </p:sp>
      <p:sp>
        <p:nvSpPr>
          <p:cNvPr id="10" name="Textplatzhalter 9"/>
          <p:cNvSpPr>
            <a:spLocks noGrp="1"/>
          </p:cNvSpPr>
          <p:nvPr>
            <p:ph type="body" sz="quarter" idx="12" hasCustomPrompt="1"/>
          </p:nvPr>
        </p:nvSpPr>
        <p:spPr bwMode="gray">
          <a:xfrm>
            <a:off x="395288" y="1052513"/>
            <a:ext cx="8350406" cy="5256212"/>
          </a:xfrm>
        </p:spPr>
        <p:txBody>
          <a:bodyPr/>
          <a:lstStyle/>
          <a:p>
            <a:pPr lvl="0"/>
            <a:r>
              <a:rPr lang="de-DE" dirty="0" smtClean="0"/>
              <a:t>Write </a:t>
            </a:r>
            <a:r>
              <a:rPr lang="de-DE" dirty="0" err="1" smtClean="0"/>
              <a:t>your</a:t>
            </a:r>
            <a:r>
              <a:rPr lang="de-DE" dirty="0" smtClean="0"/>
              <a:t> </a:t>
            </a:r>
            <a:r>
              <a:rPr lang="de-DE" dirty="0" err="1" smtClean="0"/>
              <a:t>text</a:t>
            </a:r>
            <a:endParaRPr lang="de-DE" dirty="0" smtClean="0"/>
          </a:p>
          <a:p>
            <a:pPr lvl="1"/>
            <a:r>
              <a:rPr lang="de-DE" dirty="0" smtClean="0"/>
              <a:t>2nd </a:t>
            </a:r>
            <a:r>
              <a:rPr lang="de-DE" dirty="0" err="1" smtClean="0"/>
              <a:t>text</a:t>
            </a:r>
            <a:r>
              <a:rPr lang="de-DE" dirty="0" smtClean="0"/>
              <a:t> </a:t>
            </a:r>
            <a:r>
              <a:rPr lang="de-DE" dirty="0" err="1" smtClean="0"/>
              <a:t>layer</a:t>
            </a:r>
            <a:endParaRPr lang="de-DE" dirty="0" smtClean="0"/>
          </a:p>
          <a:p>
            <a:pPr lvl="2"/>
            <a:r>
              <a:rPr lang="de-DE" dirty="0" smtClean="0"/>
              <a:t>3rd </a:t>
            </a:r>
            <a:r>
              <a:rPr lang="de-DE" dirty="0" err="1" smtClean="0"/>
              <a:t>text</a:t>
            </a:r>
            <a:r>
              <a:rPr lang="de-DE" dirty="0" smtClean="0"/>
              <a:t> </a:t>
            </a:r>
            <a:r>
              <a:rPr lang="de-DE" dirty="0" err="1" smtClean="0"/>
              <a:t>layer</a:t>
            </a:r>
            <a:endParaRPr lang="de-DE" dirty="0" smtClean="0"/>
          </a:p>
          <a:p>
            <a:pPr lvl="3"/>
            <a:r>
              <a:rPr lang="de-DE" dirty="0" smtClean="0"/>
              <a:t>4th </a:t>
            </a:r>
            <a:r>
              <a:rPr lang="de-DE" dirty="0" err="1" smtClean="0"/>
              <a:t>text</a:t>
            </a:r>
            <a:r>
              <a:rPr lang="de-DE" dirty="0" smtClean="0"/>
              <a:t> </a:t>
            </a:r>
            <a:r>
              <a:rPr lang="de-DE" dirty="0" err="1" smtClean="0"/>
              <a:t>layer</a:t>
            </a:r>
            <a:endParaRPr lang="de-DE" dirty="0" smtClean="0"/>
          </a:p>
          <a:p>
            <a:pPr lvl="4"/>
            <a:r>
              <a:rPr lang="de-DE" dirty="0" smtClean="0"/>
              <a:t>5th </a:t>
            </a:r>
            <a:r>
              <a:rPr lang="de-DE" dirty="0" err="1" smtClean="0"/>
              <a:t>text</a:t>
            </a:r>
            <a:r>
              <a:rPr lang="de-DE" dirty="0" smtClean="0"/>
              <a:t> </a:t>
            </a:r>
            <a:r>
              <a:rPr lang="de-DE" dirty="0" err="1" smtClean="0"/>
              <a:t>layer</a:t>
            </a:r>
            <a:endParaRPr lang="de-DE" dirty="0" smtClean="0"/>
          </a:p>
          <a:p>
            <a:pPr lvl="5"/>
            <a:r>
              <a:rPr lang="de-DE" dirty="0" smtClean="0"/>
              <a:t>6th </a:t>
            </a:r>
            <a:r>
              <a:rPr lang="de-DE" dirty="0" err="1" smtClean="0"/>
              <a:t>text</a:t>
            </a:r>
            <a:r>
              <a:rPr lang="de-DE" dirty="0" smtClean="0"/>
              <a:t> </a:t>
            </a:r>
            <a:r>
              <a:rPr lang="de-DE" dirty="0" err="1" smtClean="0"/>
              <a:t>layer</a:t>
            </a:r>
            <a:endParaRPr lang="de-DE" dirty="0" smtClean="0"/>
          </a:p>
          <a:p>
            <a:pPr lvl="6"/>
            <a:r>
              <a:rPr lang="de-DE" dirty="0" smtClean="0"/>
              <a:t>7th </a:t>
            </a:r>
            <a:r>
              <a:rPr lang="de-DE" dirty="0" err="1" smtClean="0"/>
              <a:t>text</a:t>
            </a:r>
            <a:r>
              <a:rPr lang="de-DE" dirty="0" smtClean="0"/>
              <a:t> </a:t>
            </a:r>
            <a:r>
              <a:rPr lang="de-DE" dirty="0" err="1" smtClean="0"/>
              <a:t>layer</a:t>
            </a:r>
            <a:endParaRPr lang="de-DE" dirty="0" smtClean="0"/>
          </a:p>
          <a:p>
            <a:pPr lvl="7"/>
            <a:r>
              <a:rPr lang="de-DE" dirty="0" smtClean="0"/>
              <a:t>8th </a:t>
            </a:r>
            <a:r>
              <a:rPr lang="de-DE" dirty="0" err="1" smtClean="0"/>
              <a:t>text</a:t>
            </a:r>
            <a:r>
              <a:rPr lang="de-DE" dirty="0" smtClean="0"/>
              <a:t> </a:t>
            </a:r>
            <a:r>
              <a:rPr lang="de-DE" dirty="0" err="1" smtClean="0"/>
              <a:t>layer</a:t>
            </a:r>
            <a:endParaRPr lang="de-DE" dirty="0" smtClean="0"/>
          </a:p>
          <a:p>
            <a:pPr lvl="8"/>
            <a:r>
              <a:rPr lang="de-DE" dirty="0" smtClean="0"/>
              <a:t>9th </a:t>
            </a:r>
            <a:r>
              <a:rPr lang="de-DE" dirty="0" err="1" smtClean="0"/>
              <a:t>text</a:t>
            </a:r>
            <a:r>
              <a:rPr lang="de-DE" dirty="0" smtClean="0"/>
              <a:t> </a:t>
            </a:r>
            <a:r>
              <a:rPr lang="de-DE" dirty="0" err="1" smtClean="0"/>
              <a:t>layer</a:t>
            </a:r>
            <a:endParaRPr lang="de-DE" dirty="0"/>
          </a:p>
        </p:txBody>
      </p:sp>
      <p:sp>
        <p:nvSpPr>
          <p:cNvPr id="4" name="Date Placeholder 3"/>
          <p:cNvSpPr>
            <a:spLocks noGrp="1"/>
          </p:cNvSpPr>
          <p:nvPr>
            <p:ph type="dt" sz="half" idx="13"/>
          </p:nvPr>
        </p:nvSpPr>
        <p:spPr bwMode="gray"/>
        <p:txBody>
          <a:bodyPr/>
          <a:lstStyle/>
          <a:p>
            <a:endParaRPr lang="en-US" dirty="0"/>
          </a:p>
        </p:txBody>
      </p:sp>
      <p:sp>
        <p:nvSpPr>
          <p:cNvPr id="5" name="Footer Placeholder 4"/>
          <p:cNvSpPr>
            <a:spLocks noGrp="1"/>
          </p:cNvSpPr>
          <p:nvPr>
            <p:ph type="ftr" sz="quarter" idx="14"/>
          </p:nvPr>
        </p:nvSpPr>
        <p:spPr bwMode="gray"/>
        <p:txBody>
          <a:bodyPr/>
          <a:lstStyle/>
          <a:p>
            <a:r>
              <a:rPr lang="en-US" smtClean="0"/>
              <a:t>Presentation Tools &amp; Equipment (04. January 2017)</a:t>
            </a:r>
            <a:endParaRPr lang="de-DE" dirty="0"/>
          </a:p>
        </p:txBody>
      </p:sp>
      <p:sp>
        <p:nvSpPr>
          <p:cNvPr id="6" name="Slide Number Placeholder 5"/>
          <p:cNvSpPr>
            <a:spLocks noGrp="1"/>
          </p:cNvSpPr>
          <p:nvPr>
            <p:ph type="sldNum" sz="quarter" idx="15"/>
          </p:nvPr>
        </p:nvSpPr>
        <p:spPr bwMode="gray"/>
        <p:txBody>
          <a:bodyPr/>
          <a:lstStyle/>
          <a:p>
            <a:r>
              <a:rPr lang="de-DE" smtClean="0"/>
              <a:t>Page </a:t>
            </a:r>
            <a:fld id="{D126E9C2-5A98-4FED-83CF-BD978A28F274}" type="slidenum">
              <a:rPr lang="de-DE" smtClean="0"/>
              <a:pPr/>
              <a:t>‹#›</a:t>
            </a:fld>
            <a:endParaRPr lang="de-DE" dirty="0"/>
          </a:p>
        </p:txBody>
      </p:sp>
    </p:spTree>
    <p:extLst>
      <p:ext uri="{BB962C8B-B14F-4D97-AF65-F5344CB8AC3E}">
        <p14:creationId xmlns:p14="http://schemas.microsoft.com/office/powerpoint/2010/main" val="114615440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de-DE" smtClean="0"/>
              <a:t>Titelmasterformat durch Klicken bearbeiten</a:t>
            </a:r>
            <a:endParaRPr lang="de-DE" dirty="0"/>
          </a:p>
        </p:txBody>
      </p:sp>
      <p:sp>
        <p:nvSpPr>
          <p:cNvPr id="7" name="Fußzeilenplatzhalter 6"/>
          <p:cNvSpPr>
            <a:spLocks noGrp="1"/>
          </p:cNvSpPr>
          <p:nvPr>
            <p:ph type="ftr" sz="quarter" idx="10"/>
          </p:nvPr>
        </p:nvSpPr>
        <p:spPr bwMode="gray">
          <a:xfrm>
            <a:off x="1079500" y="6535435"/>
            <a:ext cx="6623845" cy="180976"/>
          </a:xfrm>
        </p:spPr>
        <p:txBody>
          <a:bodyPr/>
          <a:lstStyle/>
          <a:p>
            <a:r>
              <a:rPr lang="en-US" dirty="0" smtClean="0"/>
              <a:t>Presentation Tools &amp; Equipment (</a:t>
            </a:r>
            <a:r>
              <a:rPr lang="en-US" altLang="zh-CN" noProof="0" dirty="0" smtClean="0"/>
              <a:t>04. January 2017)</a:t>
            </a:r>
            <a:endParaRPr lang="de-DE" dirty="0"/>
          </a:p>
        </p:txBody>
      </p:sp>
      <p:sp>
        <p:nvSpPr>
          <p:cNvPr id="8" name="Foliennummernplatzhalter 7"/>
          <p:cNvSpPr>
            <a:spLocks noGrp="1"/>
          </p:cNvSpPr>
          <p:nvPr>
            <p:ph type="sldNum" sz="quarter" idx="11"/>
          </p:nvPr>
        </p:nvSpPr>
        <p:spPr bwMode="gray"/>
        <p:txBody>
          <a:bodyPr/>
          <a:lstStyle/>
          <a:p>
            <a:r>
              <a:rPr lang="de-DE" smtClean="0"/>
              <a:t>Page </a:t>
            </a:r>
            <a:fld id="{D126E9C2-5A98-4FED-83CF-BD978A28F274}" type="slidenum">
              <a:rPr lang="de-DE" smtClean="0"/>
              <a:pPr/>
              <a:t>‹#›</a:t>
            </a:fld>
            <a:endParaRPr lang="de-DE" dirty="0"/>
          </a:p>
        </p:txBody>
      </p:sp>
      <p:sp>
        <p:nvSpPr>
          <p:cNvPr id="3" name="Date Placeholder 2"/>
          <p:cNvSpPr>
            <a:spLocks noGrp="1"/>
          </p:cNvSpPr>
          <p:nvPr>
            <p:ph type="dt" sz="half" idx="12"/>
          </p:nvPr>
        </p:nvSpPr>
        <p:spPr bwMode="gray"/>
        <p:txBody>
          <a:bodyPr/>
          <a:lstStyle/>
          <a:p>
            <a:endParaRPr lang="en-US" dirty="0"/>
          </a:p>
        </p:txBody>
      </p:sp>
    </p:spTree>
    <p:extLst>
      <p:ext uri="{BB962C8B-B14F-4D97-AF65-F5344CB8AC3E}">
        <p14:creationId xmlns:p14="http://schemas.microsoft.com/office/powerpoint/2010/main" val="93232145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10" name="Textplatzhalter 9"/>
          <p:cNvSpPr>
            <a:spLocks noGrp="1"/>
          </p:cNvSpPr>
          <p:nvPr>
            <p:ph type="body" sz="quarter" idx="12" hasCustomPrompt="1"/>
          </p:nvPr>
        </p:nvSpPr>
        <p:spPr bwMode="gray">
          <a:xfrm>
            <a:off x="395288" y="1052513"/>
            <a:ext cx="8350406" cy="5256212"/>
          </a:xfrm>
        </p:spPr>
        <p:txBody>
          <a:bodyPr/>
          <a:lstStyle/>
          <a:p>
            <a:pPr lvl="0"/>
            <a:r>
              <a:rPr lang="en-US" noProof="0" dirty="0" smtClean="0"/>
              <a:t>Write your text</a:t>
            </a:r>
          </a:p>
          <a:p>
            <a:pPr lvl="1"/>
            <a:r>
              <a:rPr lang="en-US" noProof="0" dirty="0" smtClean="0"/>
              <a:t>2nd text layer</a:t>
            </a:r>
          </a:p>
          <a:p>
            <a:pPr lvl="2"/>
            <a:r>
              <a:rPr lang="en-US" noProof="0" dirty="0" smtClean="0"/>
              <a:t>3rd text layer</a:t>
            </a:r>
          </a:p>
          <a:p>
            <a:pPr lvl="3"/>
            <a:r>
              <a:rPr lang="en-US" noProof="0" dirty="0" smtClean="0"/>
              <a:t>4th text layer</a:t>
            </a:r>
          </a:p>
          <a:p>
            <a:pPr lvl="4"/>
            <a:r>
              <a:rPr lang="en-US" noProof="0" dirty="0" smtClean="0"/>
              <a:t>5th text layer</a:t>
            </a:r>
          </a:p>
          <a:p>
            <a:pPr lvl="5"/>
            <a:r>
              <a:rPr lang="en-US" noProof="0" dirty="0" smtClean="0"/>
              <a:t>6th text layer</a:t>
            </a:r>
          </a:p>
          <a:p>
            <a:pPr lvl="6"/>
            <a:r>
              <a:rPr lang="en-US" noProof="0" dirty="0" smtClean="0"/>
              <a:t>7th text layer</a:t>
            </a:r>
          </a:p>
          <a:p>
            <a:pPr lvl="7"/>
            <a:r>
              <a:rPr lang="en-US" noProof="0" dirty="0" smtClean="0"/>
              <a:t>8th text layer</a:t>
            </a:r>
          </a:p>
          <a:p>
            <a:pPr lvl="8"/>
            <a:r>
              <a:rPr lang="en-US" noProof="0" dirty="0" smtClean="0"/>
              <a:t>9th text layer</a:t>
            </a:r>
            <a:endParaRPr lang="en-US" noProof="0" dirty="0"/>
          </a:p>
        </p:txBody>
      </p:sp>
      <p:sp>
        <p:nvSpPr>
          <p:cNvPr id="4" name="Date Placeholder 3"/>
          <p:cNvSpPr>
            <a:spLocks noGrp="1"/>
          </p:cNvSpPr>
          <p:nvPr>
            <p:ph type="dt" sz="half" idx="13"/>
          </p:nvPr>
        </p:nvSpPr>
        <p:spPr bwMode="gray"/>
        <p:txBody>
          <a:bodyPr/>
          <a:lstStyle/>
          <a:p>
            <a:endParaRPr lang="en-US" noProof="0" dirty="0"/>
          </a:p>
        </p:txBody>
      </p:sp>
      <p:sp>
        <p:nvSpPr>
          <p:cNvPr id="5" name="Footer Placeholder 4"/>
          <p:cNvSpPr>
            <a:spLocks noGrp="1"/>
          </p:cNvSpPr>
          <p:nvPr>
            <p:ph type="ftr" sz="quarter" idx="14"/>
          </p:nvPr>
        </p:nvSpPr>
        <p:spPr bwMode="gray"/>
        <p:txBody>
          <a:bodyPr/>
          <a:lstStyle/>
          <a:p>
            <a:r>
              <a:rPr lang="en-US" noProof="0" dirty="0" smtClean="0"/>
              <a:t>File Name</a:t>
            </a:r>
            <a:endParaRPr lang="en-US" noProof="0" dirty="0"/>
          </a:p>
        </p:txBody>
      </p:sp>
      <p:sp>
        <p:nvSpPr>
          <p:cNvPr id="6" name="Slide Number Placeholder 5"/>
          <p:cNvSpPr>
            <a:spLocks noGrp="1"/>
          </p:cNvSpPr>
          <p:nvPr>
            <p:ph type="sldNum" sz="quarter" idx="15"/>
          </p:nvPr>
        </p:nvSpPr>
        <p:spPr bwMode="gray"/>
        <p:txBody>
          <a:bodyPr/>
          <a:lstStyle/>
          <a:p>
            <a:r>
              <a:rPr lang="en-US" noProof="0" dirty="0" smtClean="0"/>
              <a:t>Page </a:t>
            </a:r>
            <a:fld id="{D126E9C2-5A98-4FED-83CF-BD978A28F274}" type="slidenum">
              <a:rPr lang="en-US" noProof="0" smtClean="0"/>
              <a:pPr/>
              <a:t>‹#›</a:t>
            </a:fld>
            <a:endParaRPr lang="en-US" noProof="0" dirty="0"/>
          </a:p>
        </p:txBody>
      </p:sp>
    </p:spTree>
    <p:extLst>
      <p:ext uri="{BB962C8B-B14F-4D97-AF65-F5344CB8AC3E}">
        <p14:creationId xmlns:p14="http://schemas.microsoft.com/office/powerpoint/2010/main" val="279569847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10" name="Textplatzhalter 9"/>
          <p:cNvSpPr>
            <a:spLocks noGrp="1"/>
          </p:cNvSpPr>
          <p:nvPr>
            <p:ph type="body" sz="quarter" idx="12" hasCustomPrompt="1"/>
          </p:nvPr>
        </p:nvSpPr>
        <p:spPr bwMode="gray">
          <a:xfrm>
            <a:off x="395288" y="1052513"/>
            <a:ext cx="4105275" cy="5256212"/>
          </a:xfrm>
        </p:spPr>
        <p:txBody>
          <a:bodyPr/>
          <a:lstStyle/>
          <a:p>
            <a:pPr lvl="0"/>
            <a:r>
              <a:rPr lang="en-US" noProof="0" dirty="0" smtClean="0"/>
              <a:t>Write your text</a:t>
            </a:r>
          </a:p>
          <a:p>
            <a:pPr lvl="1"/>
            <a:r>
              <a:rPr lang="en-US" noProof="0" dirty="0" smtClean="0"/>
              <a:t>2nd text layer</a:t>
            </a:r>
          </a:p>
          <a:p>
            <a:pPr lvl="2"/>
            <a:r>
              <a:rPr lang="en-US" noProof="0" dirty="0" smtClean="0"/>
              <a:t>3rd text layer</a:t>
            </a:r>
          </a:p>
          <a:p>
            <a:pPr lvl="3"/>
            <a:r>
              <a:rPr lang="en-US" noProof="0" dirty="0" smtClean="0"/>
              <a:t>4th text layer</a:t>
            </a:r>
          </a:p>
          <a:p>
            <a:pPr lvl="4"/>
            <a:r>
              <a:rPr lang="en-US" noProof="0" dirty="0" smtClean="0"/>
              <a:t>5th text layer</a:t>
            </a:r>
          </a:p>
          <a:p>
            <a:pPr lvl="5"/>
            <a:r>
              <a:rPr lang="en-US" noProof="0" dirty="0" smtClean="0"/>
              <a:t>6th text layer</a:t>
            </a:r>
          </a:p>
          <a:p>
            <a:pPr lvl="6"/>
            <a:r>
              <a:rPr lang="en-US" noProof="0" dirty="0" smtClean="0"/>
              <a:t>7th text layer</a:t>
            </a:r>
          </a:p>
          <a:p>
            <a:pPr lvl="7"/>
            <a:r>
              <a:rPr lang="en-US" noProof="0" dirty="0" smtClean="0"/>
              <a:t>8th text layer</a:t>
            </a:r>
          </a:p>
          <a:p>
            <a:pPr lvl="8"/>
            <a:r>
              <a:rPr lang="en-US" noProof="0" dirty="0" smtClean="0"/>
              <a:t>9th text layer</a:t>
            </a:r>
            <a:endParaRPr lang="en-US" noProof="0" dirty="0"/>
          </a:p>
        </p:txBody>
      </p:sp>
      <p:sp>
        <p:nvSpPr>
          <p:cNvPr id="6" name="Textplatzhalter 9"/>
          <p:cNvSpPr>
            <a:spLocks noGrp="1"/>
          </p:cNvSpPr>
          <p:nvPr>
            <p:ph type="body" sz="quarter" idx="13" hasCustomPrompt="1"/>
          </p:nvPr>
        </p:nvSpPr>
        <p:spPr bwMode="gray">
          <a:xfrm>
            <a:off x="4637881" y="1052513"/>
            <a:ext cx="4105275" cy="5256212"/>
          </a:xfrm>
        </p:spPr>
        <p:txBody>
          <a:bodyPr/>
          <a:lstStyle/>
          <a:p>
            <a:pPr lvl="0"/>
            <a:r>
              <a:rPr lang="en-US" noProof="0" dirty="0" smtClean="0"/>
              <a:t>Write your text</a:t>
            </a:r>
          </a:p>
          <a:p>
            <a:pPr lvl="1"/>
            <a:r>
              <a:rPr lang="en-US" noProof="0" dirty="0" smtClean="0"/>
              <a:t>2nd text layer</a:t>
            </a:r>
          </a:p>
          <a:p>
            <a:pPr lvl="2"/>
            <a:r>
              <a:rPr lang="en-US" noProof="0" dirty="0" smtClean="0"/>
              <a:t>3rd text layer</a:t>
            </a:r>
          </a:p>
          <a:p>
            <a:pPr lvl="3"/>
            <a:r>
              <a:rPr lang="en-US" noProof="0" dirty="0" smtClean="0"/>
              <a:t>4th text layer</a:t>
            </a:r>
          </a:p>
          <a:p>
            <a:pPr lvl="4"/>
            <a:r>
              <a:rPr lang="en-US" noProof="0" dirty="0" smtClean="0"/>
              <a:t>5th text layer</a:t>
            </a:r>
          </a:p>
          <a:p>
            <a:pPr lvl="5"/>
            <a:r>
              <a:rPr lang="en-US" noProof="0" dirty="0" smtClean="0"/>
              <a:t>6th text layer</a:t>
            </a:r>
          </a:p>
          <a:p>
            <a:pPr lvl="6"/>
            <a:r>
              <a:rPr lang="en-US" noProof="0" dirty="0" smtClean="0"/>
              <a:t>7th text layer</a:t>
            </a:r>
          </a:p>
          <a:p>
            <a:pPr lvl="7"/>
            <a:r>
              <a:rPr lang="en-US" noProof="0" dirty="0" smtClean="0"/>
              <a:t>8th text layer</a:t>
            </a:r>
          </a:p>
          <a:p>
            <a:pPr lvl="8"/>
            <a:r>
              <a:rPr lang="en-US" noProof="0" dirty="0" smtClean="0"/>
              <a:t>9th text layer</a:t>
            </a:r>
            <a:endParaRPr lang="en-US" noProof="0" dirty="0"/>
          </a:p>
        </p:txBody>
      </p:sp>
      <p:sp>
        <p:nvSpPr>
          <p:cNvPr id="3" name="Date Placeholder 2"/>
          <p:cNvSpPr>
            <a:spLocks noGrp="1"/>
          </p:cNvSpPr>
          <p:nvPr>
            <p:ph type="dt" sz="half" idx="14"/>
          </p:nvPr>
        </p:nvSpPr>
        <p:spPr bwMode="gray"/>
        <p:txBody>
          <a:bodyPr/>
          <a:lstStyle/>
          <a:p>
            <a:endParaRPr lang="en-US" noProof="0" dirty="0"/>
          </a:p>
        </p:txBody>
      </p:sp>
    </p:spTree>
    <p:extLst>
      <p:ext uri="{BB962C8B-B14F-4D97-AF65-F5344CB8AC3E}">
        <p14:creationId xmlns:p14="http://schemas.microsoft.com/office/powerpoint/2010/main" val="259534006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de-DE" noProof="0" dirty="0"/>
          </a:p>
        </p:txBody>
      </p:sp>
      <p:sp>
        <p:nvSpPr>
          <p:cNvPr id="7" name="Fußzeilenplatzhalter 6"/>
          <p:cNvSpPr>
            <a:spLocks noGrp="1"/>
          </p:cNvSpPr>
          <p:nvPr>
            <p:ph type="ftr" sz="quarter" idx="10"/>
          </p:nvPr>
        </p:nvSpPr>
        <p:spPr bwMode="gray"/>
        <p:txBody>
          <a:bodyPr/>
          <a:lstStyle/>
          <a:p>
            <a:r>
              <a:rPr lang="de-DE" noProof="0" dirty="0" smtClean="0"/>
              <a:t>File Name</a:t>
            </a:r>
            <a:endParaRPr lang="de-DE" noProof="0" dirty="0"/>
          </a:p>
        </p:txBody>
      </p:sp>
      <p:sp>
        <p:nvSpPr>
          <p:cNvPr id="8" name="Foliennummernplatzhalter 7"/>
          <p:cNvSpPr>
            <a:spLocks noGrp="1"/>
          </p:cNvSpPr>
          <p:nvPr>
            <p:ph type="sldNum" sz="quarter" idx="11"/>
          </p:nvPr>
        </p:nvSpPr>
        <p:spPr bwMode="gray"/>
        <p:txBody>
          <a:bodyPr/>
          <a:lstStyle/>
          <a:p>
            <a:r>
              <a:rPr lang="de-DE" noProof="0" dirty="0" smtClean="0"/>
              <a:t>Page </a:t>
            </a:r>
            <a:fld id="{D126E9C2-5A98-4FED-83CF-BD978A28F274}" type="slidenum">
              <a:rPr lang="de-DE" noProof="0" smtClean="0"/>
              <a:pPr/>
              <a:t>‹#›</a:t>
            </a:fld>
            <a:endParaRPr lang="de-DE" noProof="0" dirty="0"/>
          </a:p>
        </p:txBody>
      </p:sp>
      <p:sp>
        <p:nvSpPr>
          <p:cNvPr id="10" name="Textplatzhalter 9"/>
          <p:cNvSpPr>
            <a:spLocks noGrp="1"/>
          </p:cNvSpPr>
          <p:nvPr>
            <p:ph type="body" sz="quarter" idx="12" hasCustomPrompt="1"/>
          </p:nvPr>
        </p:nvSpPr>
        <p:spPr bwMode="gray">
          <a:xfrm>
            <a:off x="395288" y="1052513"/>
            <a:ext cx="2663825" cy="5256212"/>
          </a:xfrm>
        </p:spPr>
        <p:txBody>
          <a:bodyPr/>
          <a:lstStyle/>
          <a:p>
            <a:pPr lvl="0"/>
            <a:r>
              <a:rPr lang="de-DE" noProof="0" dirty="0" smtClean="0"/>
              <a:t>Write </a:t>
            </a:r>
            <a:r>
              <a:rPr lang="de-DE" noProof="0" dirty="0" err="1" smtClean="0"/>
              <a:t>your</a:t>
            </a:r>
            <a:r>
              <a:rPr lang="de-DE" noProof="0" dirty="0" smtClean="0"/>
              <a:t> </a:t>
            </a:r>
            <a:r>
              <a:rPr lang="de-DE" noProof="0" dirty="0" err="1" smtClean="0"/>
              <a:t>text</a:t>
            </a:r>
            <a:endParaRPr lang="de-DE" noProof="0" dirty="0" smtClean="0"/>
          </a:p>
          <a:p>
            <a:pPr lvl="1"/>
            <a:r>
              <a:rPr lang="de-DE" noProof="0" dirty="0" smtClean="0"/>
              <a:t>2nd </a:t>
            </a:r>
            <a:r>
              <a:rPr lang="de-DE" noProof="0" dirty="0" err="1" smtClean="0"/>
              <a:t>text</a:t>
            </a:r>
            <a:r>
              <a:rPr lang="de-DE" noProof="0" dirty="0" smtClean="0"/>
              <a:t> </a:t>
            </a:r>
            <a:r>
              <a:rPr lang="de-DE" noProof="0" dirty="0" err="1" smtClean="0"/>
              <a:t>layer</a:t>
            </a:r>
            <a:endParaRPr lang="de-DE" noProof="0" dirty="0" smtClean="0"/>
          </a:p>
          <a:p>
            <a:pPr lvl="2"/>
            <a:r>
              <a:rPr lang="de-DE" noProof="0" dirty="0" smtClean="0"/>
              <a:t>3rd </a:t>
            </a:r>
            <a:r>
              <a:rPr lang="de-DE" noProof="0" dirty="0" err="1" smtClean="0"/>
              <a:t>text</a:t>
            </a:r>
            <a:r>
              <a:rPr lang="de-DE" noProof="0" dirty="0" smtClean="0"/>
              <a:t> </a:t>
            </a:r>
            <a:r>
              <a:rPr lang="de-DE" noProof="0" dirty="0" err="1" smtClean="0"/>
              <a:t>layer</a:t>
            </a:r>
            <a:endParaRPr lang="de-DE" noProof="0" dirty="0" smtClean="0"/>
          </a:p>
          <a:p>
            <a:pPr lvl="3"/>
            <a:r>
              <a:rPr lang="de-DE" noProof="0" dirty="0" smtClean="0"/>
              <a:t>4th </a:t>
            </a:r>
            <a:r>
              <a:rPr lang="de-DE" noProof="0" dirty="0" err="1" smtClean="0"/>
              <a:t>text</a:t>
            </a:r>
            <a:r>
              <a:rPr lang="de-DE" noProof="0" dirty="0" smtClean="0"/>
              <a:t> </a:t>
            </a:r>
            <a:r>
              <a:rPr lang="de-DE" noProof="0" dirty="0" err="1" smtClean="0"/>
              <a:t>layer</a:t>
            </a:r>
            <a:endParaRPr lang="de-DE" noProof="0" dirty="0" smtClean="0"/>
          </a:p>
          <a:p>
            <a:pPr lvl="4"/>
            <a:r>
              <a:rPr lang="de-DE" noProof="0" dirty="0" smtClean="0"/>
              <a:t>5th </a:t>
            </a:r>
            <a:r>
              <a:rPr lang="de-DE" noProof="0" dirty="0" err="1" smtClean="0"/>
              <a:t>text</a:t>
            </a:r>
            <a:r>
              <a:rPr lang="de-DE" noProof="0" dirty="0" smtClean="0"/>
              <a:t> </a:t>
            </a:r>
            <a:r>
              <a:rPr lang="de-DE" noProof="0" dirty="0" err="1" smtClean="0"/>
              <a:t>layer</a:t>
            </a:r>
            <a:endParaRPr lang="de-DE" noProof="0" dirty="0" smtClean="0"/>
          </a:p>
          <a:p>
            <a:pPr lvl="5"/>
            <a:r>
              <a:rPr lang="de-DE" noProof="0" dirty="0" smtClean="0"/>
              <a:t>6th </a:t>
            </a:r>
            <a:r>
              <a:rPr lang="de-DE" noProof="0" dirty="0" err="1" smtClean="0"/>
              <a:t>text</a:t>
            </a:r>
            <a:r>
              <a:rPr lang="de-DE" noProof="0" dirty="0" smtClean="0"/>
              <a:t> </a:t>
            </a:r>
            <a:r>
              <a:rPr lang="de-DE" noProof="0" dirty="0" err="1" smtClean="0"/>
              <a:t>layer</a:t>
            </a:r>
            <a:endParaRPr lang="de-DE" noProof="0" dirty="0" smtClean="0"/>
          </a:p>
          <a:p>
            <a:pPr lvl="6"/>
            <a:r>
              <a:rPr lang="de-DE" noProof="0" dirty="0" smtClean="0"/>
              <a:t>7th </a:t>
            </a:r>
            <a:r>
              <a:rPr lang="de-DE" noProof="0" dirty="0" err="1" smtClean="0"/>
              <a:t>text</a:t>
            </a:r>
            <a:r>
              <a:rPr lang="de-DE" noProof="0" dirty="0" smtClean="0"/>
              <a:t> </a:t>
            </a:r>
            <a:r>
              <a:rPr lang="de-DE" noProof="0" dirty="0" err="1" smtClean="0"/>
              <a:t>layer</a:t>
            </a:r>
            <a:endParaRPr lang="de-DE" noProof="0" dirty="0" smtClean="0"/>
          </a:p>
          <a:p>
            <a:pPr lvl="7"/>
            <a:r>
              <a:rPr lang="de-DE" noProof="0" dirty="0" smtClean="0"/>
              <a:t>8th </a:t>
            </a:r>
            <a:r>
              <a:rPr lang="de-DE" noProof="0" dirty="0" err="1" smtClean="0"/>
              <a:t>text</a:t>
            </a:r>
            <a:r>
              <a:rPr lang="de-DE" noProof="0" dirty="0" smtClean="0"/>
              <a:t> </a:t>
            </a:r>
            <a:r>
              <a:rPr lang="de-DE" noProof="0" dirty="0" err="1" smtClean="0"/>
              <a:t>layer</a:t>
            </a:r>
            <a:endParaRPr lang="de-DE" noProof="0" dirty="0" smtClean="0"/>
          </a:p>
          <a:p>
            <a:pPr lvl="8"/>
            <a:r>
              <a:rPr lang="de-DE" noProof="0" dirty="0" smtClean="0"/>
              <a:t>9th </a:t>
            </a:r>
            <a:r>
              <a:rPr lang="de-DE" noProof="0" dirty="0" err="1" smtClean="0"/>
              <a:t>text</a:t>
            </a:r>
            <a:r>
              <a:rPr lang="de-DE" noProof="0" dirty="0" smtClean="0"/>
              <a:t> </a:t>
            </a:r>
            <a:r>
              <a:rPr lang="de-DE" noProof="0" dirty="0" err="1" smtClean="0"/>
              <a:t>layer</a:t>
            </a:r>
            <a:endParaRPr lang="de-DE" noProof="0" dirty="0"/>
          </a:p>
        </p:txBody>
      </p:sp>
      <p:sp>
        <p:nvSpPr>
          <p:cNvPr id="6" name="Textplatzhalter 9"/>
          <p:cNvSpPr>
            <a:spLocks noGrp="1"/>
          </p:cNvSpPr>
          <p:nvPr>
            <p:ph type="body" sz="quarter" idx="13" hasCustomPrompt="1"/>
          </p:nvPr>
        </p:nvSpPr>
        <p:spPr bwMode="gray">
          <a:xfrm>
            <a:off x="3240088" y="1052513"/>
            <a:ext cx="2663825" cy="5256212"/>
          </a:xfrm>
        </p:spPr>
        <p:txBody>
          <a:bodyPr/>
          <a:lstStyle/>
          <a:p>
            <a:pPr lvl="0"/>
            <a:r>
              <a:rPr lang="de-DE" noProof="0" dirty="0" smtClean="0"/>
              <a:t>Write </a:t>
            </a:r>
            <a:r>
              <a:rPr lang="de-DE" noProof="0" dirty="0" err="1" smtClean="0"/>
              <a:t>your</a:t>
            </a:r>
            <a:r>
              <a:rPr lang="de-DE" noProof="0" dirty="0" smtClean="0"/>
              <a:t> </a:t>
            </a:r>
            <a:r>
              <a:rPr lang="de-DE" noProof="0" dirty="0" err="1" smtClean="0"/>
              <a:t>text</a:t>
            </a:r>
            <a:endParaRPr lang="de-DE" noProof="0" dirty="0" smtClean="0"/>
          </a:p>
          <a:p>
            <a:pPr lvl="1"/>
            <a:r>
              <a:rPr lang="de-DE" noProof="0" dirty="0" smtClean="0"/>
              <a:t>2nd </a:t>
            </a:r>
            <a:r>
              <a:rPr lang="de-DE" noProof="0" dirty="0" err="1" smtClean="0"/>
              <a:t>text</a:t>
            </a:r>
            <a:r>
              <a:rPr lang="de-DE" noProof="0" dirty="0" smtClean="0"/>
              <a:t> </a:t>
            </a:r>
            <a:r>
              <a:rPr lang="de-DE" noProof="0" dirty="0" err="1" smtClean="0"/>
              <a:t>layer</a:t>
            </a:r>
            <a:endParaRPr lang="de-DE" noProof="0" dirty="0" smtClean="0"/>
          </a:p>
          <a:p>
            <a:pPr lvl="2"/>
            <a:r>
              <a:rPr lang="de-DE" noProof="0" dirty="0" smtClean="0"/>
              <a:t>3rd </a:t>
            </a:r>
            <a:r>
              <a:rPr lang="de-DE" noProof="0" dirty="0" err="1" smtClean="0"/>
              <a:t>text</a:t>
            </a:r>
            <a:r>
              <a:rPr lang="de-DE" noProof="0" dirty="0" smtClean="0"/>
              <a:t> </a:t>
            </a:r>
            <a:r>
              <a:rPr lang="de-DE" noProof="0" dirty="0" err="1" smtClean="0"/>
              <a:t>layer</a:t>
            </a:r>
            <a:endParaRPr lang="de-DE" noProof="0" dirty="0" smtClean="0"/>
          </a:p>
          <a:p>
            <a:pPr lvl="3"/>
            <a:r>
              <a:rPr lang="de-DE" noProof="0" dirty="0" smtClean="0"/>
              <a:t>4th </a:t>
            </a:r>
            <a:r>
              <a:rPr lang="de-DE" noProof="0" dirty="0" err="1" smtClean="0"/>
              <a:t>text</a:t>
            </a:r>
            <a:r>
              <a:rPr lang="de-DE" noProof="0" dirty="0" smtClean="0"/>
              <a:t> </a:t>
            </a:r>
            <a:r>
              <a:rPr lang="de-DE" noProof="0" dirty="0" err="1" smtClean="0"/>
              <a:t>layer</a:t>
            </a:r>
            <a:endParaRPr lang="de-DE" noProof="0" dirty="0" smtClean="0"/>
          </a:p>
          <a:p>
            <a:pPr lvl="4"/>
            <a:r>
              <a:rPr lang="de-DE" noProof="0" dirty="0" smtClean="0"/>
              <a:t>5th </a:t>
            </a:r>
            <a:r>
              <a:rPr lang="de-DE" noProof="0" dirty="0" err="1" smtClean="0"/>
              <a:t>text</a:t>
            </a:r>
            <a:r>
              <a:rPr lang="de-DE" noProof="0" dirty="0" smtClean="0"/>
              <a:t> </a:t>
            </a:r>
            <a:r>
              <a:rPr lang="de-DE" noProof="0" dirty="0" err="1" smtClean="0"/>
              <a:t>layer</a:t>
            </a:r>
            <a:endParaRPr lang="de-DE" noProof="0" dirty="0" smtClean="0"/>
          </a:p>
          <a:p>
            <a:pPr lvl="5"/>
            <a:r>
              <a:rPr lang="de-DE" noProof="0" dirty="0" smtClean="0"/>
              <a:t>6th </a:t>
            </a:r>
            <a:r>
              <a:rPr lang="de-DE" noProof="0" dirty="0" err="1" smtClean="0"/>
              <a:t>text</a:t>
            </a:r>
            <a:r>
              <a:rPr lang="de-DE" noProof="0" dirty="0" smtClean="0"/>
              <a:t> </a:t>
            </a:r>
            <a:r>
              <a:rPr lang="de-DE" noProof="0" dirty="0" err="1" smtClean="0"/>
              <a:t>layer</a:t>
            </a:r>
            <a:endParaRPr lang="de-DE" noProof="0" dirty="0" smtClean="0"/>
          </a:p>
          <a:p>
            <a:pPr lvl="6"/>
            <a:r>
              <a:rPr lang="de-DE" noProof="0" dirty="0" smtClean="0"/>
              <a:t>7th </a:t>
            </a:r>
            <a:r>
              <a:rPr lang="de-DE" noProof="0" dirty="0" err="1" smtClean="0"/>
              <a:t>text</a:t>
            </a:r>
            <a:r>
              <a:rPr lang="de-DE" noProof="0" dirty="0" smtClean="0"/>
              <a:t> </a:t>
            </a:r>
            <a:r>
              <a:rPr lang="de-DE" noProof="0" dirty="0" err="1" smtClean="0"/>
              <a:t>layer</a:t>
            </a:r>
            <a:endParaRPr lang="de-DE" noProof="0" dirty="0" smtClean="0"/>
          </a:p>
          <a:p>
            <a:pPr lvl="7"/>
            <a:r>
              <a:rPr lang="de-DE" noProof="0" dirty="0" smtClean="0"/>
              <a:t>8th </a:t>
            </a:r>
            <a:r>
              <a:rPr lang="de-DE" noProof="0" dirty="0" err="1" smtClean="0"/>
              <a:t>text</a:t>
            </a:r>
            <a:r>
              <a:rPr lang="de-DE" noProof="0" dirty="0" smtClean="0"/>
              <a:t> </a:t>
            </a:r>
            <a:r>
              <a:rPr lang="de-DE" noProof="0" dirty="0" err="1" smtClean="0"/>
              <a:t>layer</a:t>
            </a:r>
            <a:endParaRPr lang="de-DE" noProof="0" dirty="0" smtClean="0"/>
          </a:p>
          <a:p>
            <a:pPr lvl="8"/>
            <a:r>
              <a:rPr lang="de-DE" noProof="0" dirty="0" smtClean="0"/>
              <a:t>9th </a:t>
            </a:r>
            <a:r>
              <a:rPr lang="de-DE" noProof="0" dirty="0" err="1" smtClean="0"/>
              <a:t>text</a:t>
            </a:r>
            <a:r>
              <a:rPr lang="de-DE" noProof="0" dirty="0" smtClean="0"/>
              <a:t> </a:t>
            </a:r>
            <a:r>
              <a:rPr lang="de-DE" noProof="0" dirty="0" err="1" smtClean="0"/>
              <a:t>layer</a:t>
            </a:r>
            <a:endParaRPr lang="de-DE" noProof="0" dirty="0"/>
          </a:p>
        </p:txBody>
      </p:sp>
      <p:sp>
        <p:nvSpPr>
          <p:cNvPr id="9" name="Textplatzhalter 9"/>
          <p:cNvSpPr>
            <a:spLocks noGrp="1"/>
          </p:cNvSpPr>
          <p:nvPr>
            <p:ph type="body" sz="quarter" idx="14" hasCustomPrompt="1"/>
          </p:nvPr>
        </p:nvSpPr>
        <p:spPr bwMode="gray">
          <a:xfrm>
            <a:off x="6084888" y="1052513"/>
            <a:ext cx="2663825" cy="5256212"/>
          </a:xfrm>
        </p:spPr>
        <p:txBody>
          <a:bodyPr/>
          <a:lstStyle/>
          <a:p>
            <a:pPr lvl="0"/>
            <a:r>
              <a:rPr lang="de-DE" noProof="0" dirty="0" smtClean="0"/>
              <a:t>Write </a:t>
            </a:r>
            <a:r>
              <a:rPr lang="de-DE" noProof="0" dirty="0" err="1" smtClean="0"/>
              <a:t>your</a:t>
            </a:r>
            <a:r>
              <a:rPr lang="de-DE" noProof="0" dirty="0" smtClean="0"/>
              <a:t> </a:t>
            </a:r>
            <a:r>
              <a:rPr lang="de-DE" noProof="0" dirty="0" err="1" smtClean="0"/>
              <a:t>text</a:t>
            </a:r>
            <a:endParaRPr lang="de-DE" noProof="0" dirty="0" smtClean="0"/>
          </a:p>
          <a:p>
            <a:pPr lvl="1"/>
            <a:r>
              <a:rPr lang="de-DE" noProof="0" dirty="0" smtClean="0"/>
              <a:t>2nd </a:t>
            </a:r>
            <a:r>
              <a:rPr lang="de-DE" noProof="0" dirty="0" err="1" smtClean="0"/>
              <a:t>text</a:t>
            </a:r>
            <a:r>
              <a:rPr lang="de-DE" noProof="0" dirty="0" smtClean="0"/>
              <a:t> </a:t>
            </a:r>
            <a:r>
              <a:rPr lang="de-DE" noProof="0" dirty="0" err="1" smtClean="0"/>
              <a:t>layer</a:t>
            </a:r>
            <a:endParaRPr lang="de-DE" noProof="0" dirty="0" smtClean="0"/>
          </a:p>
          <a:p>
            <a:pPr lvl="2"/>
            <a:r>
              <a:rPr lang="de-DE" noProof="0" dirty="0" smtClean="0"/>
              <a:t>3rd </a:t>
            </a:r>
            <a:r>
              <a:rPr lang="de-DE" noProof="0" dirty="0" err="1" smtClean="0"/>
              <a:t>text</a:t>
            </a:r>
            <a:r>
              <a:rPr lang="de-DE" noProof="0" dirty="0" smtClean="0"/>
              <a:t> </a:t>
            </a:r>
            <a:r>
              <a:rPr lang="de-DE" noProof="0" dirty="0" err="1" smtClean="0"/>
              <a:t>layer</a:t>
            </a:r>
            <a:endParaRPr lang="de-DE" noProof="0" dirty="0" smtClean="0"/>
          </a:p>
          <a:p>
            <a:pPr lvl="3"/>
            <a:r>
              <a:rPr lang="de-DE" noProof="0" dirty="0" smtClean="0"/>
              <a:t>4th </a:t>
            </a:r>
            <a:r>
              <a:rPr lang="de-DE" noProof="0" dirty="0" err="1" smtClean="0"/>
              <a:t>text</a:t>
            </a:r>
            <a:r>
              <a:rPr lang="de-DE" noProof="0" dirty="0" smtClean="0"/>
              <a:t> </a:t>
            </a:r>
            <a:r>
              <a:rPr lang="de-DE" noProof="0" dirty="0" err="1" smtClean="0"/>
              <a:t>layer</a:t>
            </a:r>
            <a:endParaRPr lang="de-DE" noProof="0" dirty="0" smtClean="0"/>
          </a:p>
          <a:p>
            <a:pPr lvl="4"/>
            <a:r>
              <a:rPr lang="de-DE" noProof="0" dirty="0" smtClean="0"/>
              <a:t>5th </a:t>
            </a:r>
            <a:r>
              <a:rPr lang="de-DE" noProof="0" dirty="0" err="1" smtClean="0"/>
              <a:t>text</a:t>
            </a:r>
            <a:r>
              <a:rPr lang="de-DE" noProof="0" dirty="0" smtClean="0"/>
              <a:t> </a:t>
            </a:r>
            <a:r>
              <a:rPr lang="de-DE" noProof="0" dirty="0" err="1" smtClean="0"/>
              <a:t>layer</a:t>
            </a:r>
            <a:endParaRPr lang="de-DE" noProof="0" dirty="0" smtClean="0"/>
          </a:p>
          <a:p>
            <a:pPr lvl="5"/>
            <a:r>
              <a:rPr lang="de-DE" noProof="0" dirty="0" smtClean="0"/>
              <a:t>6th </a:t>
            </a:r>
            <a:r>
              <a:rPr lang="de-DE" noProof="0" dirty="0" err="1" smtClean="0"/>
              <a:t>text</a:t>
            </a:r>
            <a:r>
              <a:rPr lang="de-DE" noProof="0" dirty="0" smtClean="0"/>
              <a:t> </a:t>
            </a:r>
            <a:r>
              <a:rPr lang="de-DE" noProof="0" dirty="0" err="1" smtClean="0"/>
              <a:t>layer</a:t>
            </a:r>
            <a:endParaRPr lang="de-DE" noProof="0" dirty="0" smtClean="0"/>
          </a:p>
          <a:p>
            <a:pPr lvl="6"/>
            <a:r>
              <a:rPr lang="de-DE" noProof="0" dirty="0" smtClean="0"/>
              <a:t>7th </a:t>
            </a:r>
            <a:r>
              <a:rPr lang="de-DE" noProof="0" dirty="0" err="1" smtClean="0"/>
              <a:t>text</a:t>
            </a:r>
            <a:r>
              <a:rPr lang="de-DE" noProof="0" dirty="0" smtClean="0"/>
              <a:t> </a:t>
            </a:r>
            <a:r>
              <a:rPr lang="de-DE" noProof="0" dirty="0" err="1" smtClean="0"/>
              <a:t>layer</a:t>
            </a:r>
            <a:endParaRPr lang="de-DE" noProof="0" dirty="0" smtClean="0"/>
          </a:p>
          <a:p>
            <a:pPr lvl="7"/>
            <a:r>
              <a:rPr lang="de-DE" noProof="0" dirty="0" smtClean="0"/>
              <a:t>8th </a:t>
            </a:r>
            <a:r>
              <a:rPr lang="de-DE" noProof="0" dirty="0" err="1" smtClean="0"/>
              <a:t>text</a:t>
            </a:r>
            <a:r>
              <a:rPr lang="de-DE" noProof="0" dirty="0" smtClean="0"/>
              <a:t> </a:t>
            </a:r>
            <a:r>
              <a:rPr lang="de-DE" noProof="0" dirty="0" err="1" smtClean="0"/>
              <a:t>layer</a:t>
            </a:r>
            <a:endParaRPr lang="de-DE" noProof="0" dirty="0" smtClean="0"/>
          </a:p>
          <a:p>
            <a:pPr lvl="8"/>
            <a:r>
              <a:rPr lang="de-DE" noProof="0" dirty="0" smtClean="0"/>
              <a:t>9th </a:t>
            </a:r>
            <a:r>
              <a:rPr lang="de-DE" noProof="0" dirty="0" err="1" smtClean="0"/>
              <a:t>text</a:t>
            </a:r>
            <a:r>
              <a:rPr lang="de-DE" noProof="0" dirty="0" smtClean="0"/>
              <a:t> </a:t>
            </a:r>
            <a:r>
              <a:rPr lang="de-DE" noProof="0" dirty="0" err="1" smtClean="0"/>
              <a:t>layer</a:t>
            </a:r>
            <a:endParaRPr lang="de-DE" noProof="0" dirty="0"/>
          </a:p>
        </p:txBody>
      </p:sp>
      <p:sp>
        <p:nvSpPr>
          <p:cNvPr id="3" name="Date Placeholder 2"/>
          <p:cNvSpPr>
            <a:spLocks noGrp="1"/>
          </p:cNvSpPr>
          <p:nvPr>
            <p:ph type="dt" sz="half" idx="15"/>
          </p:nvPr>
        </p:nvSpPr>
        <p:spPr bwMode="gray"/>
        <p:txBody>
          <a:bodyPr/>
          <a:lstStyle/>
          <a:p>
            <a:endParaRPr lang="de-DE" noProof="0" dirty="0"/>
          </a:p>
        </p:txBody>
      </p:sp>
    </p:spTree>
    <p:extLst>
      <p:ext uri="{BB962C8B-B14F-4D97-AF65-F5344CB8AC3E}">
        <p14:creationId xmlns:p14="http://schemas.microsoft.com/office/powerpoint/2010/main" val="60911275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10" name="Textplatzhalter 9"/>
          <p:cNvSpPr>
            <a:spLocks noGrp="1"/>
          </p:cNvSpPr>
          <p:nvPr>
            <p:ph type="body" sz="quarter" idx="12" hasCustomPrompt="1"/>
          </p:nvPr>
        </p:nvSpPr>
        <p:spPr bwMode="gray">
          <a:xfrm>
            <a:off x="3240088" y="1052513"/>
            <a:ext cx="5505606" cy="5256212"/>
          </a:xfrm>
        </p:spPr>
        <p:txBody>
          <a:bodyPr/>
          <a:lstStyle/>
          <a:p>
            <a:pPr lvl="0"/>
            <a:r>
              <a:rPr lang="en-US" noProof="0" dirty="0" smtClean="0"/>
              <a:t>Write your text</a:t>
            </a:r>
          </a:p>
          <a:p>
            <a:pPr lvl="1"/>
            <a:r>
              <a:rPr lang="en-US" noProof="0" dirty="0" smtClean="0"/>
              <a:t>2nd text layer</a:t>
            </a:r>
          </a:p>
          <a:p>
            <a:pPr lvl="2"/>
            <a:r>
              <a:rPr lang="en-US" noProof="0" dirty="0" smtClean="0"/>
              <a:t>3rd text layer</a:t>
            </a:r>
          </a:p>
          <a:p>
            <a:pPr lvl="3"/>
            <a:r>
              <a:rPr lang="en-US" noProof="0" dirty="0" smtClean="0"/>
              <a:t>4th text layer</a:t>
            </a:r>
          </a:p>
          <a:p>
            <a:pPr lvl="4"/>
            <a:r>
              <a:rPr lang="en-US" noProof="0" dirty="0" smtClean="0"/>
              <a:t>5th text layer</a:t>
            </a:r>
          </a:p>
          <a:p>
            <a:pPr lvl="5"/>
            <a:r>
              <a:rPr lang="en-US" noProof="0" dirty="0" smtClean="0"/>
              <a:t>6th text layer</a:t>
            </a:r>
          </a:p>
          <a:p>
            <a:pPr lvl="6"/>
            <a:r>
              <a:rPr lang="en-US" noProof="0" dirty="0" smtClean="0"/>
              <a:t>7th text layer</a:t>
            </a:r>
          </a:p>
          <a:p>
            <a:pPr lvl="7"/>
            <a:r>
              <a:rPr lang="en-US" noProof="0" dirty="0" smtClean="0"/>
              <a:t>8th text layer</a:t>
            </a:r>
          </a:p>
          <a:p>
            <a:pPr lvl="8"/>
            <a:r>
              <a:rPr lang="en-US" noProof="0" dirty="0" smtClean="0"/>
              <a:t>9th text layer</a:t>
            </a:r>
            <a:endParaRPr lang="en-US" noProof="0" dirty="0"/>
          </a:p>
        </p:txBody>
      </p:sp>
      <p:sp>
        <p:nvSpPr>
          <p:cNvPr id="6" name="Picture Placeholder 6"/>
          <p:cNvSpPr>
            <a:spLocks noGrp="1"/>
          </p:cNvSpPr>
          <p:nvPr>
            <p:ph type="pic" sz="quarter" idx="13"/>
          </p:nvPr>
        </p:nvSpPr>
        <p:spPr bwMode="gray">
          <a:xfrm>
            <a:off x="395288" y="1052512"/>
            <a:ext cx="2663825"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4" name="Date Placeholder 3"/>
          <p:cNvSpPr>
            <a:spLocks noGrp="1"/>
          </p:cNvSpPr>
          <p:nvPr>
            <p:ph type="dt" sz="half" idx="14"/>
          </p:nvPr>
        </p:nvSpPr>
        <p:spPr bwMode="gray"/>
        <p:txBody>
          <a:bodyPr/>
          <a:lstStyle/>
          <a:p>
            <a:endParaRPr lang="en-US" noProof="0" dirty="0"/>
          </a:p>
        </p:txBody>
      </p:sp>
    </p:spTree>
    <p:extLst>
      <p:ext uri="{BB962C8B-B14F-4D97-AF65-F5344CB8AC3E}">
        <p14:creationId xmlns:p14="http://schemas.microsoft.com/office/powerpoint/2010/main" val="3256326270"/>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10" name="Textplatzhalter 9"/>
          <p:cNvSpPr>
            <a:spLocks noGrp="1"/>
          </p:cNvSpPr>
          <p:nvPr>
            <p:ph type="body" sz="quarter" idx="12" hasCustomPrompt="1"/>
          </p:nvPr>
        </p:nvSpPr>
        <p:spPr bwMode="gray">
          <a:xfrm>
            <a:off x="4643438" y="1052513"/>
            <a:ext cx="4102256" cy="5256212"/>
          </a:xfrm>
        </p:spPr>
        <p:txBody>
          <a:bodyPr/>
          <a:lstStyle/>
          <a:p>
            <a:pPr lvl="0"/>
            <a:r>
              <a:rPr lang="en-US" noProof="0" dirty="0" smtClean="0"/>
              <a:t>Write your text</a:t>
            </a:r>
          </a:p>
          <a:p>
            <a:pPr lvl="1"/>
            <a:r>
              <a:rPr lang="en-US" noProof="0" dirty="0" smtClean="0"/>
              <a:t>2nd text layer</a:t>
            </a:r>
          </a:p>
          <a:p>
            <a:pPr lvl="2"/>
            <a:r>
              <a:rPr lang="en-US" noProof="0" dirty="0" smtClean="0"/>
              <a:t>3rd text layer</a:t>
            </a:r>
          </a:p>
          <a:p>
            <a:pPr lvl="3"/>
            <a:r>
              <a:rPr lang="en-US" noProof="0" dirty="0" smtClean="0"/>
              <a:t>4th text layer</a:t>
            </a:r>
          </a:p>
          <a:p>
            <a:pPr lvl="4"/>
            <a:r>
              <a:rPr lang="en-US" noProof="0" dirty="0" smtClean="0"/>
              <a:t>5th text layer</a:t>
            </a:r>
          </a:p>
          <a:p>
            <a:pPr lvl="5"/>
            <a:r>
              <a:rPr lang="en-US" noProof="0" dirty="0" smtClean="0"/>
              <a:t>6th text layer</a:t>
            </a:r>
          </a:p>
          <a:p>
            <a:pPr lvl="6"/>
            <a:r>
              <a:rPr lang="en-US" noProof="0" dirty="0" smtClean="0"/>
              <a:t>7th text layer</a:t>
            </a:r>
          </a:p>
          <a:p>
            <a:pPr lvl="7"/>
            <a:r>
              <a:rPr lang="en-US" noProof="0" dirty="0" smtClean="0"/>
              <a:t>8th text layer</a:t>
            </a:r>
          </a:p>
          <a:p>
            <a:pPr lvl="8"/>
            <a:r>
              <a:rPr lang="en-US" noProof="0" dirty="0" smtClean="0"/>
              <a:t>9th text layer</a:t>
            </a:r>
            <a:endParaRPr lang="en-US" noProof="0" dirty="0"/>
          </a:p>
        </p:txBody>
      </p:sp>
      <p:sp>
        <p:nvSpPr>
          <p:cNvPr id="6" name="Picture Placeholder 6"/>
          <p:cNvSpPr>
            <a:spLocks noGrp="1"/>
          </p:cNvSpPr>
          <p:nvPr>
            <p:ph type="pic" sz="quarter" idx="13"/>
          </p:nvPr>
        </p:nvSpPr>
        <p:spPr bwMode="gray">
          <a:xfrm>
            <a:off x="395288" y="1052512"/>
            <a:ext cx="4105275"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3" name="Date Placeholder 2"/>
          <p:cNvSpPr>
            <a:spLocks noGrp="1"/>
          </p:cNvSpPr>
          <p:nvPr>
            <p:ph type="dt" sz="half" idx="14"/>
          </p:nvPr>
        </p:nvSpPr>
        <p:spPr bwMode="gray"/>
        <p:txBody>
          <a:bodyPr/>
          <a:lstStyle/>
          <a:p>
            <a:endParaRPr lang="en-US" noProof="0" dirty="0"/>
          </a:p>
        </p:txBody>
      </p:sp>
    </p:spTree>
    <p:extLst>
      <p:ext uri="{BB962C8B-B14F-4D97-AF65-F5344CB8AC3E}">
        <p14:creationId xmlns:p14="http://schemas.microsoft.com/office/powerpoint/2010/main" val="377782096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10" name="Textplatzhalter 9"/>
          <p:cNvSpPr>
            <a:spLocks noGrp="1"/>
          </p:cNvSpPr>
          <p:nvPr>
            <p:ph type="body" sz="quarter" idx="12" hasCustomPrompt="1"/>
          </p:nvPr>
        </p:nvSpPr>
        <p:spPr bwMode="gray">
          <a:xfrm>
            <a:off x="6084888" y="1052513"/>
            <a:ext cx="2660806" cy="5256212"/>
          </a:xfrm>
        </p:spPr>
        <p:txBody>
          <a:bodyPr/>
          <a:lstStyle/>
          <a:p>
            <a:pPr lvl="0"/>
            <a:r>
              <a:rPr lang="en-US" noProof="0" dirty="0" smtClean="0"/>
              <a:t>Write your text</a:t>
            </a:r>
          </a:p>
          <a:p>
            <a:pPr lvl="1"/>
            <a:r>
              <a:rPr lang="en-US" noProof="0" dirty="0" smtClean="0"/>
              <a:t>2nd text layer</a:t>
            </a:r>
          </a:p>
          <a:p>
            <a:pPr lvl="2"/>
            <a:r>
              <a:rPr lang="en-US" noProof="0" dirty="0" smtClean="0"/>
              <a:t>3rd text layer</a:t>
            </a:r>
          </a:p>
          <a:p>
            <a:pPr lvl="3"/>
            <a:r>
              <a:rPr lang="en-US" noProof="0" dirty="0" smtClean="0"/>
              <a:t>4th text layer</a:t>
            </a:r>
          </a:p>
          <a:p>
            <a:pPr lvl="4"/>
            <a:r>
              <a:rPr lang="en-US" noProof="0" dirty="0" smtClean="0"/>
              <a:t>5th text layer</a:t>
            </a:r>
          </a:p>
          <a:p>
            <a:pPr lvl="5"/>
            <a:r>
              <a:rPr lang="en-US" noProof="0" dirty="0" smtClean="0"/>
              <a:t>6th text layer</a:t>
            </a:r>
          </a:p>
          <a:p>
            <a:pPr lvl="6"/>
            <a:r>
              <a:rPr lang="en-US" noProof="0" dirty="0" smtClean="0"/>
              <a:t>7th text layer</a:t>
            </a:r>
          </a:p>
          <a:p>
            <a:pPr lvl="7"/>
            <a:r>
              <a:rPr lang="en-US" noProof="0" dirty="0" smtClean="0"/>
              <a:t>8th text layer</a:t>
            </a:r>
          </a:p>
          <a:p>
            <a:pPr lvl="8"/>
            <a:r>
              <a:rPr lang="en-US" noProof="0" dirty="0" smtClean="0"/>
              <a:t>9th text layer</a:t>
            </a:r>
            <a:endParaRPr lang="en-US" noProof="0" dirty="0"/>
          </a:p>
        </p:txBody>
      </p:sp>
      <p:sp>
        <p:nvSpPr>
          <p:cNvPr id="6" name="Picture Placeholder 6"/>
          <p:cNvSpPr>
            <a:spLocks noGrp="1"/>
          </p:cNvSpPr>
          <p:nvPr>
            <p:ph type="pic" sz="quarter" idx="13"/>
          </p:nvPr>
        </p:nvSpPr>
        <p:spPr bwMode="gray">
          <a:xfrm>
            <a:off x="395288" y="1052512"/>
            <a:ext cx="5508625"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4" name="Date Placeholder 3"/>
          <p:cNvSpPr>
            <a:spLocks noGrp="1"/>
          </p:cNvSpPr>
          <p:nvPr>
            <p:ph type="dt" sz="half" idx="14"/>
          </p:nvPr>
        </p:nvSpPr>
        <p:spPr bwMode="gray"/>
        <p:txBody>
          <a:bodyPr/>
          <a:lstStyle/>
          <a:p>
            <a:endParaRPr lang="en-US" noProof="0" dirty="0"/>
          </a:p>
        </p:txBody>
      </p:sp>
      <p:sp>
        <p:nvSpPr>
          <p:cNvPr id="5" name="Footer Placeholder 4"/>
          <p:cNvSpPr>
            <a:spLocks noGrp="1"/>
          </p:cNvSpPr>
          <p:nvPr>
            <p:ph type="ftr" sz="quarter" idx="15"/>
          </p:nvPr>
        </p:nvSpPr>
        <p:spPr bwMode="gray"/>
        <p:txBody>
          <a:bodyPr/>
          <a:lstStyle/>
          <a:p>
            <a:r>
              <a:rPr lang="en-US" noProof="0" dirty="0" smtClean="0"/>
              <a:t>File Name</a:t>
            </a:r>
            <a:endParaRPr lang="en-US" noProof="0" dirty="0"/>
          </a:p>
        </p:txBody>
      </p:sp>
      <p:sp>
        <p:nvSpPr>
          <p:cNvPr id="9" name="Slide Number Placeholder 8"/>
          <p:cNvSpPr>
            <a:spLocks noGrp="1"/>
          </p:cNvSpPr>
          <p:nvPr>
            <p:ph type="sldNum" sz="quarter" idx="16"/>
          </p:nvPr>
        </p:nvSpPr>
        <p:spPr bwMode="gray"/>
        <p:txBody>
          <a:bodyPr/>
          <a:lstStyle/>
          <a:p>
            <a:r>
              <a:rPr lang="en-US" noProof="0" dirty="0" smtClean="0"/>
              <a:t>Page </a:t>
            </a:r>
            <a:fld id="{D126E9C2-5A98-4FED-83CF-BD978A28F274}" type="slidenum">
              <a:rPr lang="en-US" noProof="0" smtClean="0"/>
              <a:pPr/>
              <a:t>‹#›</a:t>
            </a:fld>
            <a:endParaRPr lang="en-US" noProof="0" dirty="0"/>
          </a:p>
        </p:txBody>
      </p:sp>
    </p:spTree>
    <p:extLst>
      <p:ext uri="{BB962C8B-B14F-4D97-AF65-F5344CB8AC3E}">
        <p14:creationId xmlns:p14="http://schemas.microsoft.com/office/powerpoint/2010/main" val="3957672355"/>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2" name="Titel 1"/>
          <p:cNvSpPr>
            <a:spLocks noGrp="1"/>
          </p:cNvSpPr>
          <p:nvPr>
            <p:ph type="title"/>
          </p:nvPr>
        </p:nvSpPr>
        <p:spPr bwMode="gray">
          <a:xfrm>
            <a:off x="395288" y="142877"/>
            <a:ext cx="6481762" cy="909635"/>
          </a:xfrm>
        </p:spPr>
        <p:txBody>
          <a:bodyPr/>
          <a:lstStyle/>
          <a:p>
            <a:r>
              <a:rPr lang="en-US" altLang="zh-CN" noProof="0" smtClean="0"/>
              <a:t>Click to edit Master title style</a:t>
            </a:r>
            <a:endParaRPr lang="en-US" noProof="0" dirty="0"/>
          </a:p>
        </p:txBody>
      </p:sp>
      <p:sp>
        <p:nvSpPr>
          <p:cNvPr id="7" name="Fußzeilenplatzhalter 6"/>
          <p:cNvSpPr>
            <a:spLocks noGrp="1"/>
          </p:cNvSpPr>
          <p:nvPr>
            <p:ph type="ftr" sz="quarter" idx="10"/>
          </p:nvPr>
        </p:nvSpPr>
        <p:spPr bwMode="gray"/>
        <p:txBody>
          <a:bodyPr/>
          <a:lstStyle/>
          <a:p>
            <a:r>
              <a:rPr lang="en-US" noProof="0" dirty="0" smtClean="0"/>
              <a:t>File Name</a:t>
            </a:r>
            <a:endParaRPr lang="en-US" noProof="0" dirty="0"/>
          </a:p>
        </p:txBody>
      </p:sp>
      <p:sp>
        <p:nvSpPr>
          <p:cNvPr id="8" name="Foliennummernplatzhalter 7"/>
          <p:cNvSpPr>
            <a:spLocks noGrp="1"/>
          </p:cNvSpPr>
          <p:nvPr>
            <p:ph type="sldNum" sz="quarter" idx="11"/>
          </p:nvPr>
        </p:nvSpPr>
        <p:spPr bwMode="gray"/>
        <p:txBody>
          <a:bodyPr/>
          <a:lstStyle/>
          <a:p>
            <a:r>
              <a:rPr lang="en-US" noProof="0" dirty="0" smtClean="0"/>
              <a:t>Page </a:t>
            </a:r>
            <a:fld id="{D126E9C2-5A98-4FED-83CF-BD978A28F274}" type="slidenum">
              <a:rPr lang="en-US" noProof="0" smtClean="0"/>
              <a:pPr/>
              <a:t>‹#›</a:t>
            </a:fld>
            <a:endParaRPr lang="en-US" noProof="0" dirty="0"/>
          </a:p>
        </p:txBody>
      </p:sp>
      <p:sp>
        <p:nvSpPr>
          <p:cNvPr id="10" name="Textplatzhalter 9"/>
          <p:cNvSpPr>
            <a:spLocks noGrp="1"/>
          </p:cNvSpPr>
          <p:nvPr>
            <p:ph type="body" sz="quarter" idx="12" hasCustomPrompt="1"/>
          </p:nvPr>
        </p:nvSpPr>
        <p:spPr bwMode="gray">
          <a:xfrm>
            <a:off x="6877050" y="1052513"/>
            <a:ext cx="1868644" cy="5256212"/>
          </a:xfrm>
        </p:spPr>
        <p:txBody>
          <a:bodyPr lIns="144000"/>
          <a:lstStyle>
            <a:lvl1pPr>
              <a:defRPr sz="1600"/>
            </a:lvl1pPr>
            <a:lvl2pPr>
              <a:defRPr sz="1600"/>
            </a:lvl2pPr>
            <a:lvl3pPr>
              <a:defRPr sz="1600"/>
            </a:lvl3pPr>
            <a:lvl4pPr>
              <a:defRPr sz="1600"/>
            </a:lvl4pPr>
            <a:lvl5pPr>
              <a:defRPr sz="1600"/>
            </a:lvl5pPr>
            <a:lvl6pPr>
              <a:defRPr sz="1600"/>
            </a:lvl6pPr>
            <a:lvl7pPr>
              <a:defRPr sz="2000"/>
            </a:lvl7pPr>
            <a:lvl8pPr>
              <a:defRPr sz="1200"/>
            </a:lvl8pPr>
            <a:lvl9pPr>
              <a:defRPr sz="1200"/>
            </a:lvl9pPr>
          </a:lstStyle>
          <a:p>
            <a:pPr lvl="0"/>
            <a:r>
              <a:rPr lang="en-US" noProof="0" dirty="0" smtClean="0"/>
              <a:t>Write your text</a:t>
            </a:r>
          </a:p>
          <a:p>
            <a:pPr lvl="1"/>
            <a:r>
              <a:rPr lang="en-US" noProof="0" dirty="0" smtClean="0"/>
              <a:t>2nd text layer</a:t>
            </a:r>
          </a:p>
          <a:p>
            <a:pPr lvl="2"/>
            <a:r>
              <a:rPr lang="en-US" noProof="0" dirty="0" smtClean="0"/>
              <a:t>3rd text layer</a:t>
            </a:r>
          </a:p>
          <a:p>
            <a:pPr lvl="3"/>
            <a:r>
              <a:rPr lang="en-US" noProof="0" dirty="0" smtClean="0"/>
              <a:t>4th text layer</a:t>
            </a:r>
          </a:p>
          <a:p>
            <a:pPr lvl="4"/>
            <a:r>
              <a:rPr lang="en-US" noProof="0" dirty="0" smtClean="0"/>
              <a:t>5th text layer</a:t>
            </a:r>
          </a:p>
          <a:p>
            <a:pPr lvl="5"/>
            <a:r>
              <a:rPr lang="en-US" noProof="0" dirty="0" smtClean="0"/>
              <a:t>6th text layer</a:t>
            </a:r>
          </a:p>
          <a:p>
            <a:pPr lvl="6"/>
            <a:r>
              <a:rPr lang="en-US" noProof="0" dirty="0" smtClean="0"/>
              <a:t>7th text layer</a:t>
            </a:r>
          </a:p>
          <a:p>
            <a:pPr lvl="7"/>
            <a:r>
              <a:rPr lang="en-US" noProof="0" dirty="0" smtClean="0"/>
              <a:t>8th text layer</a:t>
            </a:r>
          </a:p>
          <a:p>
            <a:pPr lvl="8"/>
            <a:r>
              <a:rPr lang="en-US" noProof="0" dirty="0" smtClean="0"/>
              <a:t>9th text layer</a:t>
            </a:r>
            <a:endParaRPr lang="en-US" noProof="0" dirty="0"/>
          </a:p>
        </p:txBody>
      </p:sp>
      <p:sp>
        <p:nvSpPr>
          <p:cNvPr id="6" name="Picture Placeholder 6"/>
          <p:cNvSpPr>
            <a:spLocks noGrp="1"/>
          </p:cNvSpPr>
          <p:nvPr>
            <p:ph type="pic" sz="quarter" idx="13"/>
          </p:nvPr>
        </p:nvSpPr>
        <p:spPr bwMode="gray">
          <a:xfrm>
            <a:off x="395288" y="1052512"/>
            <a:ext cx="6481762" cy="5256213"/>
          </a:xfrm>
          <a:solidFill>
            <a:schemeClr val="tx2"/>
          </a:solidFill>
        </p:spPr>
        <p:txBody>
          <a:bodyPr anchor="ctr"/>
          <a:lstStyle>
            <a:lvl1pPr algn="ctr">
              <a:defRPr i="1"/>
            </a:lvl1pPr>
          </a:lstStyle>
          <a:p>
            <a:r>
              <a:rPr lang="en-US" altLang="zh-CN" noProof="0" smtClean="0"/>
              <a:t>Click icon to add picture</a:t>
            </a:r>
            <a:endParaRPr lang="en-US" noProof="0" dirty="0"/>
          </a:p>
        </p:txBody>
      </p:sp>
      <p:sp>
        <p:nvSpPr>
          <p:cNvPr id="3" name="Date Placeholder 2"/>
          <p:cNvSpPr>
            <a:spLocks noGrp="1"/>
          </p:cNvSpPr>
          <p:nvPr>
            <p:ph type="dt" sz="half" idx="14"/>
          </p:nvPr>
        </p:nvSpPr>
        <p:spPr bwMode="gray"/>
        <p:txBody>
          <a:bodyPr/>
          <a:lstStyle/>
          <a:p>
            <a:endParaRPr lang="en-US" noProof="0" dirty="0"/>
          </a:p>
        </p:txBody>
      </p:sp>
    </p:spTree>
    <p:extLst>
      <p:ext uri="{BB962C8B-B14F-4D97-AF65-F5344CB8AC3E}">
        <p14:creationId xmlns:p14="http://schemas.microsoft.com/office/powerpoint/2010/main" val="3775404146"/>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395288" y="142877"/>
            <a:ext cx="6481762" cy="909635"/>
          </a:xfrm>
          <a:prstGeom prst="rect">
            <a:avLst/>
          </a:prstGeom>
        </p:spPr>
        <p:txBody>
          <a:bodyPr vert="horz" lIns="0" tIns="0" rIns="0" bIns="0" rtlCol="0" anchor="t">
            <a:noAutofit/>
          </a:body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3" name="Textplatzhalter 2"/>
          <p:cNvSpPr>
            <a:spLocks noGrp="1"/>
          </p:cNvSpPr>
          <p:nvPr>
            <p:ph type="body" idx="1"/>
          </p:nvPr>
        </p:nvSpPr>
        <p:spPr bwMode="gray">
          <a:xfrm>
            <a:off x="395288" y="1052513"/>
            <a:ext cx="8353424" cy="5253037"/>
          </a:xfrm>
          <a:prstGeom prst="rect">
            <a:avLst/>
          </a:prstGeom>
        </p:spPr>
        <p:txBody>
          <a:bodyPr vert="horz" lIns="0" tIns="0" rIns="0" bIns="0" rtlCol="0">
            <a:noAutofit/>
          </a:bodyPr>
          <a:lstStyle/>
          <a:p>
            <a:pPr lvl="0"/>
            <a:r>
              <a:rPr lang="en-US" noProof="0" dirty="0" smtClean="0"/>
              <a:t>Write your text</a:t>
            </a:r>
          </a:p>
          <a:p>
            <a:pPr lvl="1"/>
            <a:r>
              <a:rPr lang="en-US" noProof="0" dirty="0" smtClean="0"/>
              <a:t>2nd text layer</a:t>
            </a:r>
          </a:p>
          <a:p>
            <a:pPr lvl="2"/>
            <a:r>
              <a:rPr lang="en-US" noProof="0" dirty="0" smtClean="0"/>
              <a:t>3rd text layer</a:t>
            </a:r>
          </a:p>
          <a:p>
            <a:pPr lvl="3"/>
            <a:r>
              <a:rPr lang="en-US" noProof="0" dirty="0" smtClean="0"/>
              <a:t>4th text layer</a:t>
            </a:r>
          </a:p>
          <a:p>
            <a:pPr lvl="4"/>
            <a:r>
              <a:rPr lang="en-US" noProof="0" dirty="0" smtClean="0"/>
              <a:t>5th text layer</a:t>
            </a:r>
          </a:p>
          <a:p>
            <a:pPr lvl="5"/>
            <a:r>
              <a:rPr lang="en-US" noProof="0" dirty="0" smtClean="0"/>
              <a:t>6th text layer</a:t>
            </a:r>
          </a:p>
          <a:p>
            <a:pPr lvl="6"/>
            <a:r>
              <a:rPr lang="en-US" noProof="0" dirty="0" smtClean="0"/>
              <a:t>7th text layer</a:t>
            </a:r>
          </a:p>
          <a:p>
            <a:pPr lvl="7"/>
            <a:r>
              <a:rPr lang="en-US" noProof="0" dirty="0" smtClean="0"/>
              <a:t>8th text layer</a:t>
            </a:r>
          </a:p>
          <a:p>
            <a:pPr lvl="8"/>
            <a:r>
              <a:rPr lang="en-US" noProof="0" dirty="0" smtClean="0"/>
              <a:t>9th text layer</a:t>
            </a:r>
            <a:endParaRPr lang="en-US" noProof="0" dirty="0"/>
          </a:p>
        </p:txBody>
      </p:sp>
      <p:sp>
        <p:nvSpPr>
          <p:cNvPr id="5" name="Fußzeilenplatzhalter 4"/>
          <p:cNvSpPr>
            <a:spLocks noGrp="1"/>
          </p:cNvSpPr>
          <p:nvPr>
            <p:ph type="ftr" sz="quarter" idx="3"/>
          </p:nvPr>
        </p:nvSpPr>
        <p:spPr bwMode="gray">
          <a:xfrm>
            <a:off x="1079499" y="6524625"/>
            <a:ext cx="6623845" cy="180976"/>
          </a:xfrm>
          <a:prstGeom prst="rect">
            <a:avLst/>
          </a:prstGeom>
        </p:spPr>
        <p:txBody>
          <a:bodyPr vert="horz" lIns="0" tIns="0" rIns="0" bIns="0" rtlCol="0" anchor="b"/>
          <a:lstStyle>
            <a:lvl1pPr algn="l">
              <a:defRPr sz="900">
                <a:solidFill>
                  <a:schemeClr val="tx1"/>
                </a:solidFill>
              </a:defRPr>
            </a:lvl1pPr>
          </a:lstStyle>
          <a:p>
            <a:r>
              <a:rPr lang="en-US" noProof="0" dirty="0" smtClean="0"/>
              <a:t>File Name</a:t>
            </a:r>
            <a:endParaRPr lang="en-US" noProof="0" dirty="0"/>
          </a:p>
        </p:txBody>
      </p:sp>
      <p:sp>
        <p:nvSpPr>
          <p:cNvPr id="6" name="Foliennummernplatzhalter 5"/>
          <p:cNvSpPr>
            <a:spLocks noGrp="1"/>
          </p:cNvSpPr>
          <p:nvPr>
            <p:ph type="sldNum" sz="quarter" idx="4"/>
          </p:nvPr>
        </p:nvSpPr>
        <p:spPr bwMode="gray">
          <a:xfrm>
            <a:off x="395288" y="6524626"/>
            <a:ext cx="684212" cy="180974"/>
          </a:xfrm>
          <a:prstGeom prst="rect">
            <a:avLst/>
          </a:prstGeom>
        </p:spPr>
        <p:txBody>
          <a:bodyPr vert="horz" lIns="0" tIns="0" rIns="0" bIns="0" rtlCol="0" anchor="b"/>
          <a:lstStyle>
            <a:lvl1pPr algn="l">
              <a:defRPr sz="900">
                <a:solidFill>
                  <a:schemeClr val="tx1"/>
                </a:solidFill>
              </a:defRPr>
            </a:lvl1pPr>
          </a:lstStyle>
          <a:p>
            <a:r>
              <a:rPr lang="en-US" noProof="0" dirty="0" smtClean="0"/>
              <a:t>Page </a:t>
            </a:r>
            <a:fld id="{D126E9C2-5A98-4FED-83CF-BD978A28F274}" type="slidenum">
              <a:rPr lang="en-US" noProof="0" smtClean="0"/>
              <a:pPr/>
              <a:t>‹#›</a:t>
            </a:fld>
            <a:endParaRPr lang="en-US" noProof="0" dirty="0"/>
          </a:p>
        </p:txBody>
      </p:sp>
      <p:sp>
        <p:nvSpPr>
          <p:cNvPr id="4" name="Date Placeholder 3"/>
          <p:cNvSpPr>
            <a:spLocks noGrp="1"/>
          </p:cNvSpPr>
          <p:nvPr>
            <p:ph type="dt" sz="half" idx="2"/>
          </p:nvPr>
        </p:nvSpPr>
        <p:spPr bwMode="gray">
          <a:xfrm>
            <a:off x="7703345" y="6524625"/>
            <a:ext cx="1044574" cy="180976"/>
          </a:xfrm>
          <a:prstGeom prst="rect">
            <a:avLst/>
          </a:prstGeom>
        </p:spPr>
        <p:txBody>
          <a:bodyPr vert="horz" lIns="0" tIns="0" rIns="0" bIns="0" rtlCol="0" anchor="b"/>
          <a:lstStyle>
            <a:lvl1pPr marL="0" algn="r" defTabSz="914400" rtl="0" eaLnBrk="1" latinLnBrk="0" hangingPunct="1">
              <a:defRPr lang="en-US" sz="900" kern="1200" smtClean="0">
                <a:solidFill>
                  <a:schemeClr val="tx1"/>
                </a:solidFill>
                <a:latin typeface="+mn-lt"/>
                <a:ea typeface="+mn-ea"/>
                <a:cs typeface="+mn-cs"/>
              </a:defRPr>
            </a:lvl1pPr>
          </a:lstStyle>
          <a:p>
            <a:endParaRPr lang="en-US" noProof="0" dirty="0"/>
          </a:p>
        </p:txBody>
      </p:sp>
      <p:grpSp>
        <p:nvGrpSpPr>
          <p:cNvPr id="7" name="Group 6"/>
          <p:cNvGrpSpPr/>
          <p:nvPr/>
        </p:nvGrpSpPr>
        <p:grpSpPr bwMode="gray">
          <a:xfrm>
            <a:off x="7704138" y="217488"/>
            <a:ext cx="1044575" cy="416595"/>
            <a:chOff x="7704138" y="217488"/>
            <a:chExt cx="1044575" cy="416595"/>
          </a:xfrm>
        </p:grpSpPr>
        <p:sp>
          <p:nvSpPr>
            <p:cNvPr id="12" name="Freeform 10"/>
            <p:cNvSpPr>
              <a:spLocks noEditPoints="1"/>
            </p:cNvSpPr>
            <p:nvPr userDrawn="1"/>
          </p:nvSpPr>
          <p:spPr bwMode="gray">
            <a:xfrm>
              <a:off x="7704138" y="217488"/>
              <a:ext cx="1044575" cy="223838"/>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pic>
          <p:nvPicPr>
            <p:cNvPr id="104" name="Picture 10" descr="oe_balz_pos_rgb"/>
            <p:cNvPicPr>
              <a:picLocks noChangeAspect="1" noChangeArrowheads="1"/>
            </p:cNvPicPr>
            <p:nvPr userDrawn="1">
              <p:custDataLst>
                <p:tags r:id="rId23"/>
              </p:custDataLst>
            </p:nvPr>
          </p:nvPicPr>
          <p:blipFill rotWithShape="1">
            <a:blip r:embed="rId24"/>
            <a:srcRect t="53761"/>
            <a:stretch/>
          </p:blipFill>
          <p:spPr bwMode="gray">
            <a:xfrm>
              <a:off x="7704138" y="441324"/>
              <a:ext cx="1044575" cy="192759"/>
            </a:xfrm>
            <a:prstGeom prst="rect">
              <a:avLst/>
            </a:prstGeom>
            <a:noFill/>
          </p:spPr>
        </p:pic>
      </p:grpSp>
      <p:grpSp>
        <p:nvGrpSpPr>
          <p:cNvPr id="105" name="Group 140"/>
          <p:cNvGrpSpPr>
            <a:grpSpLocks/>
          </p:cNvGrpSpPr>
          <p:nvPr/>
        </p:nvGrpSpPr>
        <p:grpSpPr bwMode="gray">
          <a:xfrm>
            <a:off x="-981075" y="-169863"/>
            <a:ext cx="11133138" cy="7216776"/>
            <a:chOff x="-618" y="-107"/>
            <a:chExt cx="7013" cy="4546"/>
          </a:xfrm>
        </p:grpSpPr>
        <p:grpSp>
          <p:nvGrpSpPr>
            <p:cNvPr id="106" name="Group 131"/>
            <p:cNvGrpSpPr>
              <a:grpSpLocks/>
            </p:cNvGrpSpPr>
            <p:nvPr/>
          </p:nvGrpSpPr>
          <p:grpSpPr bwMode="gray">
            <a:xfrm>
              <a:off x="-618" y="-107"/>
              <a:ext cx="7013" cy="4546"/>
              <a:chOff x="-618" y="-107"/>
              <a:chExt cx="7013" cy="4546"/>
            </a:xfrm>
          </p:grpSpPr>
          <p:sp>
            <p:nvSpPr>
              <p:cNvPr id="115" name="Text Box 16"/>
              <p:cNvSpPr txBox="1">
                <a:spLocks noChangeArrowheads="1"/>
              </p:cNvSpPr>
              <p:nvPr userDrawn="1"/>
            </p:nvSpPr>
            <p:spPr bwMode="gray">
              <a:xfrm>
                <a:off x="288" y="-107"/>
                <a:ext cx="1753" cy="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smtClean="0">
                    <a:ln>
                      <a:noFill/>
                    </a:ln>
                    <a:solidFill>
                      <a:srgbClr val="EB0000"/>
                    </a:solidFill>
                    <a:effectLst/>
                    <a:uLnTx/>
                    <a:uFillTx/>
                    <a:latin typeface="Arial" pitchFamily="34" charset="0"/>
                    <a:cs typeface="Arial" pitchFamily="34" charset="0"/>
                  </a:rPr>
                  <a:t>It's not allowed to change the master </a:t>
                </a:r>
              </a:p>
            </p:txBody>
          </p:sp>
          <p:sp>
            <p:nvSpPr>
              <p:cNvPr id="116" name="Text Box 60"/>
              <p:cNvSpPr txBox="1">
                <a:spLocks noChangeArrowheads="1"/>
              </p:cNvSpPr>
              <p:nvPr userDrawn="1"/>
            </p:nvSpPr>
            <p:spPr bwMode="gray">
              <a:xfrm>
                <a:off x="288" y="-107"/>
                <a:ext cx="1753" cy="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smtClean="0">
                    <a:ln>
                      <a:noFill/>
                    </a:ln>
                    <a:solidFill>
                      <a:srgbClr val="EB0000"/>
                    </a:solidFill>
                    <a:effectLst/>
                    <a:uLnTx/>
                    <a:uFillTx/>
                    <a:latin typeface="Arial" pitchFamily="34" charset="0"/>
                    <a:cs typeface="Arial" pitchFamily="34" charset="0"/>
                  </a:rPr>
                  <a:t>It's not allowed to change the master </a:t>
                </a:r>
              </a:p>
            </p:txBody>
          </p:sp>
          <p:grpSp>
            <p:nvGrpSpPr>
              <p:cNvPr id="117" name="Group 61"/>
              <p:cNvGrpSpPr>
                <a:grpSpLocks/>
              </p:cNvGrpSpPr>
              <p:nvPr userDrawn="1"/>
            </p:nvGrpSpPr>
            <p:grpSpPr bwMode="gray">
              <a:xfrm>
                <a:off x="249" y="4355"/>
                <a:ext cx="5262" cy="45"/>
                <a:chOff x="249" y="-63"/>
                <a:chExt cx="5262" cy="45"/>
              </a:xfrm>
            </p:grpSpPr>
            <p:sp>
              <p:nvSpPr>
                <p:cNvPr id="279" name="Line 62"/>
                <p:cNvSpPr>
                  <a:spLocks noChangeShapeType="1"/>
                </p:cNvSpPr>
                <p:nvPr userDrawn="1"/>
              </p:nvSpPr>
              <p:spPr bwMode="gray">
                <a:xfrm rot="5400000">
                  <a:off x="226"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80" name="Line 63"/>
                <p:cNvSpPr>
                  <a:spLocks noChangeShapeType="1"/>
                </p:cNvSpPr>
                <p:nvPr userDrawn="1"/>
              </p:nvSpPr>
              <p:spPr bwMode="gray">
                <a:xfrm rot="5400000">
                  <a:off x="2811"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81" name="Line 64"/>
                <p:cNvSpPr>
                  <a:spLocks noChangeShapeType="1"/>
                </p:cNvSpPr>
                <p:nvPr userDrawn="1"/>
              </p:nvSpPr>
              <p:spPr bwMode="gray">
                <a:xfrm rot="5400000">
                  <a:off x="2902"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82" name="Line 65"/>
                <p:cNvSpPr>
                  <a:spLocks noChangeShapeType="1"/>
                </p:cNvSpPr>
                <p:nvPr userDrawn="1"/>
              </p:nvSpPr>
              <p:spPr bwMode="gray">
                <a:xfrm rot="5400000">
                  <a:off x="4309"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83" name="Line 66"/>
                <p:cNvSpPr>
                  <a:spLocks noChangeShapeType="1"/>
                </p:cNvSpPr>
                <p:nvPr userDrawn="1"/>
              </p:nvSpPr>
              <p:spPr bwMode="gray">
                <a:xfrm rot="5400000">
                  <a:off x="4830"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84" name="Line 67"/>
                <p:cNvSpPr>
                  <a:spLocks noChangeShapeType="1"/>
                </p:cNvSpPr>
                <p:nvPr userDrawn="1"/>
              </p:nvSpPr>
              <p:spPr bwMode="gray">
                <a:xfrm rot="5400000">
                  <a:off x="5488"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grpSp>
          <p:sp>
            <p:nvSpPr>
              <p:cNvPr id="118" name="Text Box 68"/>
              <p:cNvSpPr txBox="1">
                <a:spLocks noChangeArrowheads="1"/>
              </p:cNvSpPr>
              <p:nvPr userDrawn="1"/>
            </p:nvSpPr>
            <p:spPr bwMode="gray">
              <a:xfrm>
                <a:off x="4332" y="4355"/>
                <a:ext cx="521"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safe space</a:t>
                </a:r>
              </a:p>
            </p:txBody>
          </p:sp>
          <p:grpSp>
            <p:nvGrpSpPr>
              <p:cNvPr id="119" name="Group 69"/>
              <p:cNvGrpSpPr>
                <a:grpSpLocks/>
              </p:cNvGrpSpPr>
              <p:nvPr userDrawn="1"/>
            </p:nvGrpSpPr>
            <p:grpSpPr bwMode="gray">
              <a:xfrm>
                <a:off x="-63" y="276"/>
                <a:ext cx="45" cy="3948"/>
                <a:chOff x="-63" y="276"/>
                <a:chExt cx="45" cy="3948"/>
              </a:xfrm>
            </p:grpSpPr>
            <p:sp>
              <p:nvSpPr>
                <p:cNvPr id="273" name="Line 70"/>
                <p:cNvSpPr>
                  <a:spLocks noChangeShapeType="1"/>
                </p:cNvSpPr>
                <p:nvPr userDrawn="1"/>
              </p:nvSpPr>
              <p:spPr bwMode="gray">
                <a:xfrm>
                  <a:off x="-63" y="276"/>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74" name="Line 71"/>
                <p:cNvSpPr>
                  <a:spLocks noChangeShapeType="1"/>
                </p:cNvSpPr>
                <p:nvPr userDrawn="1"/>
              </p:nvSpPr>
              <p:spPr bwMode="gray">
                <a:xfrm>
                  <a:off x="-63" y="663"/>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75" name="Line 72"/>
                <p:cNvSpPr>
                  <a:spLocks noChangeShapeType="1"/>
                </p:cNvSpPr>
                <p:nvPr userDrawn="1"/>
              </p:nvSpPr>
              <p:spPr bwMode="gray">
                <a:xfrm>
                  <a:off x="-63" y="3225"/>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76" name="Line 73"/>
                <p:cNvSpPr>
                  <a:spLocks noChangeShapeType="1"/>
                </p:cNvSpPr>
                <p:nvPr userDrawn="1"/>
              </p:nvSpPr>
              <p:spPr bwMode="gray">
                <a:xfrm>
                  <a:off x="-63" y="3972"/>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77" name="Line 74"/>
                <p:cNvSpPr>
                  <a:spLocks noChangeShapeType="1"/>
                </p:cNvSpPr>
                <p:nvPr userDrawn="1"/>
              </p:nvSpPr>
              <p:spPr bwMode="gray">
                <a:xfrm>
                  <a:off x="-63" y="411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78" name="Line 75"/>
                <p:cNvSpPr>
                  <a:spLocks noChangeShapeType="1"/>
                </p:cNvSpPr>
                <p:nvPr userDrawn="1"/>
              </p:nvSpPr>
              <p:spPr bwMode="gray">
                <a:xfrm>
                  <a:off x="-63" y="4224"/>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grpSp>
          <p:sp>
            <p:nvSpPr>
              <p:cNvPr id="120" name="Text Box 76"/>
              <p:cNvSpPr txBox="1">
                <a:spLocks noChangeArrowheads="1"/>
              </p:cNvSpPr>
              <p:nvPr userDrawn="1"/>
            </p:nvSpPr>
            <p:spPr bwMode="gray">
              <a:xfrm>
                <a:off x="-114" y="4134"/>
                <a:ext cx="91"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8,6</a:t>
                </a:r>
              </a:p>
            </p:txBody>
          </p:sp>
          <p:sp>
            <p:nvSpPr>
              <p:cNvPr id="121" name="Text Box 77"/>
              <p:cNvSpPr txBox="1">
                <a:spLocks noChangeArrowheads="1"/>
              </p:cNvSpPr>
              <p:nvPr userDrawn="1"/>
            </p:nvSpPr>
            <p:spPr bwMode="gray">
              <a:xfrm>
                <a:off x="-618" y="3133"/>
                <a:ext cx="595"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4,7</a:t>
                </a:r>
              </a:p>
            </p:txBody>
          </p:sp>
          <p:sp>
            <p:nvSpPr>
              <p:cNvPr id="122" name="Text Box 78"/>
              <p:cNvSpPr txBox="1">
                <a:spLocks noChangeArrowheads="1"/>
              </p:cNvSpPr>
              <p:nvPr userDrawn="1"/>
            </p:nvSpPr>
            <p:spPr bwMode="gray">
              <a:xfrm>
                <a:off x="-114" y="3993"/>
                <a:ext cx="91"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8,0</a:t>
                </a:r>
              </a:p>
            </p:txBody>
          </p:sp>
          <p:sp>
            <p:nvSpPr>
              <p:cNvPr id="123" name="Text Box 79"/>
              <p:cNvSpPr txBox="1">
                <a:spLocks noChangeArrowheads="1"/>
              </p:cNvSpPr>
              <p:nvPr userDrawn="1"/>
            </p:nvSpPr>
            <p:spPr bwMode="gray">
              <a:xfrm>
                <a:off x="-227" y="424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9,1</a:t>
                </a:r>
              </a:p>
            </p:txBody>
          </p:sp>
          <p:sp>
            <p:nvSpPr>
              <p:cNvPr id="124" name="Text Box 80"/>
              <p:cNvSpPr txBox="1">
                <a:spLocks noChangeArrowheads="1"/>
              </p:cNvSpPr>
              <p:nvPr userDrawn="1"/>
            </p:nvSpPr>
            <p:spPr bwMode="gray">
              <a:xfrm>
                <a:off x="-227" y="663"/>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6,6</a:t>
                </a:r>
              </a:p>
            </p:txBody>
          </p:sp>
          <p:sp>
            <p:nvSpPr>
              <p:cNvPr id="125" name="Text Box 81"/>
              <p:cNvSpPr txBox="1">
                <a:spLocks noChangeArrowheads="1"/>
              </p:cNvSpPr>
              <p:nvPr userDrawn="1"/>
            </p:nvSpPr>
            <p:spPr bwMode="gray">
              <a:xfrm>
                <a:off x="-227" y="301"/>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8,3</a:t>
                </a:r>
              </a:p>
            </p:txBody>
          </p:sp>
          <p:grpSp>
            <p:nvGrpSpPr>
              <p:cNvPr id="126" name="Group 82"/>
              <p:cNvGrpSpPr>
                <a:grpSpLocks/>
              </p:cNvGrpSpPr>
              <p:nvPr userDrawn="1"/>
            </p:nvGrpSpPr>
            <p:grpSpPr bwMode="gray">
              <a:xfrm>
                <a:off x="5783" y="276"/>
                <a:ext cx="45" cy="3948"/>
                <a:chOff x="-63" y="276"/>
                <a:chExt cx="45" cy="3948"/>
              </a:xfrm>
            </p:grpSpPr>
            <p:sp>
              <p:nvSpPr>
                <p:cNvPr id="267" name="Line 83"/>
                <p:cNvSpPr>
                  <a:spLocks noChangeShapeType="1"/>
                </p:cNvSpPr>
                <p:nvPr userDrawn="1"/>
              </p:nvSpPr>
              <p:spPr bwMode="gray">
                <a:xfrm>
                  <a:off x="-63" y="276"/>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68" name="Line 84"/>
                <p:cNvSpPr>
                  <a:spLocks noChangeShapeType="1"/>
                </p:cNvSpPr>
                <p:nvPr userDrawn="1"/>
              </p:nvSpPr>
              <p:spPr bwMode="gray">
                <a:xfrm>
                  <a:off x="-63" y="663"/>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69" name="Line 85"/>
                <p:cNvSpPr>
                  <a:spLocks noChangeShapeType="1"/>
                </p:cNvSpPr>
                <p:nvPr userDrawn="1"/>
              </p:nvSpPr>
              <p:spPr bwMode="gray">
                <a:xfrm>
                  <a:off x="-63" y="3225"/>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70" name="Line 86"/>
                <p:cNvSpPr>
                  <a:spLocks noChangeShapeType="1"/>
                </p:cNvSpPr>
                <p:nvPr userDrawn="1"/>
              </p:nvSpPr>
              <p:spPr bwMode="gray">
                <a:xfrm>
                  <a:off x="-63" y="3972"/>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71" name="Line 87"/>
                <p:cNvSpPr>
                  <a:spLocks noChangeShapeType="1"/>
                </p:cNvSpPr>
                <p:nvPr userDrawn="1"/>
              </p:nvSpPr>
              <p:spPr bwMode="gray">
                <a:xfrm>
                  <a:off x="-63" y="411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72" name="Line 88"/>
                <p:cNvSpPr>
                  <a:spLocks noChangeShapeType="1"/>
                </p:cNvSpPr>
                <p:nvPr userDrawn="1"/>
              </p:nvSpPr>
              <p:spPr bwMode="gray">
                <a:xfrm>
                  <a:off x="-63" y="4224"/>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grpSp>
          <p:sp>
            <p:nvSpPr>
              <p:cNvPr id="127" name="Text Box 89"/>
              <p:cNvSpPr txBox="1">
                <a:spLocks noChangeArrowheads="1"/>
              </p:cNvSpPr>
              <p:nvPr userDrawn="1"/>
            </p:nvSpPr>
            <p:spPr bwMode="gray">
              <a:xfrm>
                <a:off x="5800" y="4134"/>
                <a:ext cx="102"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8,6</a:t>
                </a:r>
              </a:p>
            </p:txBody>
          </p:sp>
          <p:sp>
            <p:nvSpPr>
              <p:cNvPr id="128" name="Text Box 90"/>
              <p:cNvSpPr txBox="1">
                <a:spLocks noChangeArrowheads="1"/>
              </p:cNvSpPr>
              <p:nvPr userDrawn="1"/>
            </p:nvSpPr>
            <p:spPr bwMode="gray">
              <a:xfrm>
                <a:off x="5800" y="3133"/>
                <a:ext cx="595"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4,7</a:t>
                </a:r>
              </a:p>
            </p:txBody>
          </p:sp>
          <p:sp>
            <p:nvSpPr>
              <p:cNvPr id="129" name="Text Box 91"/>
              <p:cNvSpPr txBox="1">
                <a:spLocks noChangeArrowheads="1"/>
              </p:cNvSpPr>
              <p:nvPr userDrawn="1"/>
            </p:nvSpPr>
            <p:spPr bwMode="gray">
              <a:xfrm>
                <a:off x="5800" y="3993"/>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8,0</a:t>
                </a:r>
              </a:p>
            </p:txBody>
          </p:sp>
          <p:sp>
            <p:nvSpPr>
              <p:cNvPr id="130" name="Text Box 92"/>
              <p:cNvSpPr txBox="1">
                <a:spLocks noChangeArrowheads="1"/>
              </p:cNvSpPr>
              <p:nvPr userDrawn="1"/>
            </p:nvSpPr>
            <p:spPr bwMode="gray">
              <a:xfrm>
                <a:off x="5800" y="424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9,1</a:t>
                </a:r>
              </a:p>
            </p:txBody>
          </p:sp>
          <p:sp>
            <p:nvSpPr>
              <p:cNvPr id="131" name="Text Box 93"/>
              <p:cNvSpPr txBox="1">
                <a:spLocks noChangeArrowheads="1"/>
              </p:cNvSpPr>
              <p:nvPr userDrawn="1"/>
            </p:nvSpPr>
            <p:spPr bwMode="gray">
              <a:xfrm>
                <a:off x="5800" y="663"/>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6,6</a:t>
                </a:r>
              </a:p>
            </p:txBody>
          </p:sp>
          <p:sp>
            <p:nvSpPr>
              <p:cNvPr id="132" name="Text Box 94"/>
              <p:cNvSpPr txBox="1">
                <a:spLocks noChangeArrowheads="1"/>
              </p:cNvSpPr>
              <p:nvPr userDrawn="1"/>
            </p:nvSpPr>
            <p:spPr bwMode="gray">
              <a:xfrm>
                <a:off x="5800" y="301"/>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8,3</a:t>
                </a:r>
              </a:p>
            </p:txBody>
          </p:sp>
          <p:grpSp>
            <p:nvGrpSpPr>
              <p:cNvPr id="133" name="Group 95"/>
              <p:cNvGrpSpPr>
                <a:grpSpLocks/>
              </p:cNvGrpSpPr>
              <p:nvPr userDrawn="1"/>
            </p:nvGrpSpPr>
            <p:grpSpPr bwMode="gray">
              <a:xfrm>
                <a:off x="16" y="4360"/>
                <a:ext cx="5722" cy="79"/>
                <a:chOff x="16" y="-97"/>
                <a:chExt cx="5722" cy="79"/>
              </a:xfrm>
            </p:grpSpPr>
            <p:grpSp>
              <p:nvGrpSpPr>
                <p:cNvPr id="254" name="Group 96"/>
                <p:cNvGrpSpPr>
                  <a:grpSpLocks/>
                </p:cNvGrpSpPr>
                <p:nvPr userDrawn="1"/>
              </p:nvGrpSpPr>
              <p:grpSpPr bwMode="gray">
                <a:xfrm>
                  <a:off x="249" y="-63"/>
                  <a:ext cx="5262" cy="45"/>
                  <a:chOff x="249" y="-63"/>
                  <a:chExt cx="5262" cy="45"/>
                </a:xfrm>
              </p:grpSpPr>
              <p:sp>
                <p:nvSpPr>
                  <p:cNvPr id="261" name="Line 97"/>
                  <p:cNvSpPr>
                    <a:spLocks noChangeShapeType="1"/>
                  </p:cNvSpPr>
                  <p:nvPr userDrawn="1"/>
                </p:nvSpPr>
                <p:spPr bwMode="gray">
                  <a:xfrm rot="5400000">
                    <a:off x="226"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62" name="Line 98"/>
                  <p:cNvSpPr>
                    <a:spLocks noChangeShapeType="1"/>
                  </p:cNvSpPr>
                  <p:nvPr userDrawn="1"/>
                </p:nvSpPr>
                <p:spPr bwMode="gray">
                  <a:xfrm rot="5400000">
                    <a:off x="2811"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63" name="Line 99"/>
                  <p:cNvSpPr>
                    <a:spLocks noChangeShapeType="1"/>
                  </p:cNvSpPr>
                  <p:nvPr userDrawn="1"/>
                </p:nvSpPr>
                <p:spPr bwMode="gray">
                  <a:xfrm rot="5400000">
                    <a:off x="2902"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64" name="Line 100"/>
                  <p:cNvSpPr>
                    <a:spLocks noChangeShapeType="1"/>
                  </p:cNvSpPr>
                  <p:nvPr userDrawn="1"/>
                </p:nvSpPr>
                <p:spPr bwMode="gray">
                  <a:xfrm rot="5400000">
                    <a:off x="4309"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65" name="Line 101"/>
                  <p:cNvSpPr>
                    <a:spLocks noChangeShapeType="1"/>
                  </p:cNvSpPr>
                  <p:nvPr userDrawn="1"/>
                </p:nvSpPr>
                <p:spPr bwMode="gray">
                  <a:xfrm rot="5400000">
                    <a:off x="4830"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66" name="Line 102"/>
                  <p:cNvSpPr>
                    <a:spLocks noChangeShapeType="1"/>
                  </p:cNvSpPr>
                  <p:nvPr userDrawn="1"/>
                </p:nvSpPr>
                <p:spPr bwMode="gray">
                  <a:xfrm rot="5400000">
                    <a:off x="5488"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grpSp>
            <p:sp>
              <p:nvSpPr>
                <p:cNvPr id="255" name="Text Box 103"/>
                <p:cNvSpPr txBox="1">
                  <a:spLocks noChangeArrowheads="1"/>
                </p:cNvSpPr>
                <p:nvPr userDrawn="1"/>
              </p:nvSpPr>
              <p:spPr bwMode="gray">
                <a:xfrm>
                  <a:off x="16"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11,6</a:t>
                  </a:r>
                </a:p>
              </p:txBody>
            </p:sp>
            <p:sp>
              <p:nvSpPr>
                <p:cNvPr id="256" name="Text Box 104"/>
                <p:cNvSpPr txBox="1">
                  <a:spLocks noChangeArrowheads="1"/>
                </p:cNvSpPr>
                <p:nvPr userDrawn="1"/>
              </p:nvSpPr>
              <p:spPr bwMode="gray">
                <a:xfrm>
                  <a:off x="2585"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0,2</a:t>
                  </a:r>
                </a:p>
              </p:txBody>
            </p:sp>
            <p:sp>
              <p:nvSpPr>
                <p:cNvPr id="257" name="Text Box 105"/>
                <p:cNvSpPr txBox="1">
                  <a:spLocks noChangeArrowheads="1"/>
                </p:cNvSpPr>
                <p:nvPr userDrawn="1"/>
              </p:nvSpPr>
              <p:spPr bwMode="gray">
                <a:xfrm>
                  <a:off x="2959"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0,2</a:t>
                  </a:r>
                </a:p>
              </p:txBody>
            </p:sp>
            <p:sp>
              <p:nvSpPr>
                <p:cNvPr id="258" name="Text Box 106"/>
                <p:cNvSpPr txBox="1">
                  <a:spLocks noChangeArrowheads="1"/>
                </p:cNvSpPr>
                <p:nvPr userDrawn="1"/>
              </p:nvSpPr>
              <p:spPr bwMode="gray">
                <a:xfrm>
                  <a:off x="5534"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11,6</a:t>
                  </a:r>
                </a:p>
              </p:txBody>
            </p:sp>
            <p:sp>
              <p:nvSpPr>
                <p:cNvPr id="259" name="Text Box 107"/>
                <p:cNvSpPr txBox="1">
                  <a:spLocks noChangeArrowheads="1"/>
                </p:cNvSpPr>
                <p:nvPr userDrawn="1"/>
              </p:nvSpPr>
              <p:spPr bwMode="gray">
                <a:xfrm>
                  <a:off x="4876"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8,7</a:t>
                  </a:r>
                </a:p>
              </p:txBody>
            </p:sp>
            <p:sp>
              <p:nvSpPr>
                <p:cNvPr id="260" name="Text Box 108"/>
                <p:cNvSpPr txBox="1">
                  <a:spLocks noChangeArrowheads="1"/>
                </p:cNvSpPr>
                <p:nvPr userDrawn="1"/>
              </p:nvSpPr>
              <p:spPr bwMode="gray">
                <a:xfrm>
                  <a:off x="4099"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6,4</a:t>
                  </a:r>
                </a:p>
              </p:txBody>
            </p:sp>
          </p:grpSp>
          <p:grpSp>
            <p:nvGrpSpPr>
              <p:cNvPr id="134" name="Group 109"/>
              <p:cNvGrpSpPr>
                <a:grpSpLocks/>
              </p:cNvGrpSpPr>
              <p:nvPr userDrawn="1"/>
            </p:nvGrpSpPr>
            <p:grpSpPr bwMode="gray">
              <a:xfrm>
                <a:off x="249" y="-107"/>
                <a:ext cx="5262" cy="45"/>
                <a:chOff x="249" y="-63"/>
                <a:chExt cx="5262" cy="45"/>
              </a:xfrm>
            </p:grpSpPr>
            <p:sp>
              <p:nvSpPr>
                <p:cNvPr id="162" name="Line 110"/>
                <p:cNvSpPr>
                  <a:spLocks noChangeShapeType="1"/>
                </p:cNvSpPr>
                <p:nvPr userDrawn="1"/>
              </p:nvSpPr>
              <p:spPr bwMode="gray">
                <a:xfrm rot="5400000">
                  <a:off x="226"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63" name="Line 111"/>
                <p:cNvSpPr>
                  <a:spLocks noChangeShapeType="1"/>
                </p:cNvSpPr>
                <p:nvPr userDrawn="1"/>
              </p:nvSpPr>
              <p:spPr bwMode="gray">
                <a:xfrm rot="5400000">
                  <a:off x="2811"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64" name="Line 112"/>
                <p:cNvSpPr>
                  <a:spLocks noChangeShapeType="1"/>
                </p:cNvSpPr>
                <p:nvPr userDrawn="1"/>
              </p:nvSpPr>
              <p:spPr bwMode="gray">
                <a:xfrm rot="5400000">
                  <a:off x="2902"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65" name="Line 113"/>
                <p:cNvSpPr>
                  <a:spLocks noChangeShapeType="1"/>
                </p:cNvSpPr>
                <p:nvPr userDrawn="1"/>
              </p:nvSpPr>
              <p:spPr bwMode="gray">
                <a:xfrm rot="5400000">
                  <a:off x="4309"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66" name="Line 114"/>
                <p:cNvSpPr>
                  <a:spLocks noChangeShapeType="1"/>
                </p:cNvSpPr>
                <p:nvPr userDrawn="1"/>
              </p:nvSpPr>
              <p:spPr bwMode="gray">
                <a:xfrm rot="5400000">
                  <a:off x="4830"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67" name="Line 115"/>
                <p:cNvSpPr>
                  <a:spLocks noChangeShapeType="1"/>
                </p:cNvSpPr>
                <p:nvPr userDrawn="1"/>
              </p:nvSpPr>
              <p:spPr bwMode="gray">
                <a:xfrm rot="5400000">
                  <a:off x="5488"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68" name="Line 110"/>
                <p:cNvSpPr>
                  <a:spLocks noChangeShapeType="1"/>
                </p:cNvSpPr>
                <p:nvPr userDrawn="1"/>
              </p:nvSpPr>
              <p:spPr bwMode="gray">
                <a:xfrm rot="5400000">
                  <a:off x="1904"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69" name="Line 110"/>
                <p:cNvSpPr>
                  <a:spLocks noChangeShapeType="1"/>
                </p:cNvSpPr>
                <p:nvPr userDrawn="1"/>
              </p:nvSpPr>
              <p:spPr bwMode="gray">
                <a:xfrm rot="5400000">
                  <a:off x="2018"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70" name="Line 110"/>
                <p:cNvSpPr>
                  <a:spLocks noChangeShapeType="1"/>
                </p:cNvSpPr>
                <p:nvPr userDrawn="1"/>
              </p:nvSpPr>
              <p:spPr bwMode="gray">
                <a:xfrm rot="5400000">
                  <a:off x="3694"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253" name="Line 110"/>
                <p:cNvSpPr>
                  <a:spLocks noChangeShapeType="1"/>
                </p:cNvSpPr>
                <p:nvPr userDrawn="1"/>
              </p:nvSpPr>
              <p:spPr bwMode="gray">
                <a:xfrm rot="5400000">
                  <a:off x="3808"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grpSp>
          <p:sp>
            <p:nvSpPr>
              <p:cNvPr id="135" name="Text Box 116"/>
              <p:cNvSpPr txBox="1">
                <a:spLocks noChangeArrowheads="1"/>
              </p:cNvSpPr>
              <p:nvPr userDrawn="1"/>
            </p:nvSpPr>
            <p:spPr bwMode="gray">
              <a:xfrm>
                <a:off x="4332" y="-107"/>
                <a:ext cx="521"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safe space</a:t>
                </a:r>
              </a:p>
            </p:txBody>
          </p:sp>
          <p:grpSp>
            <p:nvGrpSpPr>
              <p:cNvPr id="136" name="Group 117"/>
              <p:cNvGrpSpPr>
                <a:grpSpLocks/>
              </p:cNvGrpSpPr>
              <p:nvPr userDrawn="1"/>
            </p:nvGrpSpPr>
            <p:grpSpPr bwMode="gray">
              <a:xfrm>
                <a:off x="16" y="-102"/>
                <a:ext cx="5722" cy="79"/>
                <a:chOff x="16" y="-97"/>
                <a:chExt cx="5722" cy="79"/>
              </a:xfrm>
            </p:grpSpPr>
            <p:grpSp>
              <p:nvGrpSpPr>
                <p:cNvPr id="141" name="Group 118"/>
                <p:cNvGrpSpPr>
                  <a:grpSpLocks/>
                </p:cNvGrpSpPr>
                <p:nvPr userDrawn="1"/>
              </p:nvGrpSpPr>
              <p:grpSpPr bwMode="gray">
                <a:xfrm>
                  <a:off x="249" y="-63"/>
                  <a:ext cx="5262" cy="45"/>
                  <a:chOff x="249" y="-63"/>
                  <a:chExt cx="5262" cy="45"/>
                </a:xfrm>
              </p:grpSpPr>
              <p:sp>
                <p:nvSpPr>
                  <p:cNvPr id="152" name="Line 119"/>
                  <p:cNvSpPr>
                    <a:spLocks noChangeShapeType="1"/>
                  </p:cNvSpPr>
                  <p:nvPr userDrawn="1"/>
                </p:nvSpPr>
                <p:spPr bwMode="gray">
                  <a:xfrm rot="5400000">
                    <a:off x="226"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53" name="Line 120"/>
                  <p:cNvSpPr>
                    <a:spLocks noChangeShapeType="1"/>
                  </p:cNvSpPr>
                  <p:nvPr userDrawn="1"/>
                </p:nvSpPr>
                <p:spPr bwMode="gray">
                  <a:xfrm rot="5400000">
                    <a:off x="2811"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54" name="Line 121"/>
                  <p:cNvSpPr>
                    <a:spLocks noChangeShapeType="1"/>
                  </p:cNvSpPr>
                  <p:nvPr userDrawn="1"/>
                </p:nvSpPr>
                <p:spPr bwMode="gray">
                  <a:xfrm rot="5400000">
                    <a:off x="2902"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55" name="Line 122"/>
                  <p:cNvSpPr>
                    <a:spLocks noChangeShapeType="1"/>
                  </p:cNvSpPr>
                  <p:nvPr userDrawn="1"/>
                </p:nvSpPr>
                <p:spPr bwMode="gray">
                  <a:xfrm rot="5400000">
                    <a:off x="4309"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56" name="Line 123"/>
                  <p:cNvSpPr>
                    <a:spLocks noChangeShapeType="1"/>
                  </p:cNvSpPr>
                  <p:nvPr userDrawn="1"/>
                </p:nvSpPr>
                <p:spPr bwMode="gray">
                  <a:xfrm rot="5400000">
                    <a:off x="4830"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57" name="Line 124"/>
                  <p:cNvSpPr>
                    <a:spLocks noChangeShapeType="1"/>
                  </p:cNvSpPr>
                  <p:nvPr userDrawn="1"/>
                </p:nvSpPr>
                <p:spPr bwMode="gray">
                  <a:xfrm rot="5400000">
                    <a:off x="5488"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58" name="Line 119"/>
                  <p:cNvSpPr>
                    <a:spLocks noChangeShapeType="1"/>
                  </p:cNvSpPr>
                  <p:nvPr userDrawn="1"/>
                </p:nvSpPr>
                <p:spPr bwMode="gray">
                  <a:xfrm rot="5400000">
                    <a:off x="1904"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59" name="Line 119"/>
                  <p:cNvSpPr>
                    <a:spLocks noChangeShapeType="1"/>
                  </p:cNvSpPr>
                  <p:nvPr userDrawn="1"/>
                </p:nvSpPr>
                <p:spPr bwMode="gray">
                  <a:xfrm rot="5400000">
                    <a:off x="2018"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60" name="Line 119"/>
                  <p:cNvSpPr>
                    <a:spLocks noChangeShapeType="1"/>
                  </p:cNvSpPr>
                  <p:nvPr userDrawn="1"/>
                </p:nvSpPr>
                <p:spPr bwMode="gray">
                  <a:xfrm rot="5400000">
                    <a:off x="3694"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61" name="Line 119"/>
                  <p:cNvSpPr>
                    <a:spLocks noChangeShapeType="1"/>
                  </p:cNvSpPr>
                  <p:nvPr userDrawn="1"/>
                </p:nvSpPr>
                <p:spPr bwMode="gray">
                  <a:xfrm rot="5400000">
                    <a:off x="3808" y="-40"/>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grpSp>
            <p:sp>
              <p:nvSpPr>
                <p:cNvPr id="142" name="Text Box 125"/>
                <p:cNvSpPr txBox="1">
                  <a:spLocks noChangeArrowheads="1"/>
                </p:cNvSpPr>
                <p:nvPr userDrawn="1"/>
              </p:nvSpPr>
              <p:spPr bwMode="gray">
                <a:xfrm>
                  <a:off x="16"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11,6</a:t>
                  </a:r>
                </a:p>
              </p:txBody>
            </p:sp>
            <p:sp>
              <p:nvSpPr>
                <p:cNvPr id="143" name="Text Box 126"/>
                <p:cNvSpPr txBox="1">
                  <a:spLocks noChangeArrowheads="1"/>
                </p:cNvSpPr>
                <p:nvPr userDrawn="1"/>
              </p:nvSpPr>
              <p:spPr bwMode="gray">
                <a:xfrm>
                  <a:off x="2585"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0,2</a:t>
                  </a:r>
                </a:p>
              </p:txBody>
            </p:sp>
            <p:sp>
              <p:nvSpPr>
                <p:cNvPr id="144" name="Text Box 127"/>
                <p:cNvSpPr txBox="1">
                  <a:spLocks noChangeArrowheads="1"/>
                </p:cNvSpPr>
                <p:nvPr userDrawn="1"/>
              </p:nvSpPr>
              <p:spPr bwMode="gray">
                <a:xfrm>
                  <a:off x="2959"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0,2</a:t>
                  </a:r>
                </a:p>
              </p:txBody>
            </p:sp>
            <p:sp>
              <p:nvSpPr>
                <p:cNvPr id="145" name="Text Box 128"/>
                <p:cNvSpPr txBox="1">
                  <a:spLocks noChangeArrowheads="1"/>
                </p:cNvSpPr>
                <p:nvPr userDrawn="1"/>
              </p:nvSpPr>
              <p:spPr bwMode="gray">
                <a:xfrm>
                  <a:off x="5534"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11,6</a:t>
                  </a:r>
                </a:p>
              </p:txBody>
            </p:sp>
            <p:sp>
              <p:nvSpPr>
                <p:cNvPr id="146" name="Text Box 129"/>
                <p:cNvSpPr txBox="1">
                  <a:spLocks noChangeArrowheads="1"/>
                </p:cNvSpPr>
                <p:nvPr userDrawn="1"/>
              </p:nvSpPr>
              <p:spPr bwMode="gray">
                <a:xfrm>
                  <a:off x="4876"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8,7</a:t>
                  </a:r>
                </a:p>
              </p:txBody>
            </p:sp>
            <p:sp>
              <p:nvSpPr>
                <p:cNvPr id="147" name="Text Box 130"/>
                <p:cNvSpPr txBox="1">
                  <a:spLocks noChangeArrowheads="1"/>
                </p:cNvSpPr>
                <p:nvPr userDrawn="1"/>
              </p:nvSpPr>
              <p:spPr bwMode="gray">
                <a:xfrm>
                  <a:off x="4099"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6,4</a:t>
                  </a:r>
                </a:p>
              </p:txBody>
            </p:sp>
            <p:sp>
              <p:nvSpPr>
                <p:cNvPr id="148" name="Text Box 125"/>
                <p:cNvSpPr txBox="1">
                  <a:spLocks noChangeArrowheads="1"/>
                </p:cNvSpPr>
                <p:nvPr userDrawn="1"/>
              </p:nvSpPr>
              <p:spPr bwMode="gray">
                <a:xfrm>
                  <a:off x="1695"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4,2</a:t>
                  </a:r>
                </a:p>
              </p:txBody>
            </p:sp>
            <p:sp>
              <p:nvSpPr>
                <p:cNvPr id="149" name="Text Box 125"/>
                <p:cNvSpPr txBox="1">
                  <a:spLocks noChangeArrowheads="1"/>
                </p:cNvSpPr>
                <p:nvPr userDrawn="1"/>
              </p:nvSpPr>
              <p:spPr bwMode="gray">
                <a:xfrm>
                  <a:off x="2086"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3,7</a:t>
                  </a:r>
                </a:p>
              </p:txBody>
            </p:sp>
            <p:sp>
              <p:nvSpPr>
                <p:cNvPr id="150" name="Text Box 125"/>
                <p:cNvSpPr txBox="1">
                  <a:spLocks noChangeArrowheads="1"/>
                </p:cNvSpPr>
                <p:nvPr userDrawn="1"/>
              </p:nvSpPr>
              <p:spPr bwMode="gray">
                <a:xfrm>
                  <a:off x="3487"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3,7</a:t>
                  </a:r>
                </a:p>
              </p:txBody>
            </p:sp>
            <p:sp>
              <p:nvSpPr>
                <p:cNvPr id="151" name="Text Box 125"/>
                <p:cNvSpPr txBox="1">
                  <a:spLocks noChangeArrowheads="1"/>
                </p:cNvSpPr>
                <p:nvPr userDrawn="1"/>
              </p:nvSpPr>
              <p:spPr bwMode="gray">
                <a:xfrm>
                  <a:off x="3879" y="-97"/>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4,2</a:t>
                  </a:r>
                </a:p>
              </p:txBody>
            </p:sp>
          </p:grpSp>
          <p:sp>
            <p:nvSpPr>
              <p:cNvPr id="137" name="Text Box 76"/>
              <p:cNvSpPr txBox="1">
                <a:spLocks noChangeArrowheads="1"/>
              </p:cNvSpPr>
              <p:nvPr userDrawn="1"/>
            </p:nvSpPr>
            <p:spPr bwMode="gray">
              <a:xfrm>
                <a:off x="-618" y="3994"/>
                <a:ext cx="493"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source</a:t>
                </a:r>
              </a:p>
            </p:txBody>
          </p:sp>
          <p:sp>
            <p:nvSpPr>
              <p:cNvPr id="138" name="Text Box 89"/>
              <p:cNvSpPr txBox="1">
                <a:spLocks noChangeArrowheads="1"/>
              </p:cNvSpPr>
              <p:nvPr userDrawn="1"/>
            </p:nvSpPr>
            <p:spPr bwMode="gray">
              <a:xfrm>
                <a:off x="5902" y="3995"/>
                <a:ext cx="493"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source</a:t>
                </a:r>
              </a:p>
            </p:txBody>
          </p:sp>
          <p:sp>
            <p:nvSpPr>
              <p:cNvPr id="139" name="Text Box 89"/>
              <p:cNvSpPr txBox="1">
                <a:spLocks noChangeArrowheads="1"/>
              </p:cNvSpPr>
              <p:nvPr userDrawn="1"/>
            </p:nvSpPr>
            <p:spPr bwMode="gray">
              <a:xfrm>
                <a:off x="5902" y="4133"/>
                <a:ext cx="493"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footnote</a:t>
                </a:r>
              </a:p>
            </p:txBody>
          </p:sp>
          <p:sp>
            <p:nvSpPr>
              <p:cNvPr id="140" name="Text Box 76"/>
              <p:cNvSpPr txBox="1">
                <a:spLocks noChangeArrowheads="1"/>
              </p:cNvSpPr>
              <p:nvPr userDrawn="1"/>
            </p:nvSpPr>
            <p:spPr bwMode="gray">
              <a:xfrm>
                <a:off x="-618" y="4133"/>
                <a:ext cx="493"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footnote</a:t>
                </a:r>
              </a:p>
            </p:txBody>
          </p:sp>
        </p:grpSp>
        <p:sp>
          <p:nvSpPr>
            <p:cNvPr id="107" name="Text Box 132"/>
            <p:cNvSpPr txBox="1">
              <a:spLocks noChangeArrowheads="1"/>
            </p:cNvSpPr>
            <p:nvPr userDrawn="1"/>
          </p:nvSpPr>
          <p:spPr bwMode="gray">
            <a:xfrm>
              <a:off x="-227" y="2388"/>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0,9</a:t>
              </a:r>
            </a:p>
          </p:txBody>
        </p:sp>
        <p:sp>
          <p:nvSpPr>
            <p:cNvPr id="108" name="Line 133"/>
            <p:cNvSpPr>
              <a:spLocks noChangeShapeType="1"/>
            </p:cNvSpPr>
            <p:nvPr userDrawn="1"/>
          </p:nvSpPr>
          <p:spPr bwMode="gray">
            <a:xfrm>
              <a:off x="-63" y="2362"/>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09" name="Line 134"/>
            <p:cNvSpPr>
              <a:spLocks noChangeShapeType="1"/>
            </p:cNvSpPr>
            <p:nvPr userDrawn="1"/>
          </p:nvSpPr>
          <p:spPr bwMode="gray">
            <a:xfrm>
              <a:off x="-63" y="2274"/>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10" name="Text Box 135"/>
            <p:cNvSpPr txBox="1">
              <a:spLocks noChangeArrowheads="1"/>
            </p:cNvSpPr>
            <p:nvPr userDrawn="1"/>
          </p:nvSpPr>
          <p:spPr bwMode="gray">
            <a:xfrm>
              <a:off x="-227" y="2191"/>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0,5</a:t>
              </a:r>
            </a:p>
          </p:txBody>
        </p:sp>
        <p:sp>
          <p:nvSpPr>
            <p:cNvPr id="111" name="Text Box 136"/>
            <p:cNvSpPr txBox="1">
              <a:spLocks noChangeArrowheads="1"/>
            </p:cNvSpPr>
            <p:nvPr userDrawn="1"/>
          </p:nvSpPr>
          <p:spPr bwMode="gray">
            <a:xfrm>
              <a:off x="5800" y="2388"/>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0,9</a:t>
              </a:r>
            </a:p>
          </p:txBody>
        </p:sp>
        <p:sp>
          <p:nvSpPr>
            <p:cNvPr id="112" name="Line 137"/>
            <p:cNvSpPr>
              <a:spLocks noChangeShapeType="1"/>
            </p:cNvSpPr>
            <p:nvPr userDrawn="1"/>
          </p:nvSpPr>
          <p:spPr bwMode="gray">
            <a:xfrm>
              <a:off x="5783" y="2362"/>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13" name="Line 138"/>
            <p:cNvSpPr>
              <a:spLocks noChangeShapeType="1"/>
            </p:cNvSpPr>
            <p:nvPr userDrawn="1"/>
          </p:nvSpPr>
          <p:spPr bwMode="gray">
            <a:xfrm>
              <a:off x="5783" y="2274"/>
              <a:ext cx="45"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14" name="Text Box 139"/>
            <p:cNvSpPr txBox="1">
              <a:spLocks noChangeArrowheads="1"/>
            </p:cNvSpPr>
            <p:nvPr userDrawn="1"/>
          </p:nvSpPr>
          <p:spPr bwMode="gray">
            <a:xfrm>
              <a:off x="5800" y="2191"/>
              <a:ext cx="204" cy="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Arial" pitchFamily="34" charset="0"/>
                  <a:cs typeface="Arial" pitchFamily="34" charset="0"/>
                </a:rPr>
                <a:t>0,5</a:t>
              </a:r>
            </a:p>
          </p:txBody>
        </p:sp>
      </p:grpSp>
      <p:sp>
        <p:nvSpPr>
          <p:cNvPr id="171" name="Text Box 77"/>
          <p:cNvSpPr txBox="1">
            <a:spLocks noChangeArrowheads="1"/>
          </p:cNvSpPr>
          <p:nvPr/>
        </p:nvSpPr>
        <p:spPr bwMode="auto">
          <a:xfrm>
            <a:off x="2066854" y="68718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smtClean="0">
                <a:ln>
                  <a:noFill/>
                </a:ln>
                <a:solidFill>
                  <a:schemeClr val="tx1"/>
                </a:solidFill>
                <a:effectLst/>
                <a:uLnTx/>
                <a:uFillTx/>
              </a:rPr>
              <a:t>Version September 2012</a:t>
            </a:r>
          </a:p>
        </p:txBody>
      </p:sp>
    </p:spTree>
    <p:extLst>
      <p:ext uri="{BB962C8B-B14F-4D97-AF65-F5344CB8AC3E}">
        <p14:creationId xmlns:p14="http://schemas.microsoft.com/office/powerpoint/2010/main" val="4259185133"/>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0"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62" r:id="rId14"/>
    <p:sldLayoutId id="2147483663" r:id="rId15"/>
    <p:sldLayoutId id="2147483664" r:id="rId16"/>
    <p:sldLayoutId id="2147483699" r:id="rId17"/>
    <p:sldLayoutId id="2147483701" r:id="rId18"/>
    <p:sldLayoutId id="2147483718" r:id="rId19"/>
    <p:sldLayoutId id="2147483719" r:id="rId20"/>
    <p:sldLayoutId id="2147483721" r:id="rId21"/>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8" Type="http://schemas.openxmlformats.org/officeDocument/2006/relationships/image" Target="../media/image48.jpg"/><Relationship Id="rId13" Type="http://schemas.openxmlformats.org/officeDocument/2006/relationships/image" Target="../media/image62.png"/><Relationship Id="rId3" Type="http://schemas.openxmlformats.org/officeDocument/2006/relationships/tags" Target="../tags/tag17.xml"/><Relationship Id="rId7" Type="http://schemas.openxmlformats.org/officeDocument/2006/relationships/image" Target="../media/image7.emf"/><Relationship Id="rId12" Type="http://schemas.openxmlformats.org/officeDocument/2006/relationships/image" Target="../media/image61.png"/><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60.jpeg"/><Relationship Id="rId5" Type="http://schemas.openxmlformats.org/officeDocument/2006/relationships/notesSlide" Target="../notesSlides/notesSlide8.xml"/><Relationship Id="rId15" Type="http://schemas.openxmlformats.org/officeDocument/2006/relationships/image" Target="../media/image64.png"/><Relationship Id="rId10" Type="http://schemas.openxmlformats.org/officeDocument/2006/relationships/image" Target="../media/image59.png"/><Relationship Id="rId4" Type="http://schemas.openxmlformats.org/officeDocument/2006/relationships/slideLayout" Target="../slideLayouts/slideLayout20.xml"/><Relationship Id="rId9" Type="http://schemas.openxmlformats.org/officeDocument/2006/relationships/image" Target="../media/image17.jpeg"/><Relationship Id="rId14" Type="http://schemas.openxmlformats.org/officeDocument/2006/relationships/image" Target="../media/image63.jpeg"/></Relationships>
</file>

<file path=ppt/slides/_rels/slide11.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20.xml"/><Relationship Id="rId7" Type="http://schemas.openxmlformats.org/officeDocument/2006/relationships/image" Target="../media/image66.jpeg"/><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image" Target="../media/image65.emf"/><Relationship Id="rId5" Type="http://schemas.openxmlformats.org/officeDocument/2006/relationships/oleObject" Target="../embeddings/oleObject7.bin"/><Relationship Id="rId10" Type="http://schemas.openxmlformats.org/officeDocument/2006/relationships/image" Target="../media/image69.png"/><Relationship Id="rId4" Type="http://schemas.openxmlformats.org/officeDocument/2006/relationships/notesSlide" Target="../notesSlides/notesSlide9.xml"/><Relationship Id="rId9" Type="http://schemas.openxmlformats.org/officeDocument/2006/relationships/image" Target="../media/image6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14.xml"/><Relationship Id="rId7" Type="http://schemas.openxmlformats.org/officeDocument/2006/relationships/image" Target="../media/image71.jpg"/><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image" Target="../media/image70.emf"/><Relationship Id="rId5" Type="http://schemas.openxmlformats.org/officeDocument/2006/relationships/oleObject" Target="../embeddings/oleObject8.bin"/><Relationship Id="rId4" Type="http://schemas.openxmlformats.org/officeDocument/2006/relationships/notesSlide" Target="../notesSlides/notesSlide11.xml"/><Relationship Id="rId9" Type="http://schemas.openxmlformats.org/officeDocument/2006/relationships/image" Target="../media/image73.png"/></Relationships>
</file>

<file path=ppt/slides/_rels/slide1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image" Target="../media/image65.emf"/><Relationship Id="rId5" Type="http://schemas.openxmlformats.org/officeDocument/2006/relationships/oleObject" Target="../embeddings/oleObject9.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notesSlide" Target="../notesSlides/notesSlide15.xml"/><Relationship Id="rId3" Type="http://schemas.openxmlformats.org/officeDocument/2006/relationships/tags" Target="../tags/tag22.xml"/><Relationship Id="rId21" Type="http://schemas.openxmlformats.org/officeDocument/2006/relationships/oleObject" Target="../embeddings/oleObject11.bin"/><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slideLayout" Target="../slideLayouts/slideLayout19.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image" Target="../media/image76.emf"/><Relationship Id="rId1" Type="http://schemas.openxmlformats.org/officeDocument/2006/relationships/vmlDrawing" Target="../drawings/vmlDrawing10.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image" Target="../media/image79.png"/><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image" Target="../media/image78.png"/><Relationship Id="rId10" Type="http://schemas.openxmlformats.org/officeDocument/2006/relationships/tags" Target="../tags/tag29.xml"/><Relationship Id="rId19" Type="http://schemas.openxmlformats.org/officeDocument/2006/relationships/oleObject" Target="../embeddings/oleObject10.bin"/><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image" Target="../media/image77.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1.jpeg"/><Relationship Id="rId5" Type="http://schemas.openxmlformats.org/officeDocument/2006/relationships/image" Target="../media/image80.png"/><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notesSlide" Target="../notesSlides/notesSlide17.xml"/><Relationship Id="rId3" Type="http://schemas.openxmlformats.org/officeDocument/2006/relationships/tags" Target="../tags/tag39.xml"/><Relationship Id="rId21" Type="http://schemas.openxmlformats.org/officeDocument/2006/relationships/oleObject" Target="../embeddings/oleObject13.bin"/><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slideLayout" Target="../slideLayouts/slideLayout19.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image" Target="../media/image70.emf"/><Relationship Id="rId1" Type="http://schemas.openxmlformats.org/officeDocument/2006/relationships/vmlDrawing" Target="../drawings/vmlDrawing11.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tags" Target="../tags/tag51.xml"/><Relationship Id="rId10" Type="http://schemas.openxmlformats.org/officeDocument/2006/relationships/tags" Target="../tags/tag46.xml"/><Relationship Id="rId19" Type="http://schemas.openxmlformats.org/officeDocument/2006/relationships/oleObject" Target="../embeddings/oleObject12.bin"/><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image" Target="../media/image82.emf"/></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slideLayout" Target="../slideLayouts/slideLayout20.xml"/><Relationship Id="rId7" Type="http://schemas.openxmlformats.org/officeDocument/2006/relationships/image" Target="../media/image8.jpg"/><Relationship Id="rId12" Type="http://schemas.openxmlformats.org/officeDocument/2006/relationships/image" Target="../media/image13.png"/><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7.emf"/><Relationship Id="rId11" Type="http://schemas.openxmlformats.org/officeDocument/2006/relationships/image" Target="../media/image12.png"/><Relationship Id="rId5" Type="http://schemas.openxmlformats.org/officeDocument/2006/relationships/oleObject" Target="../embeddings/oleObject1.bin"/><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notesSlide" Target="../notesSlides/notesSlide2.xml"/><Relationship Id="rId9" Type="http://schemas.openxmlformats.org/officeDocument/2006/relationships/image" Target="../media/image10.png"/><Relationship Id="rId14" Type="http://schemas.openxmlformats.org/officeDocument/2006/relationships/image" Target="../media/image15.png"/></Relationships>
</file>

<file path=ppt/slides/_rels/slide20.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notesSlide" Target="../notesSlides/notesSlide18.xml"/><Relationship Id="rId3" Type="http://schemas.openxmlformats.org/officeDocument/2006/relationships/tags" Target="../tags/tag54.xml"/><Relationship Id="rId21" Type="http://schemas.openxmlformats.org/officeDocument/2006/relationships/oleObject" Target="../embeddings/oleObject15.bin"/><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slideLayout" Target="../slideLayouts/slideLayout19.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image" Target="../media/image76.emf"/><Relationship Id="rId1" Type="http://schemas.openxmlformats.org/officeDocument/2006/relationships/vmlDrawing" Target="../drawings/vmlDrawing12.v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image" Target="../media/image79.png"/><Relationship Id="rId10" Type="http://schemas.openxmlformats.org/officeDocument/2006/relationships/tags" Target="../tags/tag61.xml"/><Relationship Id="rId19" Type="http://schemas.openxmlformats.org/officeDocument/2006/relationships/oleObject" Target="../embeddings/oleObject14.bin"/><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image" Target="../media/image83.emf"/></Relationships>
</file>

<file path=ppt/slides/_rels/slide21.xml.rels><?xml version="1.0" encoding="UTF-8" standalone="yes"?>
<Relationships xmlns="http://schemas.openxmlformats.org/package/2006/relationships"><Relationship Id="rId8" Type="http://schemas.openxmlformats.org/officeDocument/2006/relationships/image" Target="../media/image76.emf"/><Relationship Id="rId13" Type="http://schemas.openxmlformats.org/officeDocument/2006/relationships/oleObject" Target="../embeddings/oleObject17.bin"/><Relationship Id="rId18" Type="http://schemas.openxmlformats.org/officeDocument/2006/relationships/image" Target="../media/image92.png"/><Relationship Id="rId3" Type="http://schemas.openxmlformats.org/officeDocument/2006/relationships/tags" Target="../tags/tag69.xml"/><Relationship Id="rId21" Type="http://schemas.openxmlformats.org/officeDocument/2006/relationships/image" Target="../media/image93.jpeg"/><Relationship Id="rId7" Type="http://schemas.openxmlformats.org/officeDocument/2006/relationships/oleObject" Target="../embeddings/oleObject16.bin"/><Relationship Id="rId12" Type="http://schemas.openxmlformats.org/officeDocument/2006/relationships/image" Target="../media/image90.png"/><Relationship Id="rId17" Type="http://schemas.openxmlformats.org/officeDocument/2006/relationships/image" Target="../media/image85.emf"/><Relationship Id="rId2" Type="http://schemas.openxmlformats.org/officeDocument/2006/relationships/tags" Target="../tags/tag68.xml"/><Relationship Id="rId16" Type="http://schemas.openxmlformats.org/officeDocument/2006/relationships/oleObject" Target="../embeddings/oleObject18.bin"/><Relationship Id="rId20" Type="http://schemas.openxmlformats.org/officeDocument/2006/relationships/image" Target="../media/image86.wmf"/><Relationship Id="rId1" Type="http://schemas.openxmlformats.org/officeDocument/2006/relationships/vmlDrawing" Target="../drawings/vmlDrawing13.vml"/><Relationship Id="rId6" Type="http://schemas.openxmlformats.org/officeDocument/2006/relationships/slideLayout" Target="../slideLayouts/slideLayout19.xml"/><Relationship Id="rId11" Type="http://schemas.openxmlformats.org/officeDocument/2006/relationships/image" Target="../media/image89.png"/><Relationship Id="rId5" Type="http://schemas.openxmlformats.org/officeDocument/2006/relationships/tags" Target="../tags/tag71.xml"/><Relationship Id="rId15" Type="http://schemas.openxmlformats.org/officeDocument/2006/relationships/image" Target="../media/image91.png"/><Relationship Id="rId10" Type="http://schemas.openxmlformats.org/officeDocument/2006/relationships/image" Target="../media/image88.png"/><Relationship Id="rId19" Type="http://schemas.openxmlformats.org/officeDocument/2006/relationships/oleObject" Target="../embeddings/oleObject19.bin"/><Relationship Id="rId4" Type="http://schemas.openxmlformats.org/officeDocument/2006/relationships/tags" Target="../tags/tag70.xml"/><Relationship Id="rId9" Type="http://schemas.openxmlformats.org/officeDocument/2006/relationships/image" Target="../media/image87.png"/><Relationship Id="rId14" Type="http://schemas.openxmlformats.org/officeDocument/2006/relationships/image" Target="../media/image84.emf"/></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72.xml"/><Relationship Id="rId1" Type="http://schemas.openxmlformats.org/officeDocument/2006/relationships/vmlDrawing" Target="../drawings/vmlDrawing14.vml"/><Relationship Id="rId5" Type="http://schemas.openxmlformats.org/officeDocument/2006/relationships/image" Target="../media/image76.emf"/><Relationship Id="rId4" Type="http://schemas.openxmlformats.org/officeDocument/2006/relationships/oleObject" Target="../embeddings/oleObject20.bin"/></Relationships>
</file>

<file path=ppt/slides/_rels/slide23.xml.rels><?xml version="1.0" encoding="UTF-8" standalone="yes"?>
<Relationships xmlns="http://schemas.openxmlformats.org/package/2006/relationships"><Relationship Id="rId8" Type="http://schemas.openxmlformats.org/officeDocument/2006/relationships/image" Target="../media/image95.jpeg"/><Relationship Id="rId13" Type="http://schemas.openxmlformats.org/officeDocument/2006/relationships/image" Target="../media/image98.png"/><Relationship Id="rId3" Type="http://schemas.openxmlformats.org/officeDocument/2006/relationships/slideLayout" Target="../slideLayouts/slideLayout19.xml"/><Relationship Id="rId7" Type="http://schemas.microsoft.com/office/2007/relationships/hdphoto" Target="../media/hdphoto3.wdp"/><Relationship Id="rId12" Type="http://schemas.openxmlformats.org/officeDocument/2006/relationships/image" Target="../media/image97.jpeg"/><Relationship Id="rId2" Type="http://schemas.openxmlformats.org/officeDocument/2006/relationships/tags" Target="../tags/tag73.xml"/><Relationship Id="rId16" Type="http://schemas.openxmlformats.org/officeDocument/2006/relationships/image" Target="../media/image101.jpeg"/><Relationship Id="rId1" Type="http://schemas.openxmlformats.org/officeDocument/2006/relationships/vmlDrawing" Target="../drawings/vmlDrawing15.vml"/><Relationship Id="rId6" Type="http://schemas.openxmlformats.org/officeDocument/2006/relationships/image" Target="../media/image94.jpeg"/><Relationship Id="rId11" Type="http://schemas.microsoft.com/office/2007/relationships/hdphoto" Target="../media/hdphoto5.wdp"/><Relationship Id="rId5" Type="http://schemas.openxmlformats.org/officeDocument/2006/relationships/image" Target="../media/image76.emf"/><Relationship Id="rId15" Type="http://schemas.openxmlformats.org/officeDocument/2006/relationships/image" Target="../media/image100.png"/><Relationship Id="rId10" Type="http://schemas.openxmlformats.org/officeDocument/2006/relationships/image" Target="../media/image96.jpeg"/><Relationship Id="rId4" Type="http://schemas.openxmlformats.org/officeDocument/2006/relationships/oleObject" Target="../embeddings/oleObject21.bin"/><Relationship Id="rId9" Type="http://schemas.microsoft.com/office/2007/relationships/hdphoto" Target="../media/hdphoto4.wdp"/><Relationship Id="rId14" Type="http://schemas.openxmlformats.org/officeDocument/2006/relationships/image" Target="../media/image99.png"/></Relationships>
</file>

<file path=ppt/slides/_rels/slide24.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oleObject" Target="../embeddings/oleObject22.bin"/><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notesSlide" Target="../notesSlides/notesSlide19.xml"/><Relationship Id="rId17" Type="http://schemas.openxmlformats.org/officeDocument/2006/relationships/image" Target="../media/image100.png"/><Relationship Id="rId2" Type="http://schemas.openxmlformats.org/officeDocument/2006/relationships/tags" Target="../tags/tag74.xml"/><Relationship Id="rId16" Type="http://schemas.openxmlformats.org/officeDocument/2006/relationships/image" Target="../media/image102.emf"/><Relationship Id="rId1" Type="http://schemas.openxmlformats.org/officeDocument/2006/relationships/vmlDrawing" Target="../drawings/vmlDrawing16.vml"/><Relationship Id="rId6" Type="http://schemas.openxmlformats.org/officeDocument/2006/relationships/tags" Target="../tags/tag78.xml"/><Relationship Id="rId11" Type="http://schemas.openxmlformats.org/officeDocument/2006/relationships/slideLayout" Target="../slideLayouts/slideLayout19.xml"/><Relationship Id="rId5" Type="http://schemas.openxmlformats.org/officeDocument/2006/relationships/tags" Target="../tags/tag77.xml"/><Relationship Id="rId15" Type="http://schemas.openxmlformats.org/officeDocument/2006/relationships/oleObject" Target="../embeddings/oleObject23.bin"/><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image" Target="../media/image40.emf"/></Relationships>
</file>

<file path=ppt/slides/_rels/slide25.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image" Target="../media/image40.emf"/><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oleObject" Target="../embeddings/oleObject24.bin"/><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image" Target="../media/image104.png"/><Relationship Id="rId1" Type="http://schemas.openxmlformats.org/officeDocument/2006/relationships/vmlDrawing" Target="../drawings/vmlDrawing17.v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notesSlide" Target="../notesSlides/notesSlide20.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slideLayout" Target="../slideLayouts/slideLayout19.xml"/><Relationship Id="rId28" Type="http://schemas.openxmlformats.org/officeDocument/2006/relationships/image" Target="../media/image103.emf"/><Relationship Id="rId10" Type="http://schemas.openxmlformats.org/officeDocument/2006/relationships/tags" Target="../tags/tag91.xml"/><Relationship Id="rId19" Type="http://schemas.openxmlformats.org/officeDocument/2006/relationships/tags" Target="../tags/tag100.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oleObject" Target="../embeddings/oleObject25.bin"/><Relationship Id="rId30" Type="http://schemas.openxmlformats.org/officeDocument/2006/relationships/image" Target="../media/image100.png"/></Relationships>
</file>

<file path=ppt/slides/_rels/slide26.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tags" Target="../tags/tag115.xml"/><Relationship Id="rId18" Type="http://schemas.openxmlformats.org/officeDocument/2006/relationships/slideLayout" Target="../slideLayouts/slideLayout19.xml"/><Relationship Id="rId3" Type="http://schemas.openxmlformats.org/officeDocument/2006/relationships/tags" Target="../tags/tag105.xml"/><Relationship Id="rId21" Type="http://schemas.openxmlformats.org/officeDocument/2006/relationships/image" Target="../media/image40.emf"/><Relationship Id="rId7" Type="http://schemas.openxmlformats.org/officeDocument/2006/relationships/tags" Target="../tags/tag109.xml"/><Relationship Id="rId12" Type="http://schemas.openxmlformats.org/officeDocument/2006/relationships/tags" Target="../tags/tag114.xml"/><Relationship Id="rId17" Type="http://schemas.openxmlformats.org/officeDocument/2006/relationships/tags" Target="../tags/tag119.xml"/><Relationship Id="rId25" Type="http://schemas.openxmlformats.org/officeDocument/2006/relationships/image" Target="../media/image100.png"/><Relationship Id="rId2" Type="http://schemas.openxmlformats.org/officeDocument/2006/relationships/tags" Target="../tags/tag104.xml"/><Relationship Id="rId16" Type="http://schemas.openxmlformats.org/officeDocument/2006/relationships/tags" Target="../tags/tag118.xml"/><Relationship Id="rId20" Type="http://schemas.openxmlformats.org/officeDocument/2006/relationships/oleObject" Target="../embeddings/oleObject26.bin"/><Relationship Id="rId1" Type="http://schemas.openxmlformats.org/officeDocument/2006/relationships/vmlDrawing" Target="../drawings/vmlDrawing18.vml"/><Relationship Id="rId6" Type="http://schemas.openxmlformats.org/officeDocument/2006/relationships/tags" Target="../tags/tag108.xml"/><Relationship Id="rId11" Type="http://schemas.openxmlformats.org/officeDocument/2006/relationships/tags" Target="../tags/tag113.xml"/><Relationship Id="rId24" Type="http://schemas.openxmlformats.org/officeDocument/2006/relationships/image" Target="../media/image104.png"/><Relationship Id="rId5" Type="http://schemas.openxmlformats.org/officeDocument/2006/relationships/tags" Target="../tags/tag107.xml"/><Relationship Id="rId15" Type="http://schemas.openxmlformats.org/officeDocument/2006/relationships/tags" Target="../tags/tag117.xml"/><Relationship Id="rId23" Type="http://schemas.openxmlformats.org/officeDocument/2006/relationships/image" Target="../media/image105.emf"/><Relationship Id="rId10" Type="http://schemas.openxmlformats.org/officeDocument/2006/relationships/tags" Target="../tags/tag112.xml"/><Relationship Id="rId19" Type="http://schemas.openxmlformats.org/officeDocument/2006/relationships/notesSlide" Target="../notesSlides/notesSlide21.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tags" Target="../tags/tag116.xml"/><Relationship Id="rId22"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8" Type="http://schemas.openxmlformats.org/officeDocument/2006/relationships/image" Target="../media/image40.emf"/><Relationship Id="rId13" Type="http://schemas.openxmlformats.org/officeDocument/2006/relationships/image" Target="../media/image98.png"/><Relationship Id="rId3" Type="http://schemas.openxmlformats.org/officeDocument/2006/relationships/tags" Target="../tags/tag121.xml"/><Relationship Id="rId7" Type="http://schemas.openxmlformats.org/officeDocument/2006/relationships/oleObject" Target="../embeddings/oleObject28.bin"/><Relationship Id="rId12" Type="http://schemas.openxmlformats.org/officeDocument/2006/relationships/image" Target="../media/image108.jpeg"/><Relationship Id="rId2" Type="http://schemas.openxmlformats.org/officeDocument/2006/relationships/tags" Target="../tags/tag120.xml"/><Relationship Id="rId1" Type="http://schemas.openxmlformats.org/officeDocument/2006/relationships/vmlDrawing" Target="../drawings/vmlDrawing19.vml"/><Relationship Id="rId6" Type="http://schemas.openxmlformats.org/officeDocument/2006/relationships/notesSlide" Target="../notesSlides/notesSlide22.xml"/><Relationship Id="rId11" Type="http://schemas.openxmlformats.org/officeDocument/2006/relationships/image" Target="../media/image106.emf"/><Relationship Id="rId5" Type="http://schemas.openxmlformats.org/officeDocument/2006/relationships/slideLayout" Target="../slideLayouts/slideLayout19.xml"/><Relationship Id="rId15" Type="http://schemas.openxmlformats.org/officeDocument/2006/relationships/image" Target="../media/image78.png"/><Relationship Id="rId10" Type="http://schemas.openxmlformats.org/officeDocument/2006/relationships/oleObject" Target="../embeddings/oleObject29.bin"/><Relationship Id="rId4" Type="http://schemas.openxmlformats.org/officeDocument/2006/relationships/tags" Target="../tags/tag122.xml"/><Relationship Id="rId9" Type="http://schemas.openxmlformats.org/officeDocument/2006/relationships/image" Target="../media/image107.jpeg"/><Relationship Id="rId14" Type="http://schemas.openxmlformats.org/officeDocument/2006/relationships/image" Target="../media/image109.png"/></Relationships>
</file>

<file path=ppt/slides/_rels/slide28.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tags" Target="../tags/tag139.xml"/><Relationship Id="rId26" Type="http://schemas.openxmlformats.org/officeDocument/2006/relationships/image" Target="../media/image110.emf"/><Relationship Id="rId3" Type="http://schemas.openxmlformats.org/officeDocument/2006/relationships/tags" Target="../tags/tag124.xml"/><Relationship Id="rId21" Type="http://schemas.openxmlformats.org/officeDocument/2006/relationships/slideLayout" Target="../slideLayouts/slideLayout19.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tags" Target="../tags/tag138.xml"/><Relationship Id="rId25" Type="http://schemas.openxmlformats.org/officeDocument/2006/relationships/oleObject" Target="../embeddings/oleObject31.bin"/><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tags" Target="../tags/tag141.xml"/><Relationship Id="rId1" Type="http://schemas.openxmlformats.org/officeDocument/2006/relationships/vmlDrawing" Target="../drawings/vmlDrawing20.vml"/><Relationship Id="rId6" Type="http://schemas.openxmlformats.org/officeDocument/2006/relationships/tags" Target="../tags/tag127.xml"/><Relationship Id="rId11" Type="http://schemas.openxmlformats.org/officeDocument/2006/relationships/tags" Target="../tags/tag132.xml"/><Relationship Id="rId24" Type="http://schemas.openxmlformats.org/officeDocument/2006/relationships/image" Target="../media/image40.emf"/><Relationship Id="rId5" Type="http://schemas.openxmlformats.org/officeDocument/2006/relationships/tags" Target="../tags/tag126.xml"/><Relationship Id="rId15" Type="http://schemas.openxmlformats.org/officeDocument/2006/relationships/tags" Target="../tags/tag136.xml"/><Relationship Id="rId23" Type="http://schemas.openxmlformats.org/officeDocument/2006/relationships/oleObject" Target="../embeddings/oleObject30.bin"/><Relationship Id="rId28" Type="http://schemas.openxmlformats.org/officeDocument/2006/relationships/image" Target="../media/image100.png"/><Relationship Id="rId10" Type="http://schemas.openxmlformats.org/officeDocument/2006/relationships/tags" Target="../tags/tag131.xml"/><Relationship Id="rId19" Type="http://schemas.openxmlformats.org/officeDocument/2006/relationships/tags" Target="../tags/tag140.xml"/><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 Id="rId22" Type="http://schemas.openxmlformats.org/officeDocument/2006/relationships/notesSlide" Target="../notesSlides/notesSlide23.xml"/><Relationship Id="rId27" Type="http://schemas.openxmlformats.org/officeDocument/2006/relationships/image" Target="../media/image10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19.jpeg"/><Relationship Id="rId13" Type="http://schemas.openxmlformats.org/officeDocument/2006/relationships/image" Target="../media/image24.png"/><Relationship Id="rId18" Type="http://schemas.openxmlformats.org/officeDocument/2006/relationships/image" Target="../media/image29.jpeg"/><Relationship Id="rId3" Type="http://schemas.openxmlformats.org/officeDocument/2006/relationships/tags" Target="../tags/tag9.xml"/><Relationship Id="rId21" Type="http://schemas.openxmlformats.org/officeDocument/2006/relationships/image" Target="../media/image32.jpeg"/><Relationship Id="rId7" Type="http://schemas.openxmlformats.org/officeDocument/2006/relationships/image" Target="../media/image18.gif"/><Relationship Id="rId12" Type="http://schemas.openxmlformats.org/officeDocument/2006/relationships/image" Target="../media/image23.jpeg"/><Relationship Id="rId17" Type="http://schemas.openxmlformats.org/officeDocument/2006/relationships/image" Target="../media/image28.jpeg"/><Relationship Id="rId2" Type="http://schemas.openxmlformats.org/officeDocument/2006/relationships/tags" Target="../tags/tag8.xml"/><Relationship Id="rId16" Type="http://schemas.openxmlformats.org/officeDocument/2006/relationships/image" Target="../media/image27.jpeg"/><Relationship Id="rId20" Type="http://schemas.openxmlformats.org/officeDocument/2006/relationships/image" Target="../media/image31.jpeg"/><Relationship Id="rId1" Type="http://schemas.openxmlformats.org/officeDocument/2006/relationships/tags" Target="../tags/tag7.xml"/><Relationship Id="rId6" Type="http://schemas.openxmlformats.org/officeDocument/2006/relationships/image" Target="../media/image17.jpeg"/><Relationship Id="rId11" Type="http://schemas.openxmlformats.org/officeDocument/2006/relationships/image" Target="../media/image22.jpeg"/><Relationship Id="rId5" Type="http://schemas.openxmlformats.org/officeDocument/2006/relationships/notesSlide" Target="../notesSlides/notesSlide3.xml"/><Relationship Id="rId15" Type="http://schemas.openxmlformats.org/officeDocument/2006/relationships/image" Target="../media/image26.jpeg"/><Relationship Id="rId10" Type="http://schemas.openxmlformats.org/officeDocument/2006/relationships/image" Target="../media/image21.jpeg"/><Relationship Id="rId19" Type="http://schemas.openxmlformats.org/officeDocument/2006/relationships/image" Target="../media/image30.png"/><Relationship Id="rId4" Type="http://schemas.openxmlformats.org/officeDocument/2006/relationships/slideLayout" Target="../slideLayouts/slideLayout7.xml"/><Relationship Id="rId9" Type="http://schemas.openxmlformats.org/officeDocument/2006/relationships/image" Target="../media/image20.jpeg"/><Relationship Id="rId14" Type="http://schemas.openxmlformats.org/officeDocument/2006/relationships/image" Target="../media/image25.png"/><Relationship Id="rId22" Type="http://schemas.openxmlformats.org/officeDocument/2006/relationships/image" Target="../media/image33.jp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 Id="rId9" Type="http://schemas.openxmlformats.org/officeDocument/2006/relationships/image" Target="../media/image39.png"/></Relationships>
</file>

<file path=ppt/slides/_rels/slide5.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slideLayout" Target="../slideLayouts/slideLayout20.xml"/><Relationship Id="rId7" Type="http://schemas.openxmlformats.org/officeDocument/2006/relationships/image" Target="../media/image41.jpeg"/><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image" Target="../media/image40.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43.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4.png"/></Relationships>
</file>

<file path=ppt/slides/_rels/slide7.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slideLayout" Target="../slideLayouts/slideLayout20.xml"/><Relationship Id="rId7" Type="http://schemas.openxmlformats.org/officeDocument/2006/relationships/image" Target="../media/image42.jpeg"/><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40.emf"/><Relationship Id="rId5" Type="http://schemas.openxmlformats.org/officeDocument/2006/relationships/oleObject" Target="../embeddings/oleObject3.bin"/><Relationship Id="rId10" Type="http://schemas.openxmlformats.org/officeDocument/2006/relationships/image" Target="../media/image47.jpeg"/><Relationship Id="rId4" Type="http://schemas.openxmlformats.org/officeDocument/2006/relationships/notesSlide" Target="../notesSlides/notesSlide7.xml"/><Relationship Id="rId9" Type="http://schemas.openxmlformats.org/officeDocument/2006/relationships/image" Target="../media/image46.jpeg"/></Relationships>
</file>

<file path=ppt/slides/_rels/slide8.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2.jpeg"/><Relationship Id="rId3" Type="http://schemas.openxmlformats.org/officeDocument/2006/relationships/tags" Target="../tags/tag13.xml"/><Relationship Id="rId7" Type="http://schemas.openxmlformats.org/officeDocument/2006/relationships/image" Target="../media/image48.jpg"/><Relationship Id="rId12" Type="http://schemas.openxmlformats.org/officeDocument/2006/relationships/image" Target="../media/image51.png"/><Relationship Id="rId2" Type="http://schemas.openxmlformats.org/officeDocument/2006/relationships/tags" Target="../tags/tag12.xml"/><Relationship Id="rId16" Type="http://schemas.openxmlformats.org/officeDocument/2006/relationships/image" Target="../media/image17.jpeg"/><Relationship Id="rId1" Type="http://schemas.openxmlformats.org/officeDocument/2006/relationships/vmlDrawing" Target="../drawings/vmlDrawing4.vml"/><Relationship Id="rId6" Type="http://schemas.openxmlformats.org/officeDocument/2006/relationships/image" Target="../media/image7.emf"/><Relationship Id="rId11" Type="http://schemas.microsoft.com/office/2007/relationships/hdphoto" Target="../media/hdphoto2.wdp"/><Relationship Id="rId5" Type="http://schemas.openxmlformats.org/officeDocument/2006/relationships/oleObject" Target="../embeddings/oleObject4.bin"/><Relationship Id="rId15" Type="http://schemas.openxmlformats.org/officeDocument/2006/relationships/image" Target="../media/image54.jpeg"/><Relationship Id="rId10" Type="http://schemas.openxmlformats.org/officeDocument/2006/relationships/image" Target="../media/image50.png"/><Relationship Id="rId4" Type="http://schemas.openxmlformats.org/officeDocument/2006/relationships/slideLayout" Target="../slideLayouts/slideLayout20.xml"/><Relationship Id="rId9" Type="http://schemas.microsoft.com/office/2007/relationships/hdphoto" Target="../media/hdphoto1.wdp"/><Relationship Id="rId14" Type="http://schemas.openxmlformats.org/officeDocument/2006/relationships/image" Target="../media/image53.jpeg"/></Relationships>
</file>

<file path=ppt/slides/_rels/slide9.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tags" Target="../tags/tag15.xml"/><Relationship Id="rId7" Type="http://schemas.openxmlformats.org/officeDocument/2006/relationships/image" Target="../media/image48.jpg"/><Relationship Id="rId12" Type="http://schemas.openxmlformats.org/officeDocument/2006/relationships/image" Target="../media/image58.png"/><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image" Target="../media/image7.emf"/><Relationship Id="rId11" Type="http://schemas.openxmlformats.org/officeDocument/2006/relationships/image" Target="../media/image57.jpeg"/><Relationship Id="rId5" Type="http://schemas.openxmlformats.org/officeDocument/2006/relationships/oleObject" Target="../embeddings/oleObject5.bin"/><Relationship Id="rId10" Type="http://schemas.openxmlformats.org/officeDocument/2006/relationships/image" Target="../media/image56.jpeg"/><Relationship Id="rId4" Type="http://schemas.openxmlformats.org/officeDocument/2006/relationships/slideLayout" Target="../slideLayouts/slideLayout20.xml"/><Relationship Id="rId9" Type="http://schemas.openxmlformats.org/officeDocument/2006/relationships/image" Target="../media/image5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bwMode="gray">
          <a:xfrm>
            <a:off x="323528" y="404664"/>
            <a:ext cx="7057032" cy="1672481"/>
          </a:xfrm>
        </p:spPr>
        <p:txBody>
          <a:bodyPr/>
          <a:lstStyle/>
          <a:p>
            <a:r>
              <a:rPr lang="en-US" altLang="zh-CN" sz="3200" dirty="0" smtClean="0"/>
              <a:t>BALINIT</a:t>
            </a:r>
            <a:r>
              <a:rPr lang="en-GB" altLang="zh-CN" sz="3200" baseline="30000" dirty="0" smtClean="0">
                <a:solidFill>
                  <a:srgbClr val="000000"/>
                </a:solidFill>
              </a:rPr>
              <a:t>® </a:t>
            </a:r>
            <a:r>
              <a:rPr lang="zh-CN" altLang="zh-CN" sz="3200" dirty="0" smtClean="0"/>
              <a:t>新</a:t>
            </a:r>
            <a:r>
              <a:rPr lang="zh-CN" altLang="zh-CN" sz="3200" dirty="0"/>
              <a:t>涂层助力齿轮加工</a:t>
            </a:r>
            <a:r>
              <a:rPr lang="en-US" altLang="zh-CN" sz="3200" dirty="0"/>
              <a:t/>
            </a:r>
            <a:br>
              <a:rPr lang="en-US" altLang="zh-CN" sz="3200" dirty="0"/>
            </a:br>
            <a:r>
              <a:rPr lang="en-US" sz="3200" dirty="0" smtClean="0"/>
              <a:t/>
            </a:r>
            <a:br>
              <a:rPr lang="en-US" sz="3200" dirty="0" smtClean="0"/>
            </a:br>
            <a:r>
              <a:rPr lang="en-US" sz="3200" dirty="0" smtClean="0"/>
              <a:t/>
            </a:r>
            <a:br>
              <a:rPr lang="en-US" sz="3200" dirty="0" smtClean="0"/>
            </a:br>
            <a:endParaRPr lang="en-US" sz="3200" dirty="0">
              <a:effectLst/>
            </a:endParaRPr>
          </a:p>
        </p:txBody>
      </p:sp>
      <p:sp>
        <p:nvSpPr>
          <p:cNvPr id="3" name="Untertitel 2"/>
          <p:cNvSpPr>
            <a:spLocks noGrp="1"/>
          </p:cNvSpPr>
          <p:nvPr>
            <p:ph type="subTitle" idx="1"/>
          </p:nvPr>
        </p:nvSpPr>
        <p:spPr bwMode="gray">
          <a:xfrm>
            <a:off x="323528" y="3446586"/>
            <a:ext cx="6481762" cy="1494582"/>
          </a:xfrm>
        </p:spPr>
        <p:txBody>
          <a:bodyPr/>
          <a:lstStyle/>
          <a:p>
            <a:r>
              <a:rPr lang="en-US" altLang="zh-CN" dirty="0" smtClean="0">
                <a:ea typeface="微软雅黑" pitchFamily="34" charset="-122"/>
              </a:rPr>
              <a:t>8</a:t>
            </a:r>
            <a:r>
              <a:rPr lang="en-US" baseline="30000" dirty="0" smtClean="0">
                <a:ea typeface="微软雅黑" pitchFamily="34" charset="-122"/>
              </a:rPr>
              <a:t>th</a:t>
            </a:r>
            <a:r>
              <a:rPr lang="en-US" dirty="0" smtClean="0">
                <a:ea typeface="微软雅黑" pitchFamily="34" charset="-122"/>
              </a:rPr>
              <a:t> </a:t>
            </a:r>
            <a:r>
              <a:rPr lang="en-US" altLang="zh-CN" dirty="0" smtClean="0">
                <a:ea typeface="微软雅黑" pitchFamily="34" charset="-122"/>
              </a:rPr>
              <a:t>June</a:t>
            </a:r>
            <a:r>
              <a:rPr lang="en-US" dirty="0" smtClean="0">
                <a:ea typeface="微软雅黑" pitchFamily="34" charset="-122"/>
              </a:rPr>
              <a:t> </a:t>
            </a:r>
            <a:r>
              <a:rPr lang="en-US" dirty="0" smtClean="0">
                <a:ea typeface="微软雅黑" pitchFamily="34" charset="-122"/>
              </a:rPr>
              <a:t>201</a:t>
            </a:r>
            <a:r>
              <a:rPr lang="en-US" dirty="0">
                <a:ea typeface="微软雅黑" pitchFamily="34" charset="-122"/>
              </a:rPr>
              <a:t>7</a:t>
            </a:r>
            <a:endParaRPr lang="en-US" altLang="zh-CN" dirty="0" smtClean="0">
              <a:ea typeface="微软雅黑" pitchFamily="34" charset="-122"/>
            </a:endParaRPr>
          </a:p>
          <a:p>
            <a:r>
              <a:rPr lang="zh-CN" altLang="en-US" dirty="0" smtClean="0"/>
              <a:t>金敏</a:t>
            </a:r>
            <a:endParaRPr lang="en-US" altLang="zh-CN" dirty="0"/>
          </a:p>
        </p:txBody>
      </p:sp>
      <p:pic>
        <p:nvPicPr>
          <p:cNvPr id="1026" name="Picture 2" descr="\\kadcfl01\EXP_PUBLIC\Projekte\OERLIKON\XX_Korrekturen\balzers_title_pic.jpg"/>
          <p:cNvPicPr>
            <a:picLocks noGrp="1" noChangeAspect="1" noChangeArrowheads="1"/>
          </p:cNvPicPr>
          <p:nvPr>
            <p:ph type="pic" sz="quarter" idx="10"/>
          </p:nvPr>
        </p:nvPicPr>
        <p:blipFill>
          <a:blip r:embed="rId3" cstate="print">
            <a:extLst>
              <a:ext uri="{28A0092B-C50C-407E-A947-70E740481C1C}">
                <a14:useLocalDpi xmlns:a14="http://schemas.microsoft.com/office/drawing/2010/main" val="0"/>
              </a:ext>
            </a:extLst>
          </a:blip>
          <a:srcRect t="115" b="115"/>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758624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3" name="think-cell Folie" r:id="rId6" imgW="216" imgH="216" progId="TCLayout.ActiveDocument.1">
                  <p:embed/>
                </p:oleObj>
              </mc:Choice>
              <mc:Fallback>
                <p:oleObj name="think-cell Folie" r:id="rId6" imgW="216" imgH="216"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4" name="Grafik 43"/>
          <p:cNvPicPr>
            <a:picLocks noChangeAspect="1"/>
          </p:cNvPicPr>
          <p:nvPr/>
        </p:nvPicPr>
        <p:blipFill rotWithShape="1">
          <a:blip r:embed="rId8">
            <a:extLst>
              <a:ext uri="{28A0092B-C50C-407E-A947-70E740481C1C}">
                <a14:useLocalDpi xmlns:a14="http://schemas.microsoft.com/office/drawing/2010/main" val="0"/>
              </a:ext>
            </a:extLst>
          </a:blip>
          <a:srcRect l="9775" t="-194" r="846" b="-397"/>
          <a:stretch/>
        </p:blipFill>
        <p:spPr>
          <a:xfrm>
            <a:off x="-36511" y="-27384"/>
            <a:ext cx="9217024" cy="6912768"/>
          </a:xfrm>
          <a:prstGeom prst="rect">
            <a:avLst/>
          </a:prstGeom>
        </p:spPr>
      </p:pic>
      <p:sp>
        <p:nvSpPr>
          <p:cNvPr id="4" name="Fußzeilenplatzhalter 3"/>
          <p:cNvSpPr>
            <a:spLocks noGrp="1"/>
          </p:cNvSpPr>
          <p:nvPr>
            <p:ph type="ftr" sz="quarter" idx="14"/>
          </p:nvPr>
        </p:nvSpPr>
        <p:spPr/>
        <p:txBody>
          <a:bodyPr/>
          <a:lstStyle/>
          <a:p>
            <a:pPr algn="l" rtl="0"/>
            <a:r>
              <a:rPr lang="en-US" b="0" i="0" u="none" baseline="0" smtClean="0"/>
              <a:t>Presentation Tools &amp; Equipment (04. January 2017)</a:t>
            </a:r>
            <a:endParaRPr lang="en" noProof="0" dirty="0"/>
          </a:p>
        </p:txBody>
      </p:sp>
      <p:sp>
        <p:nvSpPr>
          <p:cNvPr id="5" name="Foliennummernplatzhalter 4"/>
          <p:cNvSpPr>
            <a:spLocks noGrp="1"/>
          </p:cNvSpPr>
          <p:nvPr>
            <p:ph type="sldNum" sz="quarter" idx="15"/>
          </p:nvPr>
        </p:nvSpPr>
        <p:spPr/>
        <p:txBody>
          <a:bodyPr/>
          <a:lstStyle/>
          <a:p>
            <a:pPr algn="l" rtl="0"/>
            <a:r>
              <a:rPr lang="en" b="0" i="0" u="none" baseline="0"/>
              <a:t>Page </a:t>
            </a:r>
            <a:fld id="{D126E9C2-5A98-4FED-83CF-BD978A28F274}" type="slidenum">
              <a:rPr/>
              <a:pPr algn="l" rtl="0"/>
              <a:t>10</a:t>
            </a:fld>
            <a:endParaRPr lang="en" noProof="0" dirty="0"/>
          </a:p>
        </p:txBody>
      </p:sp>
      <p:cxnSp>
        <p:nvCxnSpPr>
          <p:cNvPr id="14" name="Gerader Verbinder 13"/>
          <p:cNvCxnSpPr/>
          <p:nvPr/>
        </p:nvCxnSpPr>
        <p:spPr>
          <a:xfrm>
            <a:off x="-468560" y="2638425"/>
            <a:ext cx="9001000" cy="0"/>
          </a:xfrm>
          <a:prstGeom prst="line">
            <a:avLst/>
          </a:prstGeom>
          <a:ln w="12700">
            <a:solidFill>
              <a:schemeClr val="bg2"/>
            </a:solidFill>
            <a:headEnd type="none" w="med" len="med"/>
            <a:tailEnd type="triangle" w="med" len="med"/>
          </a:ln>
          <a:effectLst>
            <a:innerShdw blurRad="63500" dist="50800" dir="13500000">
              <a:prstClr val="black">
                <a:alpha val="50000"/>
              </a:prstClr>
            </a:innerShdw>
          </a:effectLst>
        </p:spPr>
        <p:style>
          <a:lnRef idx="1">
            <a:schemeClr val="accent1"/>
          </a:lnRef>
          <a:fillRef idx="0">
            <a:schemeClr val="accent1"/>
          </a:fillRef>
          <a:effectRef idx="0">
            <a:schemeClr val="accent1"/>
          </a:effectRef>
          <a:fontRef idx="minor">
            <a:schemeClr val="tx1"/>
          </a:fontRef>
        </p:style>
      </p:cxnSp>
      <p:grpSp>
        <p:nvGrpSpPr>
          <p:cNvPr id="58" name="Group 6"/>
          <p:cNvGrpSpPr/>
          <p:nvPr/>
        </p:nvGrpSpPr>
        <p:grpSpPr bwMode="gray">
          <a:xfrm>
            <a:off x="7704138" y="217488"/>
            <a:ext cx="1044575" cy="416595"/>
            <a:chOff x="7704138" y="217488"/>
            <a:chExt cx="1044575" cy="416595"/>
          </a:xfrm>
        </p:grpSpPr>
        <p:sp>
          <p:nvSpPr>
            <p:cNvPr id="59" name="Freeform 10"/>
            <p:cNvSpPr>
              <a:spLocks noEditPoints="1"/>
            </p:cNvSpPr>
            <p:nvPr userDrawn="1"/>
          </p:nvSpPr>
          <p:spPr bwMode="gray">
            <a:xfrm>
              <a:off x="7704138" y="217488"/>
              <a:ext cx="1044575" cy="223838"/>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 noProof="0" dirty="0"/>
            </a:p>
          </p:txBody>
        </p:sp>
        <p:pic>
          <p:nvPicPr>
            <p:cNvPr id="60" name="Picture 10" descr="oe_balz_pos_rgb"/>
            <p:cNvPicPr>
              <a:picLocks noChangeAspect="1" noChangeArrowheads="1"/>
            </p:cNvPicPr>
            <p:nvPr userDrawn="1">
              <p:custDataLst>
                <p:tags r:id="rId3"/>
              </p:custDataLst>
            </p:nvPr>
          </p:nvPicPr>
          <p:blipFill rotWithShape="1">
            <a:blip r:embed="rId9" cstate="print">
              <a:clrChange>
                <a:clrFrom>
                  <a:srgbClr val="FFFFFF"/>
                </a:clrFrom>
                <a:clrTo>
                  <a:srgbClr val="FFFFFF">
                    <a:alpha val="0"/>
                  </a:srgbClr>
                </a:clrTo>
              </a:clrChange>
            </a:blip>
            <a:srcRect t="53761"/>
            <a:stretch/>
          </p:blipFill>
          <p:spPr bwMode="gray">
            <a:xfrm>
              <a:off x="7704138" y="441324"/>
              <a:ext cx="1044575" cy="192759"/>
            </a:xfrm>
            <a:prstGeom prst="rect">
              <a:avLst/>
            </a:prstGeom>
            <a:noFill/>
          </p:spPr>
        </p:pic>
      </p:grpSp>
      <p:grpSp>
        <p:nvGrpSpPr>
          <p:cNvPr id="15" name="Group 14"/>
          <p:cNvGrpSpPr/>
          <p:nvPr/>
        </p:nvGrpSpPr>
        <p:grpSpPr>
          <a:xfrm>
            <a:off x="395536" y="1746204"/>
            <a:ext cx="1867626" cy="4065887"/>
            <a:chOff x="395536" y="1746204"/>
            <a:chExt cx="1867626" cy="4065887"/>
          </a:xfrm>
        </p:grpSpPr>
        <p:grpSp>
          <p:nvGrpSpPr>
            <p:cNvPr id="2" name="Gruppieren 1"/>
            <p:cNvGrpSpPr/>
            <p:nvPr/>
          </p:nvGrpSpPr>
          <p:grpSpPr>
            <a:xfrm>
              <a:off x="395536" y="1746204"/>
              <a:ext cx="1867626" cy="3687153"/>
              <a:chOff x="471399" y="1746204"/>
              <a:chExt cx="1867626" cy="3687153"/>
            </a:xfrm>
          </p:grpSpPr>
          <p:grpSp>
            <p:nvGrpSpPr>
              <p:cNvPr id="45" name="Gruppieren 44"/>
              <p:cNvGrpSpPr/>
              <p:nvPr/>
            </p:nvGrpSpPr>
            <p:grpSpPr>
              <a:xfrm>
                <a:off x="471399" y="1746204"/>
                <a:ext cx="1867626" cy="3687153"/>
                <a:chOff x="6912292" y="1720822"/>
                <a:chExt cx="1867626" cy="3687153"/>
              </a:xfrm>
            </p:grpSpPr>
            <p:grpSp>
              <p:nvGrpSpPr>
                <p:cNvPr id="46" name="Gruppieren 45"/>
                <p:cNvGrpSpPr/>
                <p:nvPr/>
              </p:nvGrpSpPr>
              <p:grpSpPr>
                <a:xfrm>
                  <a:off x="7411907" y="2341870"/>
                  <a:ext cx="544469" cy="544469"/>
                  <a:chOff x="4788024" y="3452721"/>
                  <a:chExt cx="1692156" cy="1692156"/>
                </a:xfrm>
              </p:grpSpPr>
              <p:sp>
                <p:nvSpPr>
                  <p:cNvPr id="50" name="Ellipse 49"/>
                  <p:cNvSpPr/>
                  <p:nvPr/>
                </p:nvSpPr>
                <p:spPr>
                  <a:xfrm>
                    <a:off x="4788024" y="3452721"/>
                    <a:ext cx="1692156" cy="1692156"/>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51" name="Ellipse 50"/>
                  <p:cNvSpPr/>
                  <p:nvPr/>
                </p:nvSpPr>
                <p:spPr>
                  <a:xfrm>
                    <a:off x="5037444" y="3702141"/>
                    <a:ext cx="1193315" cy="1193315"/>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47" name="Textfeld 1"/>
                <p:cNvSpPr txBox="1"/>
                <p:nvPr/>
              </p:nvSpPr>
              <p:spPr>
                <a:xfrm>
                  <a:off x="7124461" y="4442720"/>
                  <a:ext cx="1655457" cy="965255"/>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S3p</a:t>
                  </a:r>
                  <a:r>
                    <a:rPr lang="en" sz="1100" b="0" i="0" u="none" baseline="30000" dirty="0">
                      <a:solidFill>
                        <a:schemeClr val="accent1">
                          <a:lumMod val="25000"/>
                        </a:schemeClr>
                      </a:solidFill>
                      <a:cs typeface="Arial"/>
                    </a:rPr>
                    <a:t>®</a:t>
                  </a:r>
                  <a:r>
                    <a:rPr lang="en" sz="1100" b="0" i="0" u="none" baseline="0" dirty="0">
                      <a:solidFill>
                        <a:schemeClr val="accent1">
                          <a:lumMod val="25000"/>
                        </a:schemeClr>
                      </a:solidFill>
                      <a:cs typeface="Arial"/>
                    </a:rPr>
                    <a:t> breakthrough and rollout of the new BALIQ</a:t>
                  </a:r>
                  <a:r>
                    <a:rPr lang="en" sz="1100" b="0" i="0" u="none" baseline="30000" dirty="0">
                      <a:solidFill>
                        <a:schemeClr val="accent1">
                          <a:lumMod val="25000"/>
                        </a:schemeClr>
                      </a:solidFill>
                      <a:cs typeface="Arial"/>
                    </a:rPr>
                    <a:t>®</a:t>
                  </a:r>
                  <a:r>
                    <a:rPr lang="en" sz="1100" b="0" i="0" u="none" baseline="0" dirty="0">
                      <a:solidFill>
                        <a:schemeClr val="accent1">
                          <a:lumMod val="25000"/>
                        </a:schemeClr>
                      </a:solidFill>
                      <a:cs typeface="Arial"/>
                    </a:rPr>
                    <a:t> coating generation</a:t>
                  </a:r>
                  <a:endParaRPr lang="en" sz="1100" dirty="0">
                    <a:solidFill>
                      <a:schemeClr val="accent1">
                        <a:lumMod val="25000"/>
                      </a:schemeClr>
                    </a:solidFill>
                    <a:cs typeface="Arial"/>
                  </a:endParaRPr>
                </a:p>
              </p:txBody>
            </p:sp>
            <p:sp>
              <p:nvSpPr>
                <p:cNvPr id="48" name="Textfeld 47"/>
                <p:cNvSpPr txBox="1"/>
                <p:nvPr/>
              </p:nvSpPr>
              <p:spPr>
                <a:xfrm>
                  <a:off x="6912292" y="1720822"/>
                  <a:ext cx="1692156" cy="584775"/>
                </a:xfrm>
                <a:prstGeom prst="rect">
                  <a:avLst/>
                </a:prstGeom>
                <a:noFill/>
              </p:spPr>
              <p:txBody>
                <a:bodyPr wrap="square" lIns="144000" rIns="144000" rtlCol="0">
                  <a:spAutoFit/>
                </a:bodyPr>
                <a:lstStyle/>
                <a:p>
                  <a:pPr algn="ctr" rtl="0"/>
                  <a:r>
                    <a:rPr lang="en" sz="3200" b="1" i="0" u="none" baseline="0">
                      <a:solidFill>
                        <a:schemeClr val="bg2"/>
                      </a:solidFill>
                      <a:effectLst>
                        <a:innerShdw blurRad="63500" dist="50800" dir="13500000">
                          <a:prstClr val="black">
                            <a:alpha val="50000"/>
                          </a:prstClr>
                        </a:innerShdw>
                      </a:effectLst>
                    </a:rPr>
                    <a:t>2013</a:t>
                  </a:r>
                  <a:endParaRPr lang="en" sz="2000" b="1" dirty="0">
                    <a:solidFill>
                      <a:schemeClr val="bg2"/>
                    </a:solidFill>
                    <a:effectLst>
                      <a:innerShdw blurRad="63500" dist="50800" dir="13500000">
                        <a:prstClr val="black">
                          <a:alpha val="50000"/>
                        </a:prstClr>
                      </a:innerShdw>
                    </a:effectLst>
                  </a:endParaRPr>
                </a:p>
              </p:txBody>
            </p:sp>
            <p:sp>
              <p:nvSpPr>
                <p:cNvPr id="49" name="Gleichschenkliges Dreieck 48"/>
                <p:cNvSpPr/>
                <p:nvPr/>
              </p:nvSpPr>
              <p:spPr>
                <a:xfrm rot="10800000">
                  <a:off x="7596336" y="3129834"/>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pic>
            <p:nvPicPr>
              <p:cNvPr id="52" name="Picture 3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43606" y="3390192"/>
                <a:ext cx="1336106" cy="1371667"/>
              </a:xfrm>
              <a:prstGeom prst="rect">
                <a:avLst/>
              </a:prstGeom>
              <a:noFill/>
              <a:extLst>
                <a:ext uri="{909E8E84-426E-40DD-AFC4-6F175D3DCCD1}">
                  <a14:hiddenFill xmlns:a14="http://schemas.microsoft.com/office/drawing/2010/main">
                    <a:solidFill>
                      <a:srgbClr val="FFFFFF"/>
                    </a:solidFill>
                  </a14:hiddenFill>
                </a:ext>
              </a:extLst>
            </p:spPr>
          </p:pic>
          <p:grpSp>
            <p:nvGrpSpPr>
              <p:cNvPr id="53" name="Gruppieren 52"/>
              <p:cNvGrpSpPr/>
              <p:nvPr/>
            </p:nvGrpSpPr>
            <p:grpSpPr>
              <a:xfrm>
                <a:off x="925978" y="2305259"/>
                <a:ext cx="711350" cy="711350"/>
                <a:chOff x="-2332037" y="1638304"/>
                <a:chExt cx="544469" cy="544469"/>
              </a:xfrm>
            </p:grpSpPr>
            <p:sp>
              <p:nvSpPr>
                <p:cNvPr id="54" name="Ellipse 53"/>
                <p:cNvSpPr/>
                <p:nvPr/>
              </p:nvSpPr>
              <p:spPr>
                <a:xfrm>
                  <a:off x="-2332037"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55" name="Ellipse 54"/>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400" b="0" i="0" u="none" baseline="0">
                      <a:solidFill>
                        <a:schemeClr val="bg1"/>
                      </a:solidFill>
                    </a:rPr>
                    <a:t>93</a:t>
                  </a:r>
                </a:p>
              </p:txBody>
            </p:sp>
          </p:grpSp>
        </p:grpSp>
        <p:sp>
          <p:nvSpPr>
            <p:cNvPr id="61" name="Textfeld 1"/>
            <p:cNvSpPr txBox="1"/>
            <p:nvPr/>
          </p:nvSpPr>
          <p:spPr>
            <a:xfrm>
              <a:off x="588093" y="5016113"/>
              <a:ext cx="1655457" cy="795978"/>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latin typeface="微软雅黑" panose="020B0503020204020204" pitchFamily="34" charset="-122"/>
                  <a:ea typeface="微软雅黑" panose="020B0503020204020204" pitchFamily="34" charset="-122"/>
                  <a:cs typeface="Arial"/>
                </a:rPr>
                <a:t>S3p</a:t>
              </a:r>
              <a:r>
                <a:rPr lang="en" sz="1100" b="0" i="0" u="none" baseline="30000" dirty="0">
                  <a:solidFill>
                    <a:schemeClr val="accent1">
                      <a:lumMod val="25000"/>
                    </a:schemeClr>
                  </a:solidFill>
                  <a:latin typeface="微软雅黑" panose="020B0503020204020204" pitchFamily="34" charset="-122"/>
                  <a:ea typeface="微软雅黑" panose="020B0503020204020204" pitchFamily="34" charset="-122"/>
                  <a:cs typeface="Arial"/>
                </a:rPr>
                <a:t>®</a:t>
              </a:r>
              <a:r>
                <a:rPr lang="en" sz="1100" b="0" i="0" u="none" baseline="0" dirty="0">
                  <a:solidFill>
                    <a:schemeClr val="accent1">
                      <a:lumMod val="25000"/>
                    </a:schemeClr>
                  </a:solidFill>
                  <a:latin typeface="微软雅黑" panose="020B0503020204020204" pitchFamily="34" charset="-122"/>
                  <a:ea typeface="微软雅黑" panose="020B0503020204020204" pitchFamily="34" charset="-122"/>
                  <a:cs typeface="Arial"/>
                </a:rPr>
                <a:t> </a:t>
              </a:r>
              <a:r>
                <a:rPr lang="zh-CN" altLang="en-US"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技术取得突破性进展和新一代</a:t>
              </a:r>
              <a:r>
                <a:rPr lang="en"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 BALIQ</a:t>
              </a:r>
              <a:r>
                <a:rPr lang="en" sz="1100" b="0" i="0" u="none" baseline="30000" dirty="0">
                  <a:solidFill>
                    <a:schemeClr val="accent1">
                      <a:lumMod val="25000"/>
                    </a:schemeClr>
                  </a:solidFill>
                  <a:latin typeface="微软雅黑" panose="020B0503020204020204" pitchFamily="34" charset="-122"/>
                  <a:ea typeface="微软雅黑" panose="020B0503020204020204" pitchFamily="34" charset="-122"/>
                  <a:cs typeface="Arial"/>
                </a:rPr>
                <a:t>®</a:t>
              </a:r>
              <a:r>
                <a:rPr lang="en" sz="1100" b="0" i="0" u="none" baseline="0" dirty="0">
                  <a:solidFill>
                    <a:schemeClr val="accent1">
                      <a:lumMod val="25000"/>
                    </a:schemeClr>
                  </a:solidFill>
                  <a:latin typeface="微软雅黑" panose="020B0503020204020204" pitchFamily="34" charset="-122"/>
                  <a:ea typeface="微软雅黑" panose="020B0503020204020204" pitchFamily="34" charset="-122"/>
                  <a:cs typeface="Arial"/>
                </a:rPr>
                <a:t> </a:t>
              </a:r>
              <a:r>
                <a:rPr lang="zh-CN" altLang="en-US"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涂层面世</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grpSp>
      <p:grpSp>
        <p:nvGrpSpPr>
          <p:cNvPr id="16" name="Group 15"/>
          <p:cNvGrpSpPr/>
          <p:nvPr/>
        </p:nvGrpSpPr>
        <p:grpSpPr>
          <a:xfrm>
            <a:off x="2508835" y="1746204"/>
            <a:ext cx="1837604" cy="4030620"/>
            <a:chOff x="2508835" y="1746204"/>
            <a:chExt cx="1837604" cy="4030620"/>
          </a:xfrm>
        </p:grpSpPr>
        <p:grpSp>
          <p:nvGrpSpPr>
            <p:cNvPr id="7" name="Gruppieren 6"/>
            <p:cNvGrpSpPr/>
            <p:nvPr/>
          </p:nvGrpSpPr>
          <p:grpSpPr>
            <a:xfrm>
              <a:off x="2508835" y="1746204"/>
              <a:ext cx="1837604" cy="3706600"/>
              <a:chOff x="2662388" y="1746204"/>
              <a:chExt cx="1837604" cy="3706600"/>
            </a:xfrm>
          </p:grpSpPr>
          <p:grpSp>
            <p:nvGrpSpPr>
              <p:cNvPr id="3" name="Gruppieren 2"/>
              <p:cNvGrpSpPr/>
              <p:nvPr/>
            </p:nvGrpSpPr>
            <p:grpSpPr>
              <a:xfrm>
                <a:off x="2662388" y="1746204"/>
                <a:ext cx="1837604" cy="3368607"/>
                <a:chOff x="2662388" y="1746204"/>
                <a:chExt cx="1837604" cy="3368607"/>
              </a:xfrm>
            </p:grpSpPr>
            <p:grpSp>
              <p:nvGrpSpPr>
                <p:cNvPr id="33" name="Gruppieren 32"/>
                <p:cNvGrpSpPr/>
                <p:nvPr/>
              </p:nvGrpSpPr>
              <p:grpSpPr>
                <a:xfrm>
                  <a:off x="2662388" y="1746204"/>
                  <a:ext cx="1837604" cy="3368607"/>
                  <a:chOff x="2933691" y="1749379"/>
                  <a:chExt cx="1837604" cy="3368607"/>
                </a:xfrm>
              </p:grpSpPr>
              <p:grpSp>
                <p:nvGrpSpPr>
                  <p:cNvPr id="34" name="Gruppieren 33"/>
                  <p:cNvGrpSpPr/>
                  <p:nvPr/>
                </p:nvGrpSpPr>
                <p:grpSpPr>
                  <a:xfrm>
                    <a:off x="3563850" y="2370427"/>
                    <a:ext cx="544469" cy="544469"/>
                    <a:chOff x="4788024" y="3452721"/>
                    <a:chExt cx="1692156" cy="1692156"/>
                  </a:xfrm>
                </p:grpSpPr>
                <p:sp>
                  <p:nvSpPr>
                    <p:cNvPr id="39" name="Ellipse 38"/>
                    <p:cNvSpPr/>
                    <p:nvPr/>
                  </p:nvSpPr>
                  <p:spPr>
                    <a:xfrm>
                      <a:off x="4788024" y="3452721"/>
                      <a:ext cx="1692156" cy="1692156"/>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40" name="Ellipse 39"/>
                    <p:cNvSpPr/>
                    <p:nvPr/>
                  </p:nvSpPr>
                  <p:spPr>
                    <a:xfrm>
                      <a:off x="5037444" y="3702141"/>
                      <a:ext cx="1193315" cy="1193315"/>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35" name="Textfeld 1"/>
                  <p:cNvSpPr txBox="1"/>
                  <p:nvPr/>
                </p:nvSpPr>
                <p:spPr>
                  <a:xfrm>
                    <a:off x="3172971" y="4491285"/>
                    <a:ext cx="1598324" cy="626701"/>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chemeClr val="bg2"/>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Founding of the Surface Solutions Segment </a:t>
                    </a:r>
                    <a:endParaRPr lang="en" sz="1100" dirty="0">
                      <a:solidFill>
                        <a:schemeClr val="accent1">
                          <a:lumMod val="25000"/>
                        </a:schemeClr>
                      </a:solidFill>
                      <a:cs typeface="Arial"/>
                    </a:endParaRPr>
                  </a:p>
                </p:txBody>
              </p:sp>
              <p:sp>
                <p:nvSpPr>
                  <p:cNvPr id="37" name="Textfeld 36"/>
                  <p:cNvSpPr txBox="1"/>
                  <p:nvPr/>
                </p:nvSpPr>
                <p:spPr>
                  <a:xfrm>
                    <a:off x="2933691" y="1749379"/>
                    <a:ext cx="1692156" cy="584775"/>
                  </a:xfrm>
                  <a:prstGeom prst="rect">
                    <a:avLst/>
                  </a:prstGeom>
                  <a:noFill/>
                </p:spPr>
                <p:txBody>
                  <a:bodyPr wrap="square" lIns="144000" rIns="144000" rtlCol="0">
                    <a:spAutoFit/>
                  </a:bodyPr>
                  <a:lstStyle/>
                  <a:p>
                    <a:pPr algn="ctr" rtl="0"/>
                    <a:r>
                      <a:rPr lang="en" sz="3200" b="1" i="0" u="none" baseline="0">
                        <a:solidFill>
                          <a:schemeClr val="bg2"/>
                        </a:solidFill>
                        <a:effectLst>
                          <a:innerShdw blurRad="63500" dist="50800" dir="13500000">
                            <a:prstClr val="black">
                              <a:alpha val="50000"/>
                            </a:prstClr>
                          </a:innerShdw>
                        </a:effectLst>
                      </a:rPr>
                      <a:t>2014</a:t>
                    </a:r>
                    <a:endParaRPr lang="en" sz="2000" b="1" dirty="0">
                      <a:solidFill>
                        <a:schemeClr val="bg2"/>
                      </a:solidFill>
                      <a:effectLst>
                        <a:innerShdw blurRad="63500" dist="50800" dir="13500000">
                          <a:prstClr val="black">
                            <a:alpha val="50000"/>
                          </a:prstClr>
                        </a:innerShdw>
                      </a:effectLst>
                    </a:endParaRPr>
                  </a:p>
                </p:txBody>
              </p:sp>
              <p:sp>
                <p:nvSpPr>
                  <p:cNvPr id="38" name="Gleichschenkliges Dreieck 37"/>
                  <p:cNvSpPr/>
                  <p:nvPr/>
                </p:nvSpPr>
                <p:spPr>
                  <a:xfrm rot="10800000">
                    <a:off x="3644104" y="3133048"/>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grpSp>
              <p:nvGrpSpPr>
                <p:cNvPr id="6" name="Gruppieren 5"/>
                <p:cNvGrpSpPr/>
                <p:nvPr/>
              </p:nvGrpSpPr>
              <p:grpSpPr>
                <a:xfrm>
                  <a:off x="3152791" y="2295936"/>
                  <a:ext cx="711350" cy="711350"/>
                  <a:chOff x="-2332038" y="1638304"/>
                  <a:chExt cx="544469" cy="544469"/>
                </a:xfrm>
              </p:grpSpPr>
              <p:sp>
                <p:nvSpPr>
                  <p:cNvPr id="78" name="Ellipse 77"/>
                  <p:cNvSpPr/>
                  <p:nvPr/>
                </p:nvSpPr>
                <p:spPr>
                  <a:xfrm>
                    <a:off x="-2332038"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79" name="Ellipse 78"/>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200" b="1" i="0" u="none" baseline="0" dirty="0" smtClean="0">
                        <a:solidFill>
                          <a:schemeClr val="bg1"/>
                        </a:solidFill>
                      </a:rPr>
                      <a:t>&gt;130</a:t>
                    </a:r>
                    <a:endParaRPr lang="en" sz="1200" b="1" i="0" u="none" baseline="0" dirty="0">
                      <a:solidFill>
                        <a:schemeClr val="bg1"/>
                      </a:solidFill>
                    </a:endParaRPr>
                  </a:p>
                </p:txBody>
              </p:sp>
            </p:grpSp>
            <p:pic>
              <p:nvPicPr>
                <p:cNvPr id="86" name="Grafik 8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959993" y="3401169"/>
                  <a:ext cx="1107951" cy="1107951"/>
                </a:xfrm>
                <a:prstGeom prst="ellipse">
                  <a:avLst/>
                </a:prstGeom>
                <a:effectLst>
                  <a:innerShdw blurRad="63500" dist="50800" dir="13500000">
                    <a:prstClr val="black">
                      <a:alpha val="50000"/>
                    </a:prstClr>
                  </a:innerShdw>
                </a:effectLst>
              </p:spPr>
            </p:pic>
          </p:grpSp>
          <p:pic>
            <p:nvPicPr>
              <p:cNvPr id="10" name="Grafik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38386" y="5176923"/>
                <a:ext cx="720000" cy="275881"/>
              </a:xfrm>
              <a:prstGeom prst="rect">
                <a:avLst/>
              </a:prstGeom>
            </p:spPr>
          </p:pic>
          <p:pic>
            <p:nvPicPr>
              <p:cNvPr id="11" name="Grafik 1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765764" y="5169314"/>
                <a:ext cx="720000" cy="283490"/>
              </a:xfrm>
              <a:prstGeom prst="rect">
                <a:avLst/>
              </a:prstGeom>
            </p:spPr>
          </p:pic>
        </p:grpSp>
        <p:sp>
          <p:nvSpPr>
            <p:cNvPr id="72" name="Textfeld 1"/>
            <p:cNvSpPr txBox="1"/>
            <p:nvPr/>
          </p:nvSpPr>
          <p:spPr>
            <a:xfrm>
              <a:off x="2730318" y="5319400"/>
              <a:ext cx="1598324" cy="457424"/>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chemeClr val="bg2"/>
                  </a:solidFill>
                  <a:cs typeface="Arial"/>
                </a:rPr>
                <a:t>____</a:t>
              </a:r>
            </a:p>
            <a:p>
              <a:pPr marL="1588" algn="l" rtl="0" fontAlgn="base">
                <a:spcBef>
                  <a:spcPct val="0"/>
                </a:spcBef>
                <a:spcAft>
                  <a:spcPct val="0"/>
                </a:spcAft>
                <a:buClr>
                  <a:schemeClr val="tx2"/>
                </a:buClr>
              </a:pPr>
              <a:r>
                <a:rPr lang="zh-CN" altLang="en-US"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表面处理事业板块成立</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grpSp>
      <p:grpSp>
        <p:nvGrpSpPr>
          <p:cNvPr id="17" name="Group 16"/>
          <p:cNvGrpSpPr/>
          <p:nvPr/>
        </p:nvGrpSpPr>
        <p:grpSpPr>
          <a:xfrm>
            <a:off x="4592112" y="1746204"/>
            <a:ext cx="1750439" cy="4116931"/>
            <a:chOff x="4592112" y="1746204"/>
            <a:chExt cx="1750439" cy="4116931"/>
          </a:xfrm>
        </p:grpSpPr>
        <p:grpSp>
          <p:nvGrpSpPr>
            <p:cNvPr id="12" name="Gruppieren 11"/>
            <p:cNvGrpSpPr/>
            <p:nvPr/>
          </p:nvGrpSpPr>
          <p:grpSpPr>
            <a:xfrm>
              <a:off x="4592112" y="1746204"/>
              <a:ext cx="1750439" cy="3687153"/>
              <a:chOff x="4621761" y="1746204"/>
              <a:chExt cx="1750439" cy="3687153"/>
            </a:xfrm>
          </p:grpSpPr>
          <p:grpSp>
            <p:nvGrpSpPr>
              <p:cNvPr id="41" name="Gruppieren 40"/>
              <p:cNvGrpSpPr/>
              <p:nvPr/>
            </p:nvGrpSpPr>
            <p:grpSpPr>
              <a:xfrm>
                <a:off x="4621761" y="1746204"/>
                <a:ext cx="1750439" cy="3687153"/>
                <a:chOff x="4922991" y="1749379"/>
                <a:chExt cx="1750439" cy="3687153"/>
              </a:xfrm>
            </p:grpSpPr>
            <p:grpSp>
              <p:nvGrpSpPr>
                <p:cNvPr id="42" name="Gruppieren 41"/>
                <p:cNvGrpSpPr/>
                <p:nvPr/>
              </p:nvGrpSpPr>
              <p:grpSpPr>
                <a:xfrm>
                  <a:off x="5487878" y="2370427"/>
                  <a:ext cx="544469" cy="544469"/>
                  <a:chOff x="4788024" y="3452721"/>
                  <a:chExt cx="1692156" cy="1692156"/>
                </a:xfrm>
              </p:grpSpPr>
              <p:sp>
                <p:nvSpPr>
                  <p:cNvPr id="65" name="Ellipse 64"/>
                  <p:cNvSpPr/>
                  <p:nvPr/>
                </p:nvSpPr>
                <p:spPr>
                  <a:xfrm>
                    <a:off x="4788024" y="3452721"/>
                    <a:ext cx="1692156" cy="1692156"/>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66" name="Ellipse 65"/>
                  <p:cNvSpPr/>
                  <p:nvPr/>
                </p:nvSpPr>
                <p:spPr>
                  <a:xfrm>
                    <a:off x="5037444" y="3702141"/>
                    <a:ext cx="1193315" cy="1193315"/>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43" name="Textfeld 1"/>
                <p:cNvSpPr txBox="1"/>
                <p:nvPr/>
              </p:nvSpPr>
              <p:spPr>
                <a:xfrm>
                  <a:off x="5258629" y="4471277"/>
                  <a:ext cx="1414801" cy="965255"/>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Integration of Metaplas &amp; introduction of the BALITHERM</a:t>
                  </a:r>
                  <a:r>
                    <a:rPr lang="en" sz="1100" b="0" i="0" u="none" baseline="30000" dirty="0">
                      <a:solidFill>
                        <a:schemeClr val="accent1">
                          <a:lumMod val="25000"/>
                        </a:schemeClr>
                      </a:solidFill>
                      <a:cs typeface="Arial"/>
                    </a:rPr>
                    <a:t>®</a:t>
                  </a:r>
                  <a:r>
                    <a:rPr lang="en" sz="1100" b="0" i="0" u="none" baseline="0" dirty="0">
                      <a:solidFill>
                        <a:schemeClr val="accent1">
                          <a:lumMod val="25000"/>
                        </a:schemeClr>
                      </a:solidFill>
                      <a:cs typeface="Arial"/>
                    </a:rPr>
                    <a:t> brand </a:t>
                  </a:r>
                  <a:endParaRPr lang="en" sz="1100" dirty="0">
                    <a:solidFill>
                      <a:schemeClr val="accent1">
                        <a:lumMod val="25000"/>
                      </a:schemeClr>
                    </a:solidFill>
                    <a:cs typeface="Arial"/>
                  </a:endParaRPr>
                </a:p>
              </p:txBody>
            </p:sp>
            <p:sp>
              <p:nvSpPr>
                <p:cNvPr id="62" name="Textfeld 61"/>
                <p:cNvSpPr txBox="1"/>
                <p:nvPr/>
              </p:nvSpPr>
              <p:spPr>
                <a:xfrm>
                  <a:off x="4922991" y="1749379"/>
                  <a:ext cx="1692156" cy="584775"/>
                </a:xfrm>
                <a:prstGeom prst="rect">
                  <a:avLst/>
                </a:prstGeom>
                <a:noFill/>
              </p:spPr>
              <p:txBody>
                <a:bodyPr wrap="square" lIns="144000" rIns="144000" rtlCol="0">
                  <a:spAutoFit/>
                </a:bodyPr>
                <a:lstStyle/>
                <a:p>
                  <a:pPr algn="ctr" rtl="0"/>
                  <a:r>
                    <a:rPr lang="en" sz="3200" b="1" i="0" u="none" baseline="0" dirty="0">
                      <a:solidFill>
                        <a:schemeClr val="bg2"/>
                      </a:solidFill>
                      <a:effectLst>
                        <a:innerShdw blurRad="63500" dist="50800" dir="13500000">
                          <a:prstClr val="black">
                            <a:alpha val="50000"/>
                          </a:prstClr>
                        </a:innerShdw>
                      </a:effectLst>
                    </a:rPr>
                    <a:t>2015</a:t>
                  </a:r>
                  <a:endParaRPr lang="en" sz="2000" b="1" dirty="0">
                    <a:solidFill>
                      <a:schemeClr val="bg2"/>
                    </a:solidFill>
                    <a:effectLst>
                      <a:innerShdw blurRad="63500" dist="50800" dir="13500000">
                        <a:prstClr val="black">
                          <a:alpha val="50000"/>
                        </a:prstClr>
                      </a:innerShdw>
                    </a:effectLst>
                  </a:endParaRPr>
                </a:p>
              </p:txBody>
            </p:sp>
            <p:sp>
              <p:nvSpPr>
                <p:cNvPr id="63" name="Gleichschenkliges Dreieck 62"/>
                <p:cNvSpPr/>
                <p:nvPr/>
              </p:nvSpPr>
              <p:spPr>
                <a:xfrm rot="10800000">
                  <a:off x="5652120" y="3133048"/>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pic>
              <p:nvPicPr>
                <p:cNvPr id="64" name="Grafik 6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220072" y="3392858"/>
                  <a:ext cx="1107951" cy="1107951"/>
                </a:xfrm>
                <a:prstGeom prst="ellipse">
                  <a:avLst/>
                </a:prstGeom>
                <a:effectLst>
                  <a:innerShdw blurRad="63500" dist="50800" dir="13500000">
                    <a:prstClr val="black">
                      <a:alpha val="50000"/>
                    </a:prstClr>
                  </a:innerShdw>
                </a:effectLst>
              </p:spPr>
            </p:pic>
          </p:grpSp>
          <p:grpSp>
            <p:nvGrpSpPr>
              <p:cNvPr id="80" name="Gruppieren 79"/>
              <p:cNvGrpSpPr/>
              <p:nvPr/>
            </p:nvGrpSpPr>
            <p:grpSpPr>
              <a:xfrm>
                <a:off x="5112164" y="2274391"/>
                <a:ext cx="711350" cy="711350"/>
                <a:chOff x="-2332037" y="1638304"/>
                <a:chExt cx="544469" cy="544469"/>
              </a:xfrm>
            </p:grpSpPr>
            <p:sp>
              <p:nvSpPr>
                <p:cNvPr id="81" name="Ellipse 80"/>
                <p:cNvSpPr/>
                <p:nvPr/>
              </p:nvSpPr>
              <p:spPr>
                <a:xfrm>
                  <a:off x="-2332037"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82" name="Ellipse 81"/>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400" b="0" i="0" u="none" baseline="0">
                      <a:solidFill>
                        <a:schemeClr val="bg1"/>
                      </a:solidFill>
                    </a:rPr>
                    <a:t>145</a:t>
                  </a:r>
                </a:p>
              </p:txBody>
            </p:sp>
          </p:grpSp>
        </p:grpSp>
        <p:sp>
          <p:nvSpPr>
            <p:cNvPr id="75" name="Textfeld 1"/>
            <p:cNvSpPr txBox="1"/>
            <p:nvPr/>
          </p:nvSpPr>
          <p:spPr>
            <a:xfrm>
              <a:off x="4927750" y="5236434"/>
              <a:ext cx="1414801" cy="626701"/>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algn="l" rtl="0" fontAlgn="base">
                <a:spcBef>
                  <a:spcPct val="0"/>
                </a:spcBef>
                <a:spcAft>
                  <a:spcPct val="0"/>
                </a:spcAft>
                <a:buClr>
                  <a:schemeClr val="tx2"/>
                </a:buClr>
              </a:pPr>
              <a:r>
                <a:rPr lang="zh-CN" altLang="en-US" sz="1100" dirty="0">
                  <a:solidFill>
                    <a:schemeClr val="accent1">
                      <a:lumMod val="25000"/>
                    </a:schemeClr>
                  </a:solidFill>
                  <a:latin typeface="微软雅黑" panose="020B0503020204020204" pitchFamily="34" charset="-122"/>
                  <a:ea typeface="微软雅黑" panose="020B0503020204020204" pitchFamily="34" charset="-122"/>
                  <a:cs typeface="Arial"/>
                </a:rPr>
                <a:t>整合</a:t>
              </a:r>
              <a:r>
                <a:rPr lang="en"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 </a:t>
              </a:r>
              <a:r>
                <a:rPr lang="en" sz="1100" b="0" i="0" u="none" baseline="0" dirty="0">
                  <a:solidFill>
                    <a:schemeClr val="accent1">
                      <a:lumMod val="25000"/>
                    </a:schemeClr>
                  </a:solidFill>
                  <a:latin typeface="微软雅黑" panose="020B0503020204020204" pitchFamily="34" charset="-122"/>
                  <a:ea typeface="微软雅黑" panose="020B0503020204020204" pitchFamily="34" charset="-122"/>
                  <a:cs typeface="Arial"/>
                </a:rPr>
                <a:t>Metaplas </a:t>
              </a:r>
              <a:r>
                <a:rPr lang="zh-CN" altLang="en-US" sz="1100" dirty="0" smtClean="0">
                  <a:solidFill>
                    <a:schemeClr val="accent1">
                      <a:lumMod val="25000"/>
                    </a:schemeClr>
                  </a:solidFill>
                  <a:latin typeface="微软雅黑" panose="020B0503020204020204" pitchFamily="34" charset="-122"/>
                  <a:ea typeface="微软雅黑" panose="020B0503020204020204" pitchFamily="34" charset="-122"/>
                  <a:cs typeface="Arial"/>
                </a:rPr>
                <a:t>并</a:t>
              </a:r>
              <a:r>
                <a:rPr lang="zh-CN" altLang="en-US"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引入</a:t>
              </a:r>
              <a:r>
                <a:rPr lang="en"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BALITHERM</a:t>
              </a:r>
              <a:r>
                <a:rPr lang="en" sz="1100" b="0" i="0" u="none" baseline="30000" dirty="0">
                  <a:solidFill>
                    <a:schemeClr val="accent1">
                      <a:lumMod val="25000"/>
                    </a:schemeClr>
                  </a:solidFill>
                  <a:latin typeface="微软雅黑" panose="020B0503020204020204" pitchFamily="34" charset="-122"/>
                  <a:ea typeface="微软雅黑" panose="020B0503020204020204" pitchFamily="34" charset="-122"/>
                  <a:cs typeface="Arial"/>
                </a:rPr>
                <a:t>®</a:t>
              </a:r>
              <a:r>
                <a:rPr lang="en" sz="1100" b="0" i="0" u="none" baseline="0" dirty="0">
                  <a:solidFill>
                    <a:schemeClr val="accent1">
                      <a:lumMod val="25000"/>
                    </a:schemeClr>
                  </a:solidFill>
                  <a:latin typeface="微软雅黑" panose="020B0503020204020204" pitchFamily="34" charset="-122"/>
                  <a:ea typeface="微软雅黑" panose="020B0503020204020204" pitchFamily="34" charset="-122"/>
                  <a:cs typeface="Arial"/>
                </a:rPr>
                <a:t> </a:t>
              </a:r>
              <a:r>
                <a:rPr lang="zh-CN" altLang="en-US"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品牌</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grpSp>
      <p:grpSp>
        <p:nvGrpSpPr>
          <p:cNvPr id="18" name="Group 17"/>
          <p:cNvGrpSpPr/>
          <p:nvPr/>
        </p:nvGrpSpPr>
        <p:grpSpPr>
          <a:xfrm>
            <a:off x="6588224" y="1718558"/>
            <a:ext cx="1887316" cy="3979785"/>
            <a:chOff x="6588224" y="1718558"/>
            <a:chExt cx="1887316" cy="3979785"/>
          </a:xfrm>
        </p:grpSpPr>
        <p:grpSp>
          <p:nvGrpSpPr>
            <p:cNvPr id="13" name="Gruppieren 12"/>
            <p:cNvGrpSpPr/>
            <p:nvPr/>
          </p:nvGrpSpPr>
          <p:grpSpPr>
            <a:xfrm>
              <a:off x="6588224" y="1718558"/>
              <a:ext cx="1887316" cy="3517876"/>
              <a:chOff x="6329140" y="1718558"/>
              <a:chExt cx="1887316" cy="3517876"/>
            </a:xfrm>
          </p:grpSpPr>
          <p:grpSp>
            <p:nvGrpSpPr>
              <p:cNvPr id="67" name="Gruppieren 66"/>
              <p:cNvGrpSpPr/>
              <p:nvPr/>
            </p:nvGrpSpPr>
            <p:grpSpPr>
              <a:xfrm>
                <a:off x="6329140" y="1718558"/>
                <a:ext cx="1887316" cy="3517876"/>
                <a:chOff x="6912292" y="1720822"/>
                <a:chExt cx="1887316" cy="3517876"/>
              </a:xfrm>
            </p:grpSpPr>
            <p:grpSp>
              <p:nvGrpSpPr>
                <p:cNvPr id="68" name="Gruppieren 67"/>
                <p:cNvGrpSpPr/>
                <p:nvPr/>
              </p:nvGrpSpPr>
              <p:grpSpPr>
                <a:xfrm>
                  <a:off x="7411907" y="2341870"/>
                  <a:ext cx="544469" cy="544469"/>
                  <a:chOff x="4788024" y="3452721"/>
                  <a:chExt cx="1692156" cy="1692156"/>
                </a:xfrm>
              </p:grpSpPr>
              <p:sp>
                <p:nvSpPr>
                  <p:cNvPr id="73" name="Ellipse 72"/>
                  <p:cNvSpPr/>
                  <p:nvPr/>
                </p:nvSpPr>
                <p:spPr>
                  <a:xfrm>
                    <a:off x="4788024" y="3452721"/>
                    <a:ext cx="1692156" cy="1692156"/>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74" name="Ellipse 73"/>
                  <p:cNvSpPr/>
                  <p:nvPr/>
                </p:nvSpPr>
                <p:spPr>
                  <a:xfrm>
                    <a:off x="5037444" y="3702141"/>
                    <a:ext cx="1193315" cy="1193315"/>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69" name="Textfeld 1"/>
                <p:cNvSpPr txBox="1"/>
                <p:nvPr/>
              </p:nvSpPr>
              <p:spPr>
                <a:xfrm>
                  <a:off x="7261655" y="4442720"/>
                  <a:ext cx="1537953" cy="795978"/>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99 </a:t>
                  </a:r>
                  <a:r>
                    <a:rPr lang="en" sz="1100" b="0" i="0" u="none" baseline="0" dirty="0" smtClean="0">
                      <a:solidFill>
                        <a:schemeClr val="accent1">
                          <a:lumMod val="25000"/>
                        </a:schemeClr>
                      </a:solidFill>
                      <a:cs typeface="Arial"/>
                    </a:rPr>
                    <a:t>tooling </a:t>
                  </a:r>
                  <a:r>
                    <a:rPr lang="en" sz="1100" b="0" i="0" u="none" baseline="0" dirty="0">
                      <a:solidFill>
                        <a:schemeClr val="accent1">
                          <a:lumMod val="25000"/>
                        </a:schemeClr>
                      </a:solidFill>
                      <a:cs typeface="Arial"/>
                    </a:rPr>
                    <a:t>centres with thin-film coating services</a:t>
                  </a:r>
                  <a:endParaRPr lang="en" sz="1100" dirty="0">
                    <a:solidFill>
                      <a:schemeClr val="accent1">
                        <a:lumMod val="25000"/>
                      </a:schemeClr>
                    </a:solidFill>
                    <a:cs typeface="Arial"/>
                  </a:endParaRPr>
                </a:p>
              </p:txBody>
            </p:sp>
            <p:sp>
              <p:nvSpPr>
                <p:cNvPr id="70" name="Textfeld 69"/>
                <p:cNvSpPr txBox="1"/>
                <p:nvPr/>
              </p:nvSpPr>
              <p:spPr>
                <a:xfrm>
                  <a:off x="6912292" y="1720822"/>
                  <a:ext cx="1692156" cy="584775"/>
                </a:xfrm>
                <a:prstGeom prst="rect">
                  <a:avLst/>
                </a:prstGeom>
                <a:noFill/>
              </p:spPr>
              <p:txBody>
                <a:bodyPr wrap="square" lIns="144000" rIns="144000" rtlCol="0">
                  <a:spAutoFit/>
                </a:bodyPr>
                <a:lstStyle/>
                <a:p>
                  <a:pPr algn="ctr" rtl="0"/>
                  <a:r>
                    <a:rPr lang="en" sz="3200" b="1" i="0" u="none" baseline="0" dirty="0">
                      <a:solidFill>
                        <a:schemeClr val="bg2"/>
                      </a:solidFill>
                      <a:effectLst>
                        <a:innerShdw blurRad="63500" dist="50800" dir="13500000">
                          <a:prstClr val="black">
                            <a:alpha val="50000"/>
                          </a:prstClr>
                        </a:innerShdw>
                      </a:effectLst>
                    </a:rPr>
                    <a:t>2016</a:t>
                  </a:r>
                  <a:endParaRPr lang="en" sz="2000" b="1" dirty="0">
                    <a:solidFill>
                      <a:schemeClr val="bg2"/>
                    </a:solidFill>
                    <a:effectLst>
                      <a:innerShdw blurRad="63500" dist="50800" dir="13500000">
                        <a:prstClr val="black">
                          <a:alpha val="50000"/>
                        </a:prstClr>
                      </a:innerShdw>
                    </a:effectLst>
                  </a:endParaRPr>
                </a:p>
              </p:txBody>
            </p:sp>
            <p:sp>
              <p:nvSpPr>
                <p:cNvPr id="71" name="Gleichschenkliges Dreieck 70"/>
                <p:cNvSpPr/>
                <p:nvPr/>
              </p:nvSpPr>
              <p:spPr>
                <a:xfrm rot="10800000">
                  <a:off x="7596336" y="3129834"/>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grpSp>
            <p:nvGrpSpPr>
              <p:cNvPr id="83" name="Gruppieren 82"/>
              <p:cNvGrpSpPr/>
              <p:nvPr/>
            </p:nvGrpSpPr>
            <p:grpSpPr>
              <a:xfrm>
                <a:off x="6783719" y="2291803"/>
                <a:ext cx="711350" cy="711350"/>
                <a:chOff x="-2332037" y="1638304"/>
                <a:chExt cx="544469" cy="544469"/>
              </a:xfrm>
            </p:grpSpPr>
            <p:sp>
              <p:nvSpPr>
                <p:cNvPr id="84" name="Ellipse 83"/>
                <p:cNvSpPr/>
                <p:nvPr/>
              </p:nvSpPr>
              <p:spPr>
                <a:xfrm>
                  <a:off x="-2332037"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85" name="Ellipse 84"/>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400" b="0" i="0" u="none" baseline="0">
                      <a:solidFill>
                        <a:schemeClr val="bg1"/>
                      </a:solidFill>
                    </a:rPr>
                    <a:t>147</a:t>
                  </a:r>
                </a:p>
              </p:txBody>
            </p:sp>
          </p:grpSp>
          <p:pic>
            <p:nvPicPr>
              <p:cNvPr id="9" name="Grafik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712749" y="3350880"/>
                <a:ext cx="1067607" cy="954652"/>
              </a:xfrm>
              <a:prstGeom prst="rect">
                <a:avLst/>
              </a:prstGeom>
            </p:spPr>
          </p:pic>
        </p:grpSp>
        <p:sp>
          <p:nvSpPr>
            <p:cNvPr id="76" name="Textfeld 1"/>
            <p:cNvSpPr txBox="1"/>
            <p:nvPr/>
          </p:nvSpPr>
          <p:spPr>
            <a:xfrm>
              <a:off x="6937587" y="5071642"/>
              <a:ext cx="1537953" cy="626701"/>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fontAlgn="base">
                <a:spcBef>
                  <a:spcPct val="0"/>
                </a:spcBef>
                <a:spcAft>
                  <a:spcPct val="0"/>
                </a:spcAft>
                <a:buClr>
                  <a:schemeClr val="tx2"/>
                </a:buClr>
              </a:pPr>
              <a:r>
                <a:rPr lang="en" sz="1100" b="0" i="0" u="none" baseline="0" dirty="0">
                  <a:solidFill>
                    <a:schemeClr val="accent1">
                      <a:lumMod val="25000"/>
                    </a:schemeClr>
                  </a:solidFill>
                  <a:latin typeface="微软雅黑" panose="020B0503020204020204" pitchFamily="34" charset="-122"/>
                  <a:ea typeface="微软雅黑" panose="020B0503020204020204" pitchFamily="34" charset="-122"/>
                  <a:cs typeface="Arial"/>
                </a:rPr>
                <a:t>99 </a:t>
              </a:r>
              <a:r>
                <a:rPr lang="zh-CN" altLang="en-US" sz="1100" dirty="0">
                  <a:solidFill>
                    <a:schemeClr val="accent1">
                      <a:lumMod val="25000"/>
                    </a:schemeClr>
                  </a:solidFill>
                  <a:latin typeface="微软雅黑" panose="020B0503020204020204" pitchFamily="34" charset="-122"/>
                  <a:ea typeface="微软雅黑" panose="020B0503020204020204" pitchFamily="34" charset="-122"/>
                  <a:cs typeface="Arial"/>
                </a:rPr>
                <a:t>个工具中心有薄膜</a:t>
              </a:r>
              <a:r>
                <a:rPr lang="zh-CN" altLang="en-US" sz="1100" dirty="0" smtClean="0">
                  <a:solidFill>
                    <a:schemeClr val="accent1">
                      <a:lumMod val="25000"/>
                    </a:schemeClr>
                  </a:solidFill>
                  <a:latin typeface="微软雅黑" panose="020B0503020204020204" pitchFamily="34" charset="-122"/>
                  <a:ea typeface="微软雅黑" panose="020B0503020204020204" pitchFamily="34" charset="-122"/>
                  <a:cs typeface="Arial"/>
                </a:rPr>
                <a:t>涂层服务</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grpSp>
    </p:spTree>
    <p:extLst>
      <p:ext uri="{BB962C8B-B14F-4D97-AF65-F5344CB8AC3E}">
        <p14:creationId xmlns:p14="http://schemas.microsoft.com/office/powerpoint/2010/main" val="317511818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71" name="think-cell Folie" r:id="rId5" imgW="216" imgH="216" progId="TCLayout.ActiveDocument.1">
                  <p:embed/>
                </p:oleObj>
              </mc:Choice>
              <mc:Fallback>
                <p:oleObj name="think-cell Foli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4" name="Grafik 13"/>
          <p:cNvPicPr>
            <a:picLocks noChangeAspect="1"/>
          </p:cNvPicPr>
          <p:nvPr/>
        </p:nvPicPr>
        <p:blipFill rotWithShape="1">
          <a:blip r:embed="rId7" cstate="print">
            <a:extLst>
              <a:ext uri="{28A0092B-C50C-407E-A947-70E740481C1C}">
                <a14:useLocalDpi xmlns:a14="http://schemas.microsoft.com/office/drawing/2010/main" val="0"/>
              </a:ext>
            </a:extLst>
          </a:blip>
          <a:srcRect l="1957" t="12200" b="13250"/>
          <a:stretch/>
        </p:blipFill>
        <p:spPr>
          <a:xfrm>
            <a:off x="0" y="1047340"/>
            <a:ext cx="9144000" cy="5215259"/>
          </a:xfrm>
          <a:prstGeom prst="rect">
            <a:avLst/>
          </a:prstGeom>
        </p:spPr>
      </p:pic>
      <p:sp>
        <p:nvSpPr>
          <p:cNvPr id="5" name="Foliennummernplatzhalter 4"/>
          <p:cNvSpPr>
            <a:spLocks noGrp="1"/>
          </p:cNvSpPr>
          <p:nvPr>
            <p:ph type="sldNum" sz="quarter" idx="15"/>
          </p:nvPr>
        </p:nvSpPr>
        <p:spPr/>
        <p:txBody>
          <a:bodyPr/>
          <a:lstStyle/>
          <a:p>
            <a:pPr algn="l" rtl="0"/>
            <a:r>
              <a:rPr lang="en" b="0" i="0" u="none" baseline="0"/>
              <a:t>Page </a:t>
            </a:r>
            <a:fld id="{D126E9C2-5A98-4FED-83CF-BD978A28F274}" type="slidenum">
              <a:rPr/>
              <a:pPr algn="l" rtl="0"/>
              <a:t>11</a:t>
            </a:fld>
            <a:endParaRPr lang="en" noProof="0" dirty="0"/>
          </a:p>
        </p:txBody>
      </p:sp>
      <p:sp>
        <p:nvSpPr>
          <p:cNvPr id="6" name="Text Placeholder 5"/>
          <p:cNvSpPr txBox="1">
            <a:spLocks/>
          </p:cNvSpPr>
          <p:nvPr/>
        </p:nvSpPr>
        <p:spPr bwMode="gray">
          <a:xfrm>
            <a:off x="395288" y="4746583"/>
            <a:ext cx="965008" cy="872034"/>
          </a:xfrm>
          <a:prstGeom prst="rect">
            <a:avLst/>
          </a:prstGeom>
        </p:spPr>
        <p:txBody>
          <a:bodyPr vert="horz" wrap="none" lIns="0" tIns="0" rIns="0" bIns="0" rtlCol="0">
            <a:spAutoFit/>
          </a:bodyPr>
          <a:lstStyle/>
          <a:p>
            <a:pPr marL="0" lvl="2" algn="l" rtl="0">
              <a:spcBef>
                <a:spcPts val="100"/>
              </a:spcBef>
              <a:spcAft>
                <a:spcPts val="100"/>
              </a:spcAft>
              <a:buClr>
                <a:schemeClr val="bg2"/>
              </a:buClr>
            </a:pPr>
            <a:r>
              <a:rPr lang="en" sz="1000" b="0" i="0" u="none" baseline="0" dirty="0" smtClean="0"/>
              <a:t>Argentina </a:t>
            </a:r>
            <a:r>
              <a:rPr lang="zh-CN" altLang="en-US" sz="1000" b="0" i="0" u="none" baseline="0" dirty="0" smtClean="0">
                <a:latin typeface="微软雅黑" panose="020B0503020204020204" pitchFamily="34" charset="-122"/>
                <a:ea typeface="微软雅黑" panose="020B0503020204020204" pitchFamily="34" charset="-122"/>
              </a:rPr>
              <a:t>阿根廷</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Brazil </a:t>
            </a:r>
            <a:r>
              <a:rPr lang="zh-CN" altLang="en-US" sz="1000" b="0" i="0" u="none" baseline="0" dirty="0" smtClean="0">
                <a:latin typeface="微软雅黑" panose="020B0503020204020204" pitchFamily="34" charset="-122"/>
                <a:ea typeface="微软雅黑" panose="020B0503020204020204" pitchFamily="34" charset="-122"/>
              </a:rPr>
              <a:t>巴西</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Canada </a:t>
            </a:r>
            <a:r>
              <a:rPr lang="zh-CN" altLang="en-US" sz="1000" b="0" i="0" u="none" baseline="0" dirty="0" smtClean="0">
                <a:latin typeface="微软雅黑" panose="020B0503020204020204" pitchFamily="34" charset="-122"/>
                <a:ea typeface="微软雅黑" panose="020B0503020204020204" pitchFamily="34" charset="-122"/>
              </a:rPr>
              <a:t>加拿大</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Mexico </a:t>
            </a:r>
            <a:r>
              <a:rPr lang="zh-CN" altLang="en-US" sz="1000" b="0" i="0" u="none" baseline="0" dirty="0" smtClean="0">
                <a:latin typeface="微软雅黑" panose="020B0503020204020204" pitchFamily="34" charset="-122"/>
                <a:ea typeface="微软雅黑" panose="020B0503020204020204" pitchFamily="34" charset="-122"/>
              </a:rPr>
              <a:t>墨西哥</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USA </a:t>
            </a:r>
            <a:r>
              <a:rPr lang="zh-CN" altLang="en-US" sz="1000" b="0" i="0" u="none" baseline="0" dirty="0" smtClean="0">
                <a:latin typeface="微软雅黑" panose="020B0503020204020204" pitchFamily="34" charset="-122"/>
                <a:ea typeface="微软雅黑" panose="020B0503020204020204" pitchFamily="34" charset="-122"/>
              </a:rPr>
              <a:t>美国</a:t>
            </a:r>
            <a:endParaRPr lang="en" sz="1000" b="0" i="0" u="none" baseline="0" dirty="0">
              <a:latin typeface="微软雅黑" panose="020B0503020204020204" pitchFamily="34" charset="-122"/>
              <a:ea typeface="微软雅黑" panose="020B0503020204020204" pitchFamily="34" charset="-122"/>
            </a:endParaRPr>
          </a:p>
        </p:txBody>
      </p:sp>
      <p:sp>
        <p:nvSpPr>
          <p:cNvPr id="7" name="Text Placeholder 5"/>
          <p:cNvSpPr txBox="1">
            <a:spLocks/>
          </p:cNvSpPr>
          <p:nvPr/>
        </p:nvSpPr>
        <p:spPr bwMode="gray">
          <a:xfrm>
            <a:off x="3226806" y="4698774"/>
            <a:ext cx="1391407" cy="1769715"/>
          </a:xfrm>
          <a:prstGeom prst="rect">
            <a:avLst/>
          </a:prstGeom>
        </p:spPr>
        <p:txBody>
          <a:bodyPr vert="horz" wrap="none" lIns="0" tIns="0" rIns="0" bIns="0" rtlCol="0">
            <a:spAutoFit/>
          </a:bodyPr>
          <a:lstStyle/>
          <a:p>
            <a:pPr marL="0" lvl="2" algn="l" rtl="0">
              <a:spcBef>
                <a:spcPts val="100"/>
              </a:spcBef>
              <a:spcAft>
                <a:spcPts val="100"/>
              </a:spcAft>
              <a:buClr>
                <a:schemeClr val="bg2"/>
              </a:buClr>
            </a:pPr>
            <a:r>
              <a:rPr lang="en" sz="1000" b="0" i="0" u="none" baseline="0" dirty="0" smtClean="0"/>
              <a:t>Liechtenstein</a:t>
            </a:r>
            <a:r>
              <a:rPr lang="zh-CN" altLang="en-US" sz="1000" b="0" i="0" u="none" baseline="0" dirty="0" smtClean="0">
                <a:latin typeface="微软雅黑" panose="020B0503020204020204" pitchFamily="34" charset="-122"/>
                <a:ea typeface="微软雅黑" panose="020B0503020204020204" pitchFamily="34" charset="-122"/>
              </a:rPr>
              <a:t>列支敦士登</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Benelux </a:t>
            </a:r>
            <a:r>
              <a:rPr lang="zh-CN" altLang="en-US" sz="1000" b="0" i="0" u="none" baseline="0" dirty="0" smtClean="0">
                <a:latin typeface="微软雅黑" panose="020B0503020204020204" pitchFamily="34" charset="-122"/>
                <a:ea typeface="微软雅黑" panose="020B0503020204020204" pitchFamily="34" charset="-122"/>
              </a:rPr>
              <a:t>比荷卢</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Germany </a:t>
            </a:r>
            <a:r>
              <a:rPr lang="zh-CN" altLang="en-US" sz="1000" b="0" i="0" u="none" baseline="0" dirty="0" smtClean="0">
                <a:latin typeface="微软雅黑" panose="020B0503020204020204" pitchFamily="34" charset="-122"/>
                <a:ea typeface="微软雅黑" panose="020B0503020204020204" pitchFamily="34" charset="-122"/>
              </a:rPr>
              <a:t>德国</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Finland </a:t>
            </a:r>
            <a:r>
              <a:rPr lang="zh-CN" altLang="en-US" sz="1000" b="0" i="0" u="none" baseline="0" dirty="0" smtClean="0">
                <a:latin typeface="微软雅黑" panose="020B0503020204020204" pitchFamily="34" charset="-122"/>
                <a:ea typeface="微软雅黑" panose="020B0503020204020204" pitchFamily="34" charset="-122"/>
              </a:rPr>
              <a:t>芬兰</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France </a:t>
            </a:r>
            <a:r>
              <a:rPr lang="zh-CN" altLang="en-US" sz="1000" b="0" i="0" u="none" baseline="0" dirty="0" smtClean="0">
                <a:latin typeface="微软雅黑" panose="020B0503020204020204" pitchFamily="34" charset="-122"/>
                <a:ea typeface="微软雅黑" panose="020B0503020204020204" pitchFamily="34" charset="-122"/>
              </a:rPr>
              <a:t>发过</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a:t>Great </a:t>
            </a:r>
            <a:r>
              <a:rPr lang="en" sz="1000" b="0" i="0" u="none" baseline="0" dirty="0" smtClean="0"/>
              <a:t>Britain </a:t>
            </a:r>
            <a:r>
              <a:rPr lang="zh-CN" altLang="en-US" sz="1000" b="0" i="0" u="none" baseline="0" dirty="0" smtClean="0">
                <a:latin typeface="微软雅黑" panose="020B0503020204020204" pitchFamily="34" charset="-122"/>
                <a:ea typeface="微软雅黑" panose="020B0503020204020204" pitchFamily="34" charset="-122"/>
              </a:rPr>
              <a:t>英国</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Italy </a:t>
            </a:r>
            <a:r>
              <a:rPr lang="zh-CN" altLang="en-US" sz="1000" b="0" i="0" u="none" baseline="0" dirty="0" smtClean="0">
                <a:latin typeface="微软雅黑" panose="020B0503020204020204" pitchFamily="34" charset="-122"/>
                <a:ea typeface="微软雅黑" panose="020B0503020204020204" pitchFamily="34" charset="-122"/>
              </a:rPr>
              <a:t>意大利</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Austria </a:t>
            </a:r>
            <a:r>
              <a:rPr lang="zh-CN" altLang="en-US" sz="1000" b="0" i="0" u="none" baseline="0" dirty="0" smtClean="0">
                <a:latin typeface="微软雅黑" panose="020B0503020204020204" pitchFamily="34" charset="-122"/>
                <a:ea typeface="微软雅黑" panose="020B0503020204020204" pitchFamily="34" charset="-122"/>
              </a:rPr>
              <a:t>奥地利</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Poland </a:t>
            </a:r>
            <a:r>
              <a:rPr lang="zh-CN" altLang="en-US" sz="1000" b="0" i="0" u="none" baseline="0" dirty="0" smtClean="0">
                <a:latin typeface="微软雅黑" panose="020B0503020204020204" pitchFamily="34" charset="-122"/>
                <a:ea typeface="微软雅黑" panose="020B0503020204020204" pitchFamily="34" charset="-122"/>
              </a:rPr>
              <a:t>波兰</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Portugal </a:t>
            </a:r>
            <a:r>
              <a:rPr lang="zh-CN" altLang="en-US" sz="1000" b="0" i="0" u="none" baseline="0" dirty="0" smtClean="0">
                <a:latin typeface="微软雅黑" panose="020B0503020204020204" pitchFamily="34" charset="-122"/>
                <a:ea typeface="微软雅黑" panose="020B0503020204020204" pitchFamily="34" charset="-122"/>
              </a:rPr>
              <a:t>葡萄牙</a:t>
            </a:r>
            <a:endParaRPr lang="en" sz="1000" dirty="0" smtClean="0">
              <a:latin typeface="微软雅黑" panose="020B0503020204020204" pitchFamily="34" charset="-122"/>
              <a:ea typeface="微软雅黑" panose="020B0503020204020204" pitchFamily="34" charset="-122"/>
            </a:endParaRPr>
          </a:p>
        </p:txBody>
      </p:sp>
      <p:sp>
        <p:nvSpPr>
          <p:cNvPr id="8" name="Text Placeholder 5"/>
          <p:cNvSpPr txBox="1">
            <a:spLocks/>
          </p:cNvSpPr>
          <p:nvPr/>
        </p:nvSpPr>
        <p:spPr bwMode="gray">
          <a:xfrm>
            <a:off x="4663861" y="4698774"/>
            <a:ext cx="1059585" cy="1590179"/>
          </a:xfrm>
          <a:prstGeom prst="rect">
            <a:avLst/>
          </a:prstGeom>
        </p:spPr>
        <p:txBody>
          <a:bodyPr vert="horz" wrap="none" lIns="0" tIns="0" rIns="0" bIns="0" rtlCol="0">
            <a:spAutoFit/>
          </a:bodyPr>
          <a:lstStyle/>
          <a:p>
            <a:pPr marL="0" lvl="2" algn="l" rtl="0">
              <a:spcBef>
                <a:spcPts val="100"/>
              </a:spcBef>
              <a:spcAft>
                <a:spcPts val="100"/>
              </a:spcAft>
              <a:buClr>
                <a:schemeClr val="bg2"/>
              </a:buClr>
            </a:pPr>
            <a:r>
              <a:rPr lang="en" sz="1000" b="0" i="0" u="none" baseline="0" dirty="0" smtClean="0"/>
              <a:t>Romania </a:t>
            </a:r>
            <a:r>
              <a:rPr lang="zh-CN" altLang="en-US" sz="1000" b="0" i="0" u="none" baseline="0" dirty="0" smtClean="0">
                <a:latin typeface="微软雅黑" panose="020B0503020204020204" pitchFamily="34" charset="-122"/>
                <a:ea typeface="微软雅黑" panose="020B0503020204020204" pitchFamily="34" charset="-122"/>
              </a:rPr>
              <a:t>罗马利亚</a:t>
            </a:r>
            <a:endParaRPr lang="en" sz="1000" b="0" i="0" u="none" baseline="0" dirty="0" smtClean="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Russia </a:t>
            </a:r>
            <a:r>
              <a:rPr lang="zh-CN" altLang="en-US" sz="1000" b="0" i="0" u="none" baseline="0" dirty="0" smtClean="0">
                <a:latin typeface="微软雅黑" panose="020B0503020204020204" pitchFamily="34" charset="-122"/>
                <a:ea typeface="微软雅黑" panose="020B0503020204020204" pitchFamily="34" charset="-122"/>
              </a:rPr>
              <a:t>俄国</a:t>
            </a:r>
            <a:endParaRPr lang="en" sz="1000" b="0" i="0" u="none" baseline="0" dirty="0" smtClean="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Slovakia </a:t>
            </a:r>
            <a:r>
              <a:rPr lang="zh-CN" altLang="en-US" sz="1000" b="0" i="0" u="none" baseline="0" dirty="0" smtClean="0">
                <a:latin typeface="微软雅黑" panose="020B0503020204020204" pitchFamily="34" charset="-122"/>
                <a:ea typeface="微软雅黑" panose="020B0503020204020204" pitchFamily="34" charset="-122"/>
              </a:rPr>
              <a:t>斯洛伐克</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Spain </a:t>
            </a:r>
            <a:r>
              <a:rPr lang="zh-CN" altLang="en-US" sz="1000" b="0" i="0" u="none" baseline="0" dirty="0" smtClean="0">
                <a:latin typeface="微软雅黑" panose="020B0503020204020204" pitchFamily="34" charset="-122"/>
                <a:ea typeface="微软雅黑" panose="020B0503020204020204" pitchFamily="34" charset="-122"/>
              </a:rPr>
              <a:t>西班牙</a:t>
            </a:r>
            <a:endParaRPr lang="en" sz="100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Sweden </a:t>
            </a:r>
            <a:r>
              <a:rPr lang="zh-CN" altLang="en-US" sz="1000" b="0" i="0" u="none" baseline="0" dirty="0" smtClean="0">
                <a:latin typeface="微软雅黑" panose="020B0503020204020204" pitchFamily="34" charset="-122"/>
                <a:ea typeface="微软雅黑" panose="020B0503020204020204" pitchFamily="34" charset="-122"/>
              </a:rPr>
              <a:t>瑞典</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Switzerland </a:t>
            </a:r>
            <a:r>
              <a:rPr lang="zh-CN" altLang="en-US" sz="1000" b="0" i="0" u="none" baseline="0" dirty="0" smtClean="0">
                <a:latin typeface="微软雅黑" panose="020B0503020204020204" pitchFamily="34" charset="-122"/>
                <a:ea typeface="微软雅黑" panose="020B0503020204020204" pitchFamily="34" charset="-122"/>
              </a:rPr>
              <a:t>瑞士</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Czechia </a:t>
            </a:r>
            <a:r>
              <a:rPr lang="zh-CN" altLang="en-US" sz="1000" b="0" i="0" u="none" baseline="0" dirty="0" smtClean="0">
                <a:latin typeface="微软雅黑" panose="020B0503020204020204" pitchFamily="34" charset="-122"/>
                <a:ea typeface="微软雅黑" panose="020B0503020204020204" pitchFamily="34" charset="-122"/>
              </a:rPr>
              <a:t>捷克</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Turkey </a:t>
            </a:r>
            <a:r>
              <a:rPr lang="zh-CN" altLang="en-US" sz="1000" b="0" i="0" u="none" baseline="0" dirty="0" smtClean="0">
                <a:latin typeface="微软雅黑" panose="020B0503020204020204" pitchFamily="34" charset="-122"/>
                <a:ea typeface="微软雅黑" panose="020B0503020204020204" pitchFamily="34" charset="-122"/>
              </a:rPr>
              <a:t>土耳其</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Hungary </a:t>
            </a:r>
            <a:r>
              <a:rPr lang="zh-CN" altLang="en-US" sz="1000" b="0" i="0" u="none" baseline="0" dirty="0" smtClean="0">
                <a:latin typeface="微软雅黑" panose="020B0503020204020204" pitchFamily="34" charset="-122"/>
                <a:ea typeface="微软雅黑" panose="020B0503020204020204" pitchFamily="34" charset="-122"/>
              </a:rPr>
              <a:t>匈牙利</a:t>
            </a:r>
            <a:endParaRPr lang="en" sz="1000" b="0" i="0" u="none" baseline="0" dirty="0">
              <a:latin typeface="微软雅黑" panose="020B0503020204020204" pitchFamily="34" charset="-122"/>
              <a:ea typeface="微软雅黑" panose="020B0503020204020204" pitchFamily="34" charset="-122"/>
            </a:endParaRPr>
          </a:p>
        </p:txBody>
      </p:sp>
      <p:sp>
        <p:nvSpPr>
          <p:cNvPr id="9" name="Text Placeholder 5"/>
          <p:cNvSpPr txBox="1">
            <a:spLocks/>
          </p:cNvSpPr>
          <p:nvPr/>
        </p:nvSpPr>
        <p:spPr bwMode="gray">
          <a:xfrm>
            <a:off x="6095489" y="4741888"/>
            <a:ext cx="1227900" cy="1590179"/>
          </a:xfrm>
          <a:prstGeom prst="rect">
            <a:avLst/>
          </a:prstGeom>
        </p:spPr>
        <p:txBody>
          <a:bodyPr vert="horz" wrap="none" lIns="0" tIns="0" rIns="0" bIns="0" rtlCol="0">
            <a:spAutoFit/>
          </a:bodyPr>
          <a:lstStyle/>
          <a:p>
            <a:pPr marL="0" lvl="2" algn="l" rtl="0">
              <a:spcBef>
                <a:spcPts val="100"/>
              </a:spcBef>
              <a:spcAft>
                <a:spcPts val="100"/>
              </a:spcAft>
              <a:buClr>
                <a:schemeClr val="bg2"/>
              </a:buClr>
            </a:pPr>
            <a:r>
              <a:rPr lang="en" sz="1000" b="0" i="0" u="none" baseline="0" dirty="0" smtClean="0"/>
              <a:t>China </a:t>
            </a:r>
            <a:r>
              <a:rPr lang="zh-CN" altLang="en-US" sz="1000" b="0" i="0" u="none" baseline="0" dirty="0" smtClean="0">
                <a:latin typeface="微软雅黑" panose="020B0503020204020204" pitchFamily="34" charset="-122"/>
                <a:ea typeface="微软雅黑" panose="020B0503020204020204" pitchFamily="34" charset="-122"/>
              </a:rPr>
              <a:t>中国</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India </a:t>
            </a:r>
            <a:r>
              <a:rPr lang="zh-CN" altLang="en-US" sz="1000" b="0" i="0" u="none" baseline="0" dirty="0" smtClean="0">
                <a:latin typeface="微软雅黑" panose="020B0503020204020204" pitchFamily="34" charset="-122"/>
                <a:ea typeface="微软雅黑" panose="020B0503020204020204" pitchFamily="34" charset="-122"/>
              </a:rPr>
              <a:t>印度</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Indonesia </a:t>
            </a:r>
            <a:r>
              <a:rPr lang="zh-CN" altLang="en-US" sz="1000" dirty="0">
                <a:latin typeface="微软雅黑" panose="020B0503020204020204" pitchFamily="34" charset="-122"/>
                <a:ea typeface="微软雅黑" panose="020B0503020204020204" pitchFamily="34" charset="-122"/>
              </a:rPr>
              <a:t>印度尼西亚</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Japan </a:t>
            </a:r>
            <a:r>
              <a:rPr lang="zh-CN" altLang="en-US" sz="1000" b="0" i="0" u="none" baseline="0" dirty="0" smtClean="0">
                <a:latin typeface="微软雅黑" panose="020B0503020204020204" pitchFamily="34" charset="-122"/>
                <a:ea typeface="微软雅黑" panose="020B0503020204020204" pitchFamily="34" charset="-122"/>
              </a:rPr>
              <a:t>日本</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Korea </a:t>
            </a:r>
            <a:r>
              <a:rPr lang="zh-CN" altLang="en-US" sz="1000" b="0" i="0" u="none" baseline="0" dirty="0" smtClean="0">
                <a:latin typeface="微软雅黑" panose="020B0503020204020204" pitchFamily="34" charset="-122"/>
                <a:ea typeface="微软雅黑" panose="020B0503020204020204" pitchFamily="34" charset="-122"/>
              </a:rPr>
              <a:t>韩国</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Malaysia </a:t>
            </a:r>
            <a:r>
              <a:rPr lang="zh-CN" altLang="en-US" sz="1000" b="0" i="0" u="none" baseline="0" dirty="0" smtClean="0">
                <a:latin typeface="微软雅黑" panose="020B0503020204020204" pitchFamily="34" charset="-122"/>
                <a:ea typeface="微软雅黑" panose="020B0503020204020204" pitchFamily="34" charset="-122"/>
              </a:rPr>
              <a:t>马来西亚</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Philippines </a:t>
            </a:r>
            <a:r>
              <a:rPr lang="zh-CN" altLang="en-US" sz="1000" b="0" i="0" u="none" baseline="0" dirty="0" smtClean="0">
                <a:latin typeface="微软雅黑" panose="020B0503020204020204" pitchFamily="34" charset="-122"/>
                <a:ea typeface="微软雅黑" panose="020B0503020204020204" pitchFamily="34" charset="-122"/>
              </a:rPr>
              <a:t>菲律宾</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Singapore </a:t>
            </a:r>
            <a:r>
              <a:rPr lang="zh-CN" altLang="en-US" sz="1000" b="0" i="0" u="none" baseline="0" dirty="0" smtClean="0">
                <a:latin typeface="微软雅黑" panose="020B0503020204020204" pitchFamily="34" charset="-122"/>
                <a:ea typeface="微软雅黑" panose="020B0503020204020204" pitchFamily="34" charset="-122"/>
              </a:rPr>
              <a:t>新加坡</a:t>
            </a:r>
            <a:endParaRPr lang="en" sz="1000" b="0" i="0" u="none" baseline="0" dirty="0">
              <a:latin typeface="微软雅黑" panose="020B0503020204020204" pitchFamily="34" charset="-122"/>
              <a:ea typeface="微软雅黑" panose="020B0503020204020204" pitchFamily="34" charset="-122"/>
            </a:endParaRPr>
          </a:p>
          <a:p>
            <a:pPr marL="0" lvl="2" algn="l" rtl="0">
              <a:spcBef>
                <a:spcPts val="100"/>
              </a:spcBef>
              <a:spcAft>
                <a:spcPts val="100"/>
              </a:spcAft>
              <a:buClr>
                <a:schemeClr val="bg2"/>
              </a:buClr>
            </a:pPr>
            <a:r>
              <a:rPr lang="en" sz="1000" b="0" i="0" u="none" baseline="0" dirty="0" smtClean="0"/>
              <a:t>Thailand </a:t>
            </a:r>
            <a:r>
              <a:rPr lang="zh-CN" altLang="en-US" sz="1000" b="0" i="0" u="none" baseline="0" dirty="0" smtClean="0">
                <a:latin typeface="微软雅黑" panose="020B0503020204020204" pitchFamily="34" charset="-122"/>
                <a:ea typeface="微软雅黑" panose="020B0503020204020204" pitchFamily="34" charset="-122"/>
              </a:rPr>
              <a:t>泰国</a:t>
            </a:r>
            <a:endParaRPr lang="en" sz="1000" b="0" i="0" u="none" baseline="0" dirty="0">
              <a:latin typeface="微软雅黑" panose="020B0503020204020204" pitchFamily="34" charset="-122"/>
              <a:ea typeface="微软雅黑" panose="020B0503020204020204" pitchFamily="34" charset="-122"/>
            </a:endParaRPr>
          </a:p>
        </p:txBody>
      </p:sp>
      <p:grpSp>
        <p:nvGrpSpPr>
          <p:cNvPr id="16" name="Gruppieren 15"/>
          <p:cNvGrpSpPr/>
          <p:nvPr/>
        </p:nvGrpSpPr>
        <p:grpSpPr>
          <a:xfrm>
            <a:off x="409244" y="3843290"/>
            <a:ext cx="2311846" cy="780415"/>
            <a:chOff x="395537" y="3501008"/>
            <a:chExt cx="1296144" cy="780415"/>
          </a:xfrm>
        </p:grpSpPr>
        <p:sp>
          <p:nvSpPr>
            <p:cNvPr id="10" name="Textfeld 9"/>
            <p:cNvSpPr txBox="1"/>
            <p:nvPr/>
          </p:nvSpPr>
          <p:spPr>
            <a:xfrm>
              <a:off x="395537" y="3501008"/>
              <a:ext cx="1296144" cy="651905"/>
            </a:xfrm>
            <a:prstGeom prst="rect">
              <a:avLst/>
            </a:prstGeom>
            <a:noFill/>
          </p:spPr>
          <p:txBody>
            <a:bodyPr wrap="square" lIns="0" tIns="36000" rIns="0" bIns="0" rtlCol="0">
              <a:spAutoFit/>
            </a:bodyPr>
            <a:lstStyle/>
            <a:p>
              <a:pPr algn="l" rtl="0">
                <a:spcBef>
                  <a:spcPts val="300"/>
                </a:spcBef>
                <a:spcAft>
                  <a:spcPts val="300"/>
                </a:spcAft>
                <a:buClr>
                  <a:schemeClr val="bg2"/>
                </a:buClr>
              </a:pPr>
              <a:r>
                <a:rPr lang="en" sz="4000" b="1" i="0" u="none" baseline="0">
                  <a:solidFill>
                    <a:schemeClr val="bg2"/>
                  </a:solidFill>
                </a:rPr>
                <a:t>21</a:t>
              </a:r>
              <a:r>
                <a:rPr lang="en" sz="1100" b="0" i="0" u="none" baseline="0">
                  <a:solidFill>
                    <a:schemeClr val="bg2"/>
                  </a:solidFill>
                </a:rPr>
                <a:t>Centres</a:t>
              </a:r>
              <a:endParaRPr lang="en" sz="1100" b="1" dirty="0" smtClean="0">
                <a:solidFill>
                  <a:schemeClr val="bg2"/>
                </a:solidFill>
              </a:endParaRPr>
            </a:p>
          </p:txBody>
        </p:sp>
        <p:sp>
          <p:nvSpPr>
            <p:cNvPr id="15" name="Textfeld 14"/>
            <p:cNvSpPr txBox="1"/>
            <p:nvPr/>
          </p:nvSpPr>
          <p:spPr>
            <a:xfrm>
              <a:off x="403647" y="3998850"/>
              <a:ext cx="1216026" cy="282573"/>
            </a:xfrm>
            <a:prstGeom prst="rect">
              <a:avLst/>
            </a:prstGeom>
            <a:noFill/>
          </p:spPr>
          <p:txBody>
            <a:bodyPr wrap="square" lIns="0" tIns="36000" rIns="0" bIns="0" rtlCol="0">
              <a:spAutoFit/>
            </a:bodyPr>
            <a:lstStyle/>
            <a:p>
              <a:pPr algn="l" rtl="0">
                <a:spcBef>
                  <a:spcPts val="300"/>
                </a:spcBef>
                <a:spcAft>
                  <a:spcPts val="300"/>
                </a:spcAft>
                <a:buClr>
                  <a:schemeClr val="bg2"/>
                </a:buClr>
              </a:pPr>
              <a:r>
                <a:rPr lang="en" sz="1600" b="0" i="0" u="none" baseline="0" dirty="0" smtClean="0">
                  <a:solidFill>
                    <a:schemeClr val="bg2"/>
                  </a:solidFill>
                </a:rPr>
                <a:t>Americas </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美洲</a:t>
              </a:r>
              <a:r>
                <a:rPr lang="en-US" altLang="zh-CN" sz="1600" b="0" i="0" u="none" baseline="0" dirty="0" smtClean="0">
                  <a:solidFill>
                    <a:schemeClr val="bg2"/>
                  </a:solidFill>
                  <a:latin typeface="微软雅黑" panose="020B0503020204020204" pitchFamily="34" charset="-122"/>
                  <a:ea typeface="微软雅黑" panose="020B0503020204020204" pitchFamily="34" charset="-122"/>
                </a:rPr>
                <a:t>21</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个中心</a:t>
              </a:r>
              <a:endParaRPr lang="en" sz="1600" b="1" dirty="0" smtClean="0">
                <a:solidFill>
                  <a:schemeClr val="bg2"/>
                </a:solidFill>
                <a:latin typeface="微软雅黑" panose="020B0503020204020204" pitchFamily="34" charset="-122"/>
                <a:ea typeface="微软雅黑" panose="020B0503020204020204" pitchFamily="34" charset="-122"/>
              </a:endParaRPr>
            </a:p>
          </p:txBody>
        </p:sp>
      </p:grpSp>
      <p:grpSp>
        <p:nvGrpSpPr>
          <p:cNvPr id="17" name="Gruppieren 16"/>
          <p:cNvGrpSpPr/>
          <p:nvPr/>
        </p:nvGrpSpPr>
        <p:grpSpPr>
          <a:xfrm>
            <a:off x="3258014" y="3867580"/>
            <a:ext cx="2307870" cy="1026636"/>
            <a:chOff x="395537" y="3501008"/>
            <a:chExt cx="1296144" cy="1026636"/>
          </a:xfrm>
        </p:grpSpPr>
        <p:sp>
          <p:nvSpPr>
            <p:cNvPr id="18" name="Textfeld 17"/>
            <p:cNvSpPr txBox="1"/>
            <p:nvPr/>
          </p:nvSpPr>
          <p:spPr>
            <a:xfrm>
              <a:off x="395537" y="3501008"/>
              <a:ext cx="1296144" cy="651905"/>
            </a:xfrm>
            <a:prstGeom prst="rect">
              <a:avLst/>
            </a:prstGeom>
            <a:noFill/>
          </p:spPr>
          <p:txBody>
            <a:bodyPr wrap="square" lIns="0" tIns="36000" rIns="0" bIns="0" rtlCol="0">
              <a:spAutoFit/>
            </a:bodyPr>
            <a:lstStyle/>
            <a:p>
              <a:pPr algn="l" rtl="0">
                <a:spcBef>
                  <a:spcPts val="300"/>
                </a:spcBef>
                <a:spcAft>
                  <a:spcPts val="300"/>
                </a:spcAft>
                <a:buClr>
                  <a:schemeClr val="bg2"/>
                </a:buClr>
              </a:pPr>
              <a:r>
                <a:rPr lang="en" sz="4000" b="1" i="0" u="none" baseline="0">
                  <a:solidFill>
                    <a:schemeClr val="bg2"/>
                  </a:solidFill>
                </a:rPr>
                <a:t>42</a:t>
              </a:r>
              <a:r>
                <a:rPr lang="en" sz="1100" b="0" i="0" u="none" baseline="0">
                  <a:solidFill>
                    <a:schemeClr val="bg2"/>
                  </a:solidFill>
                </a:rPr>
                <a:t>Centres</a:t>
              </a:r>
              <a:endParaRPr lang="en" sz="1100" b="1" dirty="0" smtClean="0">
                <a:solidFill>
                  <a:schemeClr val="bg2"/>
                </a:solidFill>
              </a:endParaRPr>
            </a:p>
          </p:txBody>
        </p:sp>
        <p:sp>
          <p:nvSpPr>
            <p:cNvPr id="19" name="Textfeld 18"/>
            <p:cNvSpPr txBox="1"/>
            <p:nvPr/>
          </p:nvSpPr>
          <p:spPr>
            <a:xfrm>
              <a:off x="403647" y="3998850"/>
              <a:ext cx="1216026" cy="528794"/>
            </a:xfrm>
            <a:prstGeom prst="rect">
              <a:avLst/>
            </a:prstGeom>
            <a:noFill/>
          </p:spPr>
          <p:txBody>
            <a:bodyPr wrap="square" lIns="0" tIns="36000" rIns="0" bIns="0" rtlCol="0">
              <a:spAutoFit/>
            </a:bodyPr>
            <a:lstStyle/>
            <a:p>
              <a:pPr algn="l" rtl="0">
                <a:spcBef>
                  <a:spcPts val="300"/>
                </a:spcBef>
                <a:spcAft>
                  <a:spcPts val="300"/>
                </a:spcAft>
                <a:buClr>
                  <a:schemeClr val="bg2"/>
                </a:buClr>
              </a:pPr>
              <a:r>
                <a:rPr lang="en" sz="1600" b="0" i="0" u="none" baseline="0" dirty="0" smtClean="0">
                  <a:solidFill>
                    <a:schemeClr val="bg2"/>
                  </a:solidFill>
                </a:rPr>
                <a:t>Europe</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欧洲</a:t>
              </a:r>
              <a:r>
                <a:rPr lang="en-US" altLang="zh-CN" sz="1600" b="0" i="0" u="none" baseline="0" dirty="0" smtClean="0">
                  <a:solidFill>
                    <a:schemeClr val="bg2"/>
                  </a:solidFill>
                  <a:latin typeface="微软雅黑" panose="020B0503020204020204" pitchFamily="34" charset="-122"/>
                  <a:ea typeface="微软雅黑" panose="020B0503020204020204" pitchFamily="34" charset="-122"/>
                </a:rPr>
                <a:t>42</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个中心</a:t>
              </a:r>
              <a:endParaRPr lang="en" sz="1600" b="1" dirty="0" smtClean="0">
                <a:solidFill>
                  <a:schemeClr val="bg2"/>
                </a:solidFill>
                <a:latin typeface="微软雅黑" panose="020B0503020204020204" pitchFamily="34" charset="-122"/>
                <a:ea typeface="微软雅黑" panose="020B0503020204020204" pitchFamily="34" charset="-122"/>
              </a:endParaRPr>
            </a:p>
          </p:txBody>
        </p:sp>
      </p:grpSp>
      <p:grpSp>
        <p:nvGrpSpPr>
          <p:cNvPr id="20" name="Gruppieren 19"/>
          <p:cNvGrpSpPr/>
          <p:nvPr/>
        </p:nvGrpSpPr>
        <p:grpSpPr>
          <a:xfrm>
            <a:off x="6095488" y="3882594"/>
            <a:ext cx="1860887" cy="780415"/>
            <a:chOff x="395537" y="3501008"/>
            <a:chExt cx="1296144" cy="780415"/>
          </a:xfrm>
        </p:grpSpPr>
        <p:sp>
          <p:nvSpPr>
            <p:cNvPr id="21" name="Textfeld 20"/>
            <p:cNvSpPr txBox="1"/>
            <p:nvPr/>
          </p:nvSpPr>
          <p:spPr>
            <a:xfrm>
              <a:off x="395537" y="3501008"/>
              <a:ext cx="1296144" cy="651905"/>
            </a:xfrm>
            <a:prstGeom prst="rect">
              <a:avLst/>
            </a:prstGeom>
            <a:noFill/>
          </p:spPr>
          <p:txBody>
            <a:bodyPr wrap="square" lIns="0" tIns="36000" rIns="0" bIns="0" rtlCol="0">
              <a:spAutoFit/>
            </a:bodyPr>
            <a:lstStyle/>
            <a:p>
              <a:pPr algn="l" rtl="0">
                <a:spcBef>
                  <a:spcPts val="300"/>
                </a:spcBef>
                <a:spcAft>
                  <a:spcPts val="300"/>
                </a:spcAft>
                <a:buClr>
                  <a:schemeClr val="bg2"/>
                </a:buClr>
              </a:pPr>
              <a:r>
                <a:rPr lang="en" sz="4000" b="1" i="0" u="none" baseline="0">
                  <a:solidFill>
                    <a:schemeClr val="bg2"/>
                  </a:solidFill>
                </a:rPr>
                <a:t>36</a:t>
              </a:r>
              <a:r>
                <a:rPr lang="en" sz="1100" b="0" i="0" u="none" baseline="0">
                  <a:solidFill>
                    <a:schemeClr val="bg2"/>
                  </a:solidFill>
                </a:rPr>
                <a:t>Centres</a:t>
              </a:r>
              <a:endParaRPr lang="en" sz="1100" b="1" dirty="0" smtClean="0">
                <a:solidFill>
                  <a:schemeClr val="bg2"/>
                </a:solidFill>
              </a:endParaRPr>
            </a:p>
          </p:txBody>
        </p:sp>
        <p:sp>
          <p:nvSpPr>
            <p:cNvPr id="22" name="Textfeld 21"/>
            <p:cNvSpPr txBox="1"/>
            <p:nvPr/>
          </p:nvSpPr>
          <p:spPr>
            <a:xfrm>
              <a:off x="403647" y="3998850"/>
              <a:ext cx="1216026" cy="282573"/>
            </a:xfrm>
            <a:prstGeom prst="rect">
              <a:avLst/>
            </a:prstGeom>
            <a:noFill/>
          </p:spPr>
          <p:txBody>
            <a:bodyPr wrap="square" lIns="0" tIns="36000" rIns="0" bIns="0" rtlCol="0">
              <a:spAutoFit/>
            </a:bodyPr>
            <a:lstStyle/>
            <a:p>
              <a:pPr algn="l" rtl="0">
                <a:spcBef>
                  <a:spcPts val="300"/>
                </a:spcBef>
                <a:spcAft>
                  <a:spcPts val="300"/>
                </a:spcAft>
                <a:buClr>
                  <a:schemeClr val="bg2"/>
                </a:buClr>
              </a:pPr>
              <a:r>
                <a:rPr lang="en" sz="1600" b="0" i="0" u="none" baseline="0" dirty="0" smtClean="0">
                  <a:solidFill>
                    <a:schemeClr val="bg2"/>
                  </a:solidFill>
                </a:rPr>
                <a:t>Asia </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亚洲</a:t>
              </a:r>
              <a:r>
                <a:rPr lang="en-US" altLang="zh-CN" sz="1600" b="0" i="0" u="none" baseline="0" dirty="0" smtClean="0">
                  <a:solidFill>
                    <a:schemeClr val="bg2"/>
                  </a:solidFill>
                  <a:latin typeface="微软雅黑" panose="020B0503020204020204" pitchFamily="34" charset="-122"/>
                  <a:ea typeface="微软雅黑" panose="020B0503020204020204" pitchFamily="34" charset="-122"/>
                </a:rPr>
                <a:t>36</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个中心</a:t>
              </a:r>
              <a:endParaRPr lang="en" sz="1600" b="1" dirty="0" smtClean="0">
                <a:solidFill>
                  <a:schemeClr val="bg2"/>
                </a:solidFill>
                <a:latin typeface="微软雅黑" panose="020B0503020204020204" pitchFamily="34" charset="-122"/>
                <a:ea typeface="微软雅黑" panose="020B0503020204020204" pitchFamily="34" charset="-122"/>
              </a:endParaRPr>
            </a:p>
          </p:txBody>
        </p:sp>
      </p:grpSp>
      <p:pic>
        <p:nvPicPr>
          <p:cNvPr id="23" name="Grafik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07" y="3734593"/>
            <a:ext cx="543217" cy="575006"/>
          </a:xfrm>
          <a:prstGeom prst="rect">
            <a:avLst/>
          </a:prstGeom>
        </p:spPr>
      </p:pic>
      <p:pic>
        <p:nvPicPr>
          <p:cNvPr id="24" name="Grafik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80707" y="3746704"/>
            <a:ext cx="440370" cy="575006"/>
          </a:xfrm>
          <a:prstGeom prst="rect">
            <a:avLst/>
          </a:prstGeom>
        </p:spPr>
      </p:pic>
      <p:pic>
        <p:nvPicPr>
          <p:cNvPr id="25" name="Grafik 2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818254" y="3734593"/>
            <a:ext cx="508623" cy="575006"/>
          </a:xfrm>
          <a:prstGeom prst="rect">
            <a:avLst/>
          </a:prstGeom>
        </p:spPr>
      </p:pic>
      <p:sp>
        <p:nvSpPr>
          <p:cNvPr id="26" name="Titel 1"/>
          <p:cNvSpPr>
            <a:spLocks noGrp="1"/>
          </p:cNvSpPr>
          <p:nvPr>
            <p:ph type="title"/>
          </p:nvPr>
        </p:nvSpPr>
        <p:spPr/>
        <p:txBody>
          <a:bodyPr/>
          <a:lstStyle/>
          <a:p>
            <a:r>
              <a:rPr lang="en" b="1" i="0" u="none" baseline="0" dirty="0"/>
              <a:t>Close to you – Anywhere in the world:</a:t>
            </a:r>
            <a:r>
              <a:rPr lang="en" dirty="0"/>
              <a:t/>
            </a:r>
            <a:br>
              <a:rPr lang="en" dirty="0"/>
            </a:br>
            <a:r>
              <a:rPr lang="en" b="1" i="0" u="none" baseline="0" dirty="0"/>
              <a:t>The </a:t>
            </a:r>
            <a:r>
              <a:rPr lang="en" b="1" i="0" u="none" baseline="0" dirty="0" smtClean="0"/>
              <a:t>Tools customer centres</a:t>
            </a:r>
            <a:br>
              <a:rPr lang="en" b="1" i="0" u="none" baseline="0" dirty="0" smtClean="0"/>
            </a:br>
            <a:r>
              <a:rPr lang="zh-CN" altLang="en-US" dirty="0">
                <a:latin typeface="微软雅黑" panose="020B0503020204020204" pitchFamily="34" charset="-122"/>
                <a:ea typeface="微软雅黑" panose="020B0503020204020204" pitchFamily="34" charset="-122"/>
              </a:rPr>
              <a:t>在您身边</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无论您在何处</a:t>
            </a:r>
            <a:r>
              <a:rPr lang="zh-CN" altLang="en-US" dirty="0" smtClean="0">
                <a:latin typeface="微软雅黑" panose="020B0503020204020204" pitchFamily="34" charset="-122"/>
                <a:ea typeface="微软雅黑" panose="020B0503020204020204" pitchFamily="34" charset="-122"/>
              </a:rPr>
              <a:t>：工具客户中心</a:t>
            </a:r>
            <a:endParaRPr lang="en" dirty="0"/>
          </a:p>
        </p:txBody>
      </p:sp>
      <p:sp>
        <p:nvSpPr>
          <p:cNvPr id="27" name="Fußzeilenplatzhalter 3"/>
          <p:cNvSpPr>
            <a:spLocks noGrp="1"/>
          </p:cNvSpPr>
          <p:nvPr>
            <p:ph type="ftr" sz="quarter" idx="14"/>
          </p:nvPr>
        </p:nvSpPr>
        <p:spPr>
          <a:xfrm>
            <a:off x="1079499" y="6524625"/>
            <a:ext cx="6623845" cy="180976"/>
          </a:xfrm>
        </p:spPr>
        <p:txBody>
          <a:bodyPr/>
          <a:lstStyle/>
          <a:p>
            <a:pPr algn="l" rtl="0"/>
            <a:r>
              <a:rPr lang="en-US" b="0" i="0" u="none" baseline="0" dirty="0" smtClean="0"/>
              <a:t>Presentation Tools &amp; Equipment (04. January 2017)</a:t>
            </a:r>
            <a:endParaRPr lang="en" noProof="0" dirty="0"/>
          </a:p>
        </p:txBody>
      </p:sp>
    </p:spTree>
    <p:extLst>
      <p:ext uri="{BB962C8B-B14F-4D97-AF65-F5344CB8AC3E}">
        <p14:creationId xmlns:p14="http://schemas.microsoft.com/office/powerpoint/2010/main" val="112134547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13"/>
          <p:cNvGrpSpPr/>
          <p:nvPr/>
        </p:nvGrpSpPr>
        <p:grpSpPr>
          <a:xfrm>
            <a:off x="294953" y="1084287"/>
            <a:ext cx="8434122" cy="5153025"/>
            <a:chOff x="395536" y="1084287"/>
            <a:chExt cx="8434122" cy="5153025"/>
          </a:xfrm>
        </p:grpSpPr>
        <p:sp>
          <p:nvSpPr>
            <p:cNvPr id="572" name="Rechteck 6"/>
            <p:cNvSpPr/>
            <p:nvPr/>
          </p:nvSpPr>
          <p:spPr>
            <a:xfrm>
              <a:off x="7192863" y="1124744"/>
              <a:ext cx="1636795" cy="1684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spAutoFit/>
            </a:bodyPr>
            <a:lstStyle/>
            <a:p>
              <a:pPr>
                <a:spcBef>
                  <a:spcPts val="300"/>
                </a:spcBef>
                <a:spcAft>
                  <a:spcPts val="300"/>
                </a:spcAft>
              </a:pPr>
              <a:r>
                <a:rPr lang="de-CH" sz="1000" dirty="0" smtClean="0">
                  <a:solidFill>
                    <a:prstClr val="black"/>
                  </a:solidFill>
                </a:rPr>
                <a:t>Cutting Tools</a:t>
              </a:r>
            </a:p>
            <a:p>
              <a:pPr>
                <a:spcBef>
                  <a:spcPts val="300"/>
                </a:spcBef>
                <a:spcAft>
                  <a:spcPts val="300"/>
                </a:spcAft>
              </a:pPr>
              <a:r>
                <a:rPr lang="de-CH" sz="1000" dirty="0" smtClean="0">
                  <a:solidFill>
                    <a:prstClr val="black"/>
                  </a:solidFill>
                </a:rPr>
                <a:t>Forming Tools</a:t>
              </a:r>
            </a:p>
            <a:p>
              <a:pPr>
                <a:spcBef>
                  <a:spcPts val="300"/>
                </a:spcBef>
                <a:spcAft>
                  <a:spcPts val="300"/>
                </a:spcAft>
              </a:pPr>
              <a:r>
                <a:rPr lang="de-CH" altLang="zh-CN" sz="1000" dirty="0">
                  <a:solidFill>
                    <a:prstClr val="black"/>
                  </a:solidFill>
                </a:rPr>
                <a:t>Components</a:t>
              </a:r>
            </a:p>
            <a:p>
              <a:pPr>
                <a:spcBef>
                  <a:spcPts val="300"/>
                </a:spcBef>
                <a:spcAft>
                  <a:spcPts val="300"/>
                </a:spcAft>
              </a:pPr>
              <a:r>
                <a:rPr lang="de-CH" sz="1000" dirty="0" smtClean="0">
                  <a:solidFill>
                    <a:prstClr val="black"/>
                  </a:solidFill>
                </a:rPr>
                <a:t>Low Pressure NItrding</a:t>
              </a:r>
            </a:p>
            <a:p>
              <a:pPr>
                <a:spcBef>
                  <a:spcPts val="300"/>
                </a:spcBef>
                <a:spcAft>
                  <a:spcPts val="300"/>
                </a:spcAft>
              </a:pPr>
              <a:r>
                <a:rPr lang="de-CH" sz="1000" dirty="0">
                  <a:solidFill>
                    <a:prstClr val="black"/>
                  </a:solidFill>
                </a:rPr>
                <a:t>ePD Technology </a:t>
              </a:r>
              <a:r>
                <a:rPr lang="de-CH" sz="1000" dirty="0" smtClean="0">
                  <a:solidFill>
                    <a:prstClr val="black"/>
                  </a:solidFill>
                </a:rPr>
                <a:t>Center</a:t>
              </a:r>
            </a:p>
            <a:p>
              <a:pPr>
                <a:spcBef>
                  <a:spcPts val="300"/>
                </a:spcBef>
                <a:spcAft>
                  <a:spcPts val="300"/>
                </a:spcAft>
              </a:pPr>
              <a:r>
                <a:rPr lang="de-CH" sz="1000" dirty="0" smtClean="0">
                  <a:solidFill>
                    <a:prstClr val="black"/>
                  </a:solidFill>
                </a:rPr>
                <a:t>PPD</a:t>
              </a:r>
            </a:p>
            <a:p>
              <a:pPr>
                <a:spcBef>
                  <a:spcPts val="300"/>
                </a:spcBef>
                <a:spcAft>
                  <a:spcPts val="300"/>
                </a:spcAft>
              </a:pPr>
              <a:r>
                <a:rPr lang="de-CH" sz="1000" dirty="0" smtClean="0">
                  <a:solidFill>
                    <a:prstClr val="black"/>
                  </a:solidFill>
                </a:rPr>
                <a:t>Reconditioning</a:t>
              </a:r>
            </a:p>
          </p:txBody>
        </p:sp>
        <p:sp>
          <p:nvSpPr>
            <p:cNvPr id="9" name="Freeform 3"/>
            <p:cNvSpPr>
              <a:spLocks/>
            </p:cNvSpPr>
            <p:nvPr/>
          </p:nvSpPr>
          <p:spPr bwMode="auto">
            <a:xfrm>
              <a:off x="395536" y="1084287"/>
              <a:ext cx="6215063" cy="4848225"/>
            </a:xfrm>
            <a:custGeom>
              <a:avLst/>
              <a:gdLst>
                <a:gd name="T0" fmla="*/ 943 w 4428"/>
                <a:gd name="T1" fmla="*/ 440 h 3493"/>
                <a:gd name="T2" fmla="*/ 1151 w 4428"/>
                <a:gd name="T3" fmla="*/ 406 h 3493"/>
                <a:gd name="T4" fmla="*/ 1243 w 4428"/>
                <a:gd name="T5" fmla="*/ 330 h 3493"/>
                <a:gd name="T6" fmla="*/ 1351 w 4428"/>
                <a:gd name="T7" fmla="*/ 257 h 3493"/>
                <a:gd name="T8" fmla="*/ 1345 w 4428"/>
                <a:gd name="T9" fmla="*/ 208 h 3493"/>
                <a:gd name="T10" fmla="*/ 1307 w 4428"/>
                <a:gd name="T11" fmla="*/ 150 h 3493"/>
                <a:gd name="T12" fmla="*/ 1397 w 4428"/>
                <a:gd name="T13" fmla="*/ 63 h 3493"/>
                <a:gd name="T14" fmla="*/ 1455 w 4428"/>
                <a:gd name="T15" fmla="*/ 0 h 3493"/>
                <a:gd name="T16" fmla="*/ 1571 w 4428"/>
                <a:gd name="T17" fmla="*/ 64 h 3493"/>
                <a:gd name="T18" fmla="*/ 1648 w 4428"/>
                <a:gd name="T19" fmla="*/ 111 h 3493"/>
                <a:gd name="T20" fmla="*/ 1755 w 4428"/>
                <a:gd name="T21" fmla="*/ 143 h 3493"/>
                <a:gd name="T22" fmla="*/ 1813 w 4428"/>
                <a:gd name="T23" fmla="*/ 141 h 3493"/>
                <a:gd name="T24" fmla="*/ 1762 w 4428"/>
                <a:gd name="T25" fmla="*/ 238 h 3493"/>
                <a:gd name="T26" fmla="*/ 1755 w 4428"/>
                <a:gd name="T27" fmla="*/ 316 h 3493"/>
                <a:gd name="T28" fmla="*/ 1698 w 4428"/>
                <a:gd name="T29" fmla="*/ 359 h 3493"/>
                <a:gd name="T30" fmla="*/ 1622 w 4428"/>
                <a:gd name="T31" fmla="*/ 419 h 3493"/>
                <a:gd name="T32" fmla="*/ 1523 w 4428"/>
                <a:gd name="T33" fmla="*/ 476 h 3493"/>
                <a:gd name="T34" fmla="*/ 1462 w 4428"/>
                <a:gd name="T35" fmla="*/ 462 h 3493"/>
                <a:gd name="T36" fmla="*/ 1406 w 4428"/>
                <a:gd name="T37" fmla="*/ 526 h 3493"/>
                <a:gd name="T38" fmla="*/ 1475 w 4428"/>
                <a:gd name="T39" fmla="*/ 557 h 3493"/>
                <a:gd name="T40" fmla="*/ 1544 w 4428"/>
                <a:gd name="T41" fmla="*/ 557 h 3493"/>
                <a:gd name="T42" fmla="*/ 1500 w 4428"/>
                <a:gd name="T43" fmla="*/ 638 h 3493"/>
                <a:gd name="T44" fmla="*/ 1583 w 4428"/>
                <a:gd name="T45" fmla="*/ 721 h 3493"/>
                <a:gd name="T46" fmla="*/ 1590 w 4428"/>
                <a:gd name="T47" fmla="*/ 735 h 3493"/>
                <a:gd name="T48" fmla="*/ 1561 w 4428"/>
                <a:gd name="T49" fmla="*/ 775 h 3493"/>
                <a:gd name="T50" fmla="*/ 1608 w 4428"/>
                <a:gd name="T51" fmla="*/ 828 h 3493"/>
                <a:gd name="T52" fmla="*/ 1548 w 4428"/>
                <a:gd name="T53" fmla="*/ 894 h 3493"/>
                <a:gd name="T54" fmla="*/ 1534 w 4428"/>
                <a:gd name="T55" fmla="*/ 951 h 3493"/>
                <a:gd name="T56" fmla="*/ 1507 w 4428"/>
                <a:gd name="T57" fmla="*/ 979 h 3493"/>
                <a:gd name="T58" fmla="*/ 1452 w 4428"/>
                <a:gd name="T59" fmla="*/ 1029 h 3493"/>
                <a:gd name="T60" fmla="*/ 1388 w 4428"/>
                <a:gd name="T61" fmla="*/ 1043 h 3493"/>
                <a:gd name="T62" fmla="*/ 1309 w 4428"/>
                <a:gd name="T63" fmla="*/ 1083 h 3493"/>
                <a:gd name="T64" fmla="*/ 1224 w 4428"/>
                <a:gd name="T65" fmla="*/ 1141 h 3493"/>
                <a:gd name="T66" fmla="*/ 1137 w 4428"/>
                <a:gd name="T67" fmla="*/ 1102 h 3493"/>
                <a:gd name="T68" fmla="*/ 1061 w 4428"/>
                <a:gd name="T69" fmla="*/ 1059 h 3493"/>
                <a:gd name="T70" fmla="*/ 986 w 4428"/>
                <a:gd name="T71" fmla="*/ 1068 h 3493"/>
                <a:gd name="T72" fmla="*/ 918 w 4428"/>
                <a:gd name="T73" fmla="*/ 1071 h 3493"/>
                <a:gd name="T74" fmla="*/ 882 w 4428"/>
                <a:gd name="T75" fmla="*/ 1120 h 3493"/>
                <a:gd name="T76" fmla="*/ 816 w 4428"/>
                <a:gd name="T77" fmla="*/ 1098 h 3493"/>
                <a:gd name="T78" fmla="*/ 797 w 4428"/>
                <a:gd name="T79" fmla="*/ 1055 h 3493"/>
                <a:gd name="T80" fmla="*/ 729 w 4428"/>
                <a:gd name="T81" fmla="*/ 1028 h 3493"/>
                <a:gd name="T82" fmla="*/ 774 w 4428"/>
                <a:gd name="T83" fmla="*/ 910 h 3493"/>
                <a:gd name="T84" fmla="*/ 691 w 4428"/>
                <a:gd name="T85" fmla="*/ 877 h 3493"/>
                <a:gd name="T86" fmla="*/ 639 w 4428"/>
                <a:gd name="T87" fmla="*/ 850 h 3493"/>
                <a:gd name="T88" fmla="*/ 525 w 4428"/>
                <a:gd name="T89" fmla="*/ 889 h 3493"/>
                <a:gd name="T90" fmla="*/ 411 w 4428"/>
                <a:gd name="T91" fmla="*/ 887 h 3493"/>
                <a:gd name="T92" fmla="*/ 312 w 4428"/>
                <a:gd name="T93" fmla="*/ 860 h 3493"/>
                <a:gd name="T94" fmla="*/ 244 w 4428"/>
                <a:gd name="T95" fmla="*/ 811 h 3493"/>
                <a:gd name="T96" fmla="*/ 133 w 4428"/>
                <a:gd name="T97" fmla="*/ 744 h 3493"/>
                <a:gd name="T98" fmla="*/ 90 w 4428"/>
                <a:gd name="T99" fmla="*/ 688 h 3493"/>
                <a:gd name="T100" fmla="*/ 113 w 4428"/>
                <a:gd name="T101" fmla="*/ 652 h 3493"/>
                <a:gd name="T102" fmla="*/ 155 w 4428"/>
                <a:gd name="T103" fmla="*/ 612 h 3493"/>
                <a:gd name="T104" fmla="*/ 86 w 4428"/>
                <a:gd name="T105" fmla="*/ 573 h 3493"/>
                <a:gd name="T106" fmla="*/ 5 w 4428"/>
                <a:gd name="T107" fmla="*/ 502 h 3493"/>
                <a:gd name="T108" fmla="*/ 5 w 4428"/>
                <a:gd name="T109" fmla="*/ 451 h 3493"/>
                <a:gd name="T110" fmla="*/ 45 w 4428"/>
                <a:gd name="T111" fmla="*/ 401 h 3493"/>
                <a:gd name="T112" fmla="*/ 120 w 4428"/>
                <a:gd name="T113" fmla="*/ 392 h 3493"/>
                <a:gd name="T114" fmla="*/ 257 w 4428"/>
                <a:gd name="T115" fmla="*/ 341 h 3493"/>
                <a:gd name="T116" fmla="*/ 320 w 4428"/>
                <a:gd name="T117" fmla="*/ 287 h 3493"/>
                <a:gd name="T118" fmla="*/ 402 w 4428"/>
                <a:gd name="T119" fmla="*/ 241 h 3493"/>
                <a:gd name="T120" fmla="*/ 497 w 4428"/>
                <a:gd name="T121" fmla="*/ 177 h 3493"/>
                <a:gd name="T122" fmla="*/ 555 w 4428"/>
                <a:gd name="T123" fmla="*/ 226 h 3493"/>
                <a:gd name="T124" fmla="*/ 606 w 4428"/>
                <a:gd name="T125" fmla="*/ 326 h 34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428" h="3493">
                  <a:moveTo>
                    <a:pt x="1768" y="1255"/>
                  </a:moveTo>
                  <a:lnTo>
                    <a:pt x="1783" y="1258"/>
                  </a:lnTo>
                  <a:lnTo>
                    <a:pt x="1837" y="1267"/>
                  </a:lnTo>
                  <a:lnTo>
                    <a:pt x="2004" y="1282"/>
                  </a:lnTo>
                  <a:lnTo>
                    <a:pt x="2031" y="1273"/>
                  </a:lnTo>
                  <a:lnTo>
                    <a:pt x="2169" y="1288"/>
                  </a:lnTo>
                  <a:lnTo>
                    <a:pt x="2196" y="1318"/>
                  </a:lnTo>
                  <a:lnTo>
                    <a:pt x="2289" y="1348"/>
                  </a:lnTo>
                  <a:lnTo>
                    <a:pt x="2373" y="1351"/>
                  </a:lnTo>
                  <a:lnTo>
                    <a:pt x="2379" y="1369"/>
                  </a:lnTo>
                  <a:lnTo>
                    <a:pt x="2397" y="1378"/>
                  </a:lnTo>
                  <a:lnTo>
                    <a:pt x="2457" y="1339"/>
                  </a:lnTo>
                  <a:lnTo>
                    <a:pt x="2591" y="1282"/>
                  </a:lnTo>
                  <a:lnTo>
                    <a:pt x="2609" y="1285"/>
                  </a:lnTo>
                  <a:lnTo>
                    <a:pt x="2726" y="1273"/>
                  </a:lnTo>
                  <a:lnTo>
                    <a:pt x="2795" y="1243"/>
                  </a:lnTo>
                  <a:lnTo>
                    <a:pt x="2849" y="1174"/>
                  </a:lnTo>
                  <a:lnTo>
                    <a:pt x="2888" y="1153"/>
                  </a:lnTo>
                  <a:lnTo>
                    <a:pt x="2915" y="1123"/>
                  </a:lnTo>
                  <a:lnTo>
                    <a:pt x="2873" y="1064"/>
                  </a:lnTo>
                  <a:lnTo>
                    <a:pt x="2888" y="1013"/>
                  </a:lnTo>
                  <a:lnTo>
                    <a:pt x="2918" y="983"/>
                  </a:lnTo>
                  <a:lnTo>
                    <a:pt x="2942" y="995"/>
                  </a:lnTo>
                  <a:lnTo>
                    <a:pt x="3017" y="1010"/>
                  </a:lnTo>
                  <a:lnTo>
                    <a:pt x="3056" y="989"/>
                  </a:lnTo>
                  <a:lnTo>
                    <a:pt x="3095" y="935"/>
                  </a:lnTo>
                  <a:lnTo>
                    <a:pt x="3134" y="929"/>
                  </a:lnTo>
                  <a:lnTo>
                    <a:pt x="3191" y="890"/>
                  </a:lnTo>
                  <a:lnTo>
                    <a:pt x="3197" y="860"/>
                  </a:lnTo>
                  <a:lnTo>
                    <a:pt x="3224" y="821"/>
                  </a:lnTo>
                  <a:lnTo>
                    <a:pt x="3263" y="812"/>
                  </a:lnTo>
                  <a:lnTo>
                    <a:pt x="3281" y="785"/>
                  </a:lnTo>
                  <a:lnTo>
                    <a:pt x="3302" y="788"/>
                  </a:lnTo>
                  <a:lnTo>
                    <a:pt x="3331" y="767"/>
                  </a:lnTo>
                  <a:lnTo>
                    <a:pt x="3418" y="761"/>
                  </a:lnTo>
                  <a:lnTo>
                    <a:pt x="3433" y="749"/>
                  </a:lnTo>
                  <a:lnTo>
                    <a:pt x="3433" y="734"/>
                  </a:lnTo>
                  <a:lnTo>
                    <a:pt x="3358" y="656"/>
                  </a:lnTo>
                  <a:lnTo>
                    <a:pt x="3299" y="632"/>
                  </a:lnTo>
                  <a:lnTo>
                    <a:pt x="3266" y="641"/>
                  </a:lnTo>
                  <a:lnTo>
                    <a:pt x="3248" y="671"/>
                  </a:lnTo>
                  <a:lnTo>
                    <a:pt x="3188" y="665"/>
                  </a:lnTo>
                  <a:lnTo>
                    <a:pt x="3149" y="686"/>
                  </a:lnTo>
                  <a:lnTo>
                    <a:pt x="3125" y="668"/>
                  </a:lnTo>
                  <a:lnTo>
                    <a:pt x="3116" y="641"/>
                  </a:lnTo>
                  <a:lnTo>
                    <a:pt x="3134" y="623"/>
                  </a:lnTo>
                  <a:lnTo>
                    <a:pt x="3170" y="473"/>
                  </a:lnTo>
                  <a:lnTo>
                    <a:pt x="3176" y="461"/>
                  </a:lnTo>
                  <a:lnTo>
                    <a:pt x="3200" y="470"/>
                  </a:lnTo>
                  <a:lnTo>
                    <a:pt x="3245" y="479"/>
                  </a:lnTo>
                  <a:lnTo>
                    <a:pt x="3331" y="416"/>
                  </a:lnTo>
                  <a:lnTo>
                    <a:pt x="3340" y="398"/>
                  </a:lnTo>
                  <a:lnTo>
                    <a:pt x="3328" y="374"/>
                  </a:lnTo>
                  <a:lnTo>
                    <a:pt x="3364" y="240"/>
                  </a:lnTo>
                  <a:lnTo>
                    <a:pt x="3385" y="210"/>
                  </a:lnTo>
                  <a:lnTo>
                    <a:pt x="3394" y="189"/>
                  </a:lnTo>
                  <a:lnTo>
                    <a:pt x="3376" y="138"/>
                  </a:lnTo>
                  <a:lnTo>
                    <a:pt x="3349" y="135"/>
                  </a:lnTo>
                  <a:lnTo>
                    <a:pt x="3337" y="126"/>
                  </a:lnTo>
                  <a:lnTo>
                    <a:pt x="3370" y="75"/>
                  </a:lnTo>
                  <a:lnTo>
                    <a:pt x="3412" y="45"/>
                  </a:lnTo>
                  <a:lnTo>
                    <a:pt x="3427" y="45"/>
                  </a:lnTo>
                  <a:lnTo>
                    <a:pt x="3442" y="33"/>
                  </a:lnTo>
                  <a:lnTo>
                    <a:pt x="3532" y="0"/>
                  </a:lnTo>
                  <a:lnTo>
                    <a:pt x="3598" y="15"/>
                  </a:lnTo>
                  <a:lnTo>
                    <a:pt x="3628" y="21"/>
                  </a:lnTo>
                  <a:lnTo>
                    <a:pt x="3661" y="9"/>
                  </a:lnTo>
                  <a:lnTo>
                    <a:pt x="3712" y="36"/>
                  </a:lnTo>
                  <a:lnTo>
                    <a:pt x="3724" y="63"/>
                  </a:lnTo>
                  <a:lnTo>
                    <a:pt x="3766" y="114"/>
                  </a:lnTo>
                  <a:lnTo>
                    <a:pt x="3778" y="144"/>
                  </a:lnTo>
                  <a:lnTo>
                    <a:pt x="3814" y="195"/>
                  </a:lnTo>
                  <a:lnTo>
                    <a:pt x="3829" y="219"/>
                  </a:lnTo>
                  <a:lnTo>
                    <a:pt x="3856" y="246"/>
                  </a:lnTo>
                  <a:lnTo>
                    <a:pt x="3865" y="270"/>
                  </a:lnTo>
                  <a:lnTo>
                    <a:pt x="3883" y="291"/>
                  </a:lnTo>
                  <a:lnTo>
                    <a:pt x="3904" y="321"/>
                  </a:lnTo>
                  <a:lnTo>
                    <a:pt x="3940" y="333"/>
                  </a:lnTo>
                  <a:lnTo>
                    <a:pt x="3979" y="327"/>
                  </a:lnTo>
                  <a:lnTo>
                    <a:pt x="4003" y="339"/>
                  </a:lnTo>
                  <a:lnTo>
                    <a:pt x="4027" y="330"/>
                  </a:lnTo>
                  <a:lnTo>
                    <a:pt x="4083" y="360"/>
                  </a:lnTo>
                  <a:lnTo>
                    <a:pt x="4116" y="362"/>
                  </a:lnTo>
                  <a:lnTo>
                    <a:pt x="4125" y="392"/>
                  </a:lnTo>
                  <a:lnTo>
                    <a:pt x="4143" y="419"/>
                  </a:lnTo>
                  <a:lnTo>
                    <a:pt x="4140" y="437"/>
                  </a:lnTo>
                  <a:lnTo>
                    <a:pt x="4179" y="467"/>
                  </a:lnTo>
                  <a:lnTo>
                    <a:pt x="4263" y="437"/>
                  </a:lnTo>
                  <a:lnTo>
                    <a:pt x="4296" y="392"/>
                  </a:lnTo>
                  <a:lnTo>
                    <a:pt x="4332" y="374"/>
                  </a:lnTo>
                  <a:lnTo>
                    <a:pt x="4365" y="336"/>
                  </a:lnTo>
                  <a:lnTo>
                    <a:pt x="4395" y="327"/>
                  </a:lnTo>
                  <a:lnTo>
                    <a:pt x="4407" y="342"/>
                  </a:lnTo>
                  <a:lnTo>
                    <a:pt x="4401" y="360"/>
                  </a:lnTo>
                  <a:lnTo>
                    <a:pt x="4428" y="389"/>
                  </a:lnTo>
                  <a:lnTo>
                    <a:pt x="4404" y="434"/>
                  </a:lnTo>
                  <a:lnTo>
                    <a:pt x="4407" y="575"/>
                  </a:lnTo>
                  <a:lnTo>
                    <a:pt x="4398" y="602"/>
                  </a:lnTo>
                  <a:lnTo>
                    <a:pt x="4404" y="617"/>
                  </a:lnTo>
                  <a:lnTo>
                    <a:pt x="4389" y="647"/>
                  </a:lnTo>
                  <a:lnTo>
                    <a:pt x="4392" y="677"/>
                  </a:lnTo>
                  <a:lnTo>
                    <a:pt x="4377" y="689"/>
                  </a:lnTo>
                  <a:lnTo>
                    <a:pt x="4302" y="689"/>
                  </a:lnTo>
                  <a:lnTo>
                    <a:pt x="4281" y="728"/>
                  </a:lnTo>
                  <a:lnTo>
                    <a:pt x="4257" y="752"/>
                  </a:lnTo>
                  <a:lnTo>
                    <a:pt x="4299" y="815"/>
                  </a:lnTo>
                  <a:lnTo>
                    <a:pt x="4302" y="869"/>
                  </a:lnTo>
                  <a:lnTo>
                    <a:pt x="4314" y="887"/>
                  </a:lnTo>
                  <a:lnTo>
                    <a:pt x="4320" y="899"/>
                  </a:lnTo>
                  <a:lnTo>
                    <a:pt x="4311" y="932"/>
                  </a:lnTo>
                  <a:lnTo>
                    <a:pt x="4275" y="977"/>
                  </a:lnTo>
                  <a:lnTo>
                    <a:pt x="4263" y="965"/>
                  </a:lnTo>
                  <a:lnTo>
                    <a:pt x="4248" y="953"/>
                  </a:lnTo>
                  <a:lnTo>
                    <a:pt x="4236" y="956"/>
                  </a:lnTo>
                  <a:lnTo>
                    <a:pt x="4230" y="983"/>
                  </a:lnTo>
                  <a:lnTo>
                    <a:pt x="4227" y="1019"/>
                  </a:lnTo>
                  <a:lnTo>
                    <a:pt x="4200" y="1031"/>
                  </a:lnTo>
                  <a:lnTo>
                    <a:pt x="4182" y="1070"/>
                  </a:lnTo>
                  <a:lnTo>
                    <a:pt x="4134" y="1085"/>
                  </a:lnTo>
                  <a:lnTo>
                    <a:pt x="4125" y="1097"/>
                  </a:lnTo>
                  <a:lnTo>
                    <a:pt x="4152" y="1132"/>
                  </a:lnTo>
                  <a:lnTo>
                    <a:pt x="4134" y="1150"/>
                  </a:lnTo>
                  <a:lnTo>
                    <a:pt x="4080" y="1156"/>
                  </a:lnTo>
                  <a:lnTo>
                    <a:pt x="4051" y="1138"/>
                  </a:lnTo>
                  <a:lnTo>
                    <a:pt x="4036" y="1141"/>
                  </a:lnTo>
                  <a:lnTo>
                    <a:pt x="4006" y="1225"/>
                  </a:lnTo>
                  <a:lnTo>
                    <a:pt x="3976" y="1246"/>
                  </a:lnTo>
                  <a:lnTo>
                    <a:pt x="3940" y="1285"/>
                  </a:lnTo>
                  <a:lnTo>
                    <a:pt x="3886" y="1366"/>
                  </a:lnTo>
                  <a:lnTo>
                    <a:pt x="3859" y="1372"/>
                  </a:lnTo>
                  <a:lnTo>
                    <a:pt x="3772" y="1420"/>
                  </a:lnTo>
                  <a:lnTo>
                    <a:pt x="3715" y="1495"/>
                  </a:lnTo>
                  <a:lnTo>
                    <a:pt x="3676" y="1516"/>
                  </a:lnTo>
                  <a:lnTo>
                    <a:pt x="3673" y="1507"/>
                  </a:lnTo>
                  <a:lnTo>
                    <a:pt x="3694" y="1483"/>
                  </a:lnTo>
                  <a:lnTo>
                    <a:pt x="3697" y="1459"/>
                  </a:lnTo>
                  <a:lnTo>
                    <a:pt x="3667" y="1438"/>
                  </a:lnTo>
                  <a:lnTo>
                    <a:pt x="3700" y="1387"/>
                  </a:lnTo>
                  <a:lnTo>
                    <a:pt x="3724" y="1333"/>
                  </a:lnTo>
                  <a:lnTo>
                    <a:pt x="3691" y="1300"/>
                  </a:lnTo>
                  <a:lnTo>
                    <a:pt x="3637" y="1312"/>
                  </a:lnTo>
                  <a:lnTo>
                    <a:pt x="3604" y="1366"/>
                  </a:lnTo>
                  <a:lnTo>
                    <a:pt x="3571" y="1405"/>
                  </a:lnTo>
                  <a:lnTo>
                    <a:pt x="3553" y="1414"/>
                  </a:lnTo>
                  <a:lnTo>
                    <a:pt x="3514" y="1471"/>
                  </a:lnTo>
                  <a:lnTo>
                    <a:pt x="3514" y="1492"/>
                  </a:lnTo>
                  <a:lnTo>
                    <a:pt x="3448" y="1528"/>
                  </a:lnTo>
                  <a:lnTo>
                    <a:pt x="3421" y="1516"/>
                  </a:lnTo>
                  <a:lnTo>
                    <a:pt x="3403" y="1531"/>
                  </a:lnTo>
                  <a:lnTo>
                    <a:pt x="3394" y="1561"/>
                  </a:lnTo>
                  <a:lnTo>
                    <a:pt x="3403" y="1582"/>
                  </a:lnTo>
                  <a:lnTo>
                    <a:pt x="3415" y="1612"/>
                  </a:lnTo>
                  <a:lnTo>
                    <a:pt x="3430" y="1621"/>
                  </a:lnTo>
                  <a:lnTo>
                    <a:pt x="3451" y="1639"/>
                  </a:lnTo>
                  <a:lnTo>
                    <a:pt x="3490" y="1630"/>
                  </a:lnTo>
                  <a:lnTo>
                    <a:pt x="3511" y="1642"/>
                  </a:lnTo>
                  <a:lnTo>
                    <a:pt x="3520" y="1678"/>
                  </a:lnTo>
                  <a:lnTo>
                    <a:pt x="3523" y="1699"/>
                  </a:lnTo>
                  <a:lnTo>
                    <a:pt x="3565" y="1717"/>
                  </a:lnTo>
                  <a:lnTo>
                    <a:pt x="3583" y="1705"/>
                  </a:lnTo>
                  <a:lnTo>
                    <a:pt x="3646" y="1624"/>
                  </a:lnTo>
                  <a:lnTo>
                    <a:pt x="3670" y="1621"/>
                  </a:lnTo>
                  <a:lnTo>
                    <a:pt x="3712" y="1639"/>
                  </a:lnTo>
                  <a:lnTo>
                    <a:pt x="3775" y="1633"/>
                  </a:lnTo>
                  <a:lnTo>
                    <a:pt x="3802" y="1636"/>
                  </a:lnTo>
                  <a:lnTo>
                    <a:pt x="3808" y="1675"/>
                  </a:lnTo>
                  <a:lnTo>
                    <a:pt x="3787" y="1693"/>
                  </a:lnTo>
                  <a:lnTo>
                    <a:pt x="3748" y="1705"/>
                  </a:lnTo>
                  <a:lnTo>
                    <a:pt x="3694" y="1753"/>
                  </a:lnTo>
                  <a:lnTo>
                    <a:pt x="3685" y="1780"/>
                  </a:lnTo>
                  <a:lnTo>
                    <a:pt x="3664" y="1789"/>
                  </a:lnTo>
                  <a:lnTo>
                    <a:pt x="3649" y="1786"/>
                  </a:lnTo>
                  <a:lnTo>
                    <a:pt x="3637" y="1798"/>
                  </a:lnTo>
                  <a:lnTo>
                    <a:pt x="3649" y="1816"/>
                  </a:lnTo>
                  <a:lnTo>
                    <a:pt x="3586" y="1920"/>
                  </a:lnTo>
                  <a:lnTo>
                    <a:pt x="3643" y="1959"/>
                  </a:lnTo>
                  <a:lnTo>
                    <a:pt x="3685" y="1977"/>
                  </a:lnTo>
                  <a:lnTo>
                    <a:pt x="3763" y="2106"/>
                  </a:lnTo>
                  <a:lnTo>
                    <a:pt x="3760" y="2118"/>
                  </a:lnTo>
                  <a:lnTo>
                    <a:pt x="3811" y="2142"/>
                  </a:lnTo>
                  <a:lnTo>
                    <a:pt x="3826" y="2166"/>
                  </a:lnTo>
                  <a:lnTo>
                    <a:pt x="3850" y="2178"/>
                  </a:lnTo>
                  <a:lnTo>
                    <a:pt x="3862" y="2199"/>
                  </a:lnTo>
                  <a:lnTo>
                    <a:pt x="3844" y="2208"/>
                  </a:lnTo>
                  <a:lnTo>
                    <a:pt x="3817" y="2199"/>
                  </a:lnTo>
                  <a:lnTo>
                    <a:pt x="3781" y="2199"/>
                  </a:lnTo>
                  <a:lnTo>
                    <a:pt x="3748" y="2187"/>
                  </a:lnTo>
                  <a:lnTo>
                    <a:pt x="3733" y="2199"/>
                  </a:lnTo>
                  <a:lnTo>
                    <a:pt x="3766" y="2208"/>
                  </a:lnTo>
                  <a:lnTo>
                    <a:pt x="3796" y="2220"/>
                  </a:lnTo>
                  <a:lnTo>
                    <a:pt x="3826" y="2235"/>
                  </a:lnTo>
                  <a:lnTo>
                    <a:pt x="3862" y="2250"/>
                  </a:lnTo>
                  <a:lnTo>
                    <a:pt x="3877" y="2271"/>
                  </a:lnTo>
                  <a:lnTo>
                    <a:pt x="3865" y="2286"/>
                  </a:lnTo>
                  <a:lnTo>
                    <a:pt x="3832" y="2313"/>
                  </a:lnTo>
                  <a:lnTo>
                    <a:pt x="3817" y="2322"/>
                  </a:lnTo>
                  <a:lnTo>
                    <a:pt x="3802" y="2349"/>
                  </a:lnTo>
                  <a:lnTo>
                    <a:pt x="3778" y="2355"/>
                  </a:lnTo>
                  <a:lnTo>
                    <a:pt x="3769" y="2361"/>
                  </a:lnTo>
                  <a:lnTo>
                    <a:pt x="3793" y="2376"/>
                  </a:lnTo>
                  <a:lnTo>
                    <a:pt x="3838" y="2355"/>
                  </a:lnTo>
                  <a:lnTo>
                    <a:pt x="3913" y="2388"/>
                  </a:lnTo>
                  <a:lnTo>
                    <a:pt x="3922" y="2451"/>
                  </a:lnTo>
                  <a:lnTo>
                    <a:pt x="3889" y="2451"/>
                  </a:lnTo>
                  <a:lnTo>
                    <a:pt x="3889" y="2469"/>
                  </a:lnTo>
                  <a:lnTo>
                    <a:pt x="3904" y="2496"/>
                  </a:lnTo>
                  <a:lnTo>
                    <a:pt x="3889" y="2511"/>
                  </a:lnTo>
                  <a:lnTo>
                    <a:pt x="3907" y="2538"/>
                  </a:lnTo>
                  <a:lnTo>
                    <a:pt x="3883" y="2568"/>
                  </a:lnTo>
                  <a:lnTo>
                    <a:pt x="3871" y="2553"/>
                  </a:lnTo>
                  <a:lnTo>
                    <a:pt x="3835" y="2645"/>
                  </a:lnTo>
                  <a:lnTo>
                    <a:pt x="3829" y="2660"/>
                  </a:lnTo>
                  <a:lnTo>
                    <a:pt x="3796" y="2735"/>
                  </a:lnTo>
                  <a:lnTo>
                    <a:pt x="3778" y="2726"/>
                  </a:lnTo>
                  <a:lnTo>
                    <a:pt x="3763" y="2735"/>
                  </a:lnTo>
                  <a:lnTo>
                    <a:pt x="3763" y="2741"/>
                  </a:lnTo>
                  <a:lnTo>
                    <a:pt x="3781" y="2762"/>
                  </a:lnTo>
                  <a:lnTo>
                    <a:pt x="3775" y="2831"/>
                  </a:lnTo>
                  <a:lnTo>
                    <a:pt x="3781" y="2855"/>
                  </a:lnTo>
                  <a:lnTo>
                    <a:pt x="3775" y="2861"/>
                  </a:lnTo>
                  <a:lnTo>
                    <a:pt x="3754" y="2858"/>
                  </a:lnTo>
                  <a:lnTo>
                    <a:pt x="3742" y="2870"/>
                  </a:lnTo>
                  <a:lnTo>
                    <a:pt x="3751" y="2888"/>
                  </a:lnTo>
                  <a:lnTo>
                    <a:pt x="3724" y="2915"/>
                  </a:lnTo>
                  <a:lnTo>
                    <a:pt x="3730" y="2924"/>
                  </a:lnTo>
                  <a:lnTo>
                    <a:pt x="3706" y="2936"/>
                  </a:lnTo>
                  <a:lnTo>
                    <a:pt x="3709" y="2954"/>
                  </a:lnTo>
                  <a:lnTo>
                    <a:pt x="3700" y="2963"/>
                  </a:lnTo>
                  <a:lnTo>
                    <a:pt x="3667" y="2963"/>
                  </a:lnTo>
                  <a:lnTo>
                    <a:pt x="3649" y="2981"/>
                  </a:lnTo>
                  <a:lnTo>
                    <a:pt x="3646" y="2987"/>
                  </a:lnTo>
                  <a:lnTo>
                    <a:pt x="3661" y="2999"/>
                  </a:lnTo>
                  <a:lnTo>
                    <a:pt x="3643" y="3026"/>
                  </a:lnTo>
                  <a:lnTo>
                    <a:pt x="3619" y="3056"/>
                  </a:lnTo>
                  <a:lnTo>
                    <a:pt x="3610" y="3053"/>
                  </a:lnTo>
                  <a:lnTo>
                    <a:pt x="3586" y="3077"/>
                  </a:lnTo>
                  <a:lnTo>
                    <a:pt x="3568" y="3092"/>
                  </a:lnTo>
                  <a:lnTo>
                    <a:pt x="3553" y="3119"/>
                  </a:lnTo>
                  <a:lnTo>
                    <a:pt x="3538" y="3125"/>
                  </a:lnTo>
                  <a:lnTo>
                    <a:pt x="3526" y="3152"/>
                  </a:lnTo>
                  <a:lnTo>
                    <a:pt x="3478" y="3176"/>
                  </a:lnTo>
                  <a:lnTo>
                    <a:pt x="3460" y="3167"/>
                  </a:lnTo>
                  <a:lnTo>
                    <a:pt x="3451" y="3185"/>
                  </a:lnTo>
                  <a:lnTo>
                    <a:pt x="3451" y="3191"/>
                  </a:lnTo>
                  <a:lnTo>
                    <a:pt x="3436" y="3191"/>
                  </a:lnTo>
                  <a:lnTo>
                    <a:pt x="3412" y="3191"/>
                  </a:lnTo>
                  <a:lnTo>
                    <a:pt x="3388" y="3206"/>
                  </a:lnTo>
                  <a:lnTo>
                    <a:pt x="3373" y="3197"/>
                  </a:lnTo>
                  <a:lnTo>
                    <a:pt x="3352" y="3212"/>
                  </a:lnTo>
                  <a:lnTo>
                    <a:pt x="3302" y="3233"/>
                  </a:lnTo>
                  <a:lnTo>
                    <a:pt x="3263" y="3200"/>
                  </a:lnTo>
                  <a:lnTo>
                    <a:pt x="3260" y="3224"/>
                  </a:lnTo>
                  <a:lnTo>
                    <a:pt x="3275" y="3263"/>
                  </a:lnTo>
                  <a:lnTo>
                    <a:pt x="3236" y="3278"/>
                  </a:lnTo>
                  <a:lnTo>
                    <a:pt x="3218" y="3308"/>
                  </a:lnTo>
                  <a:lnTo>
                    <a:pt x="3179" y="3317"/>
                  </a:lnTo>
                  <a:lnTo>
                    <a:pt x="3158" y="3326"/>
                  </a:lnTo>
                  <a:lnTo>
                    <a:pt x="3116" y="3326"/>
                  </a:lnTo>
                  <a:lnTo>
                    <a:pt x="3089" y="3353"/>
                  </a:lnTo>
                  <a:lnTo>
                    <a:pt x="3017" y="3376"/>
                  </a:lnTo>
                  <a:lnTo>
                    <a:pt x="2981" y="3400"/>
                  </a:lnTo>
                  <a:lnTo>
                    <a:pt x="2963" y="3418"/>
                  </a:lnTo>
                  <a:lnTo>
                    <a:pt x="2996" y="3475"/>
                  </a:lnTo>
                  <a:lnTo>
                    <a:pt x="2972" y="3493"/>
                  </a:lnTo>
                  <a:lnTo>
                    <a:pt x="2945" y="3493"/>
                  </a:lnTo>
                  <a:lnTo>
                    <a:pt x="2915" y="3433"/>
                  </a:lnTo>
                  <a:lnTo>
                    <a:pt x="2921" y="3391"/>
                  </a:lnTo>
                  <a:lnTo>
                    <a:pt x="2921" y="3373"/>
                  </a:lnTo>
                  <a:lnTo>
                    <a:pt x="2861" y="3382"/>
                  </a:lnTo>
                  <a:lnTo>
                    <a:pt x="2831" y="3358"/>
                  </a:lnTo>
                  <a:lnTo>
                    <a:pt x="2798" y="3347"/>
                  </a:lnTo>
                  <a:lnTo>
                    <a:pt x="2765" y="3376"/>
                  </a:lnTo>
                  <a:lnTo>
                    <a:pt x="2732" y="3379"/>
                  </a:lnTo>
                  <a:lnTo>
                    <a:pt x="2699" y="3382"/>
                  </a:lnTo>
                  <a:lnTo>
                    <a:pt x="2627" y="3341"/>
                  </a:lnTo>
                  <a:lnTo>
                    <a:pt x="2615" y="3305"/>
                  </a:lnTo>
                  <a:lnTo>
                    <a:pt x="2633" y="3269"/>
                  </a:lnTo>
                  <a:lnTo>
                    <a:pt x="2612" y="3254"/>
                  </a:lnTo>
                  <a:lnTo>
                    <a:pt x="2585" y="3254"/>
                  </a:lnTo>
                  <a:lnTo>
                    <a:pt x="2577" y="3245"/>
                  </a:lnTo>
                  <a:lnTo>
                    <a:pt x="2550" y="3254"/>
                  </a:lnTo>
                  <a:lnTo>
                    <a:pt x="2520" y="3233"/>
                  </a:lnTo>
                  <a:lnTo>
                    <a:pt x="2505" y="3215"/>
                  </a:lnTo>
                  <a:lnTo>
                    <a:pt x="2475" y="3221"/>
                  </a:lnTo>
                  <a:lnTo>
                    <a:pt x="2454" y="3254"/>
                  </a:lnTo>
                  <a:lnTo>
                    <a:pt x="2430" y="3272"/>
                  </a:lnTo>
                  <a:lnTo>
                    <a:pt x="2403" y="3278"/>
                  </a:lnTo>
                  <a:lnTo>
                    <a:pt x="2394" y="3272"/>
                  </a:lnTo>
                  <a:lnTo>
                    <a:pt x="2376" y="3290"/>
                  </a:lnTo>
                  <a:lnTo>
                    <a:pt x="2370" y="3299"/>
                  </a:lnTo>
                  <a:lnTo>
                    <a:pt x="2361" y="3299"/>
                  </a:lnTo>
                  <a:lnTo>
                    <a:pt x="2340" y="3278"/>
                  </a:lnTo>
                  <a:lnTo>
                    <a:pt x="2316" y="3293"/>
                  </a:lnTo>
                  <a:lnTo>
                    <a:pt x="2304" y="3281"/>
                  </a:lnTo>
                  <a:lnTo>
                    <a:pt x="2283" y="3302"/>
                  </a:lnTo>
                  <a:lnTo>
                    <a:pt x="2229" y="3284"/>
                  </a:lnTo>
                  <a:lnTo>
                    <a:pt x="2208" y="3311"/>
                  </a:lnTo>
                  <a:lnTo>
                    <a:pt x="2199" y="3311"/>
                  </a:lnTo>
                  <a:lnTo>
                    <a:pt x="2160" y="3311"/>
                  </a:lnTo>
                  <a:lnTo>
                    <a:pt x="2148" y="3329"/>
                  </a:lnTo>
                  <a:lnTo>
                    <a:pt x="2163" y="3394"/>
                  </a:lnTo>
                  <a:lnTo>
                    <a:pt x="2163" y="3430"/>
                  </a:lnTo>
                  <a:lnTo>
                    <a:pt x="2157" y="3439"/>
                  </a:lnTo>
                  <a:lnTo>
                    <a:pt x="2145" y="3433"/>
                  </a:lnTo>
                  <a:lnTo>
                    <a:pt x="2121" y="3436"/>
                  </a:lnTo>
                  <a:lnTo>
                    <a:pt x="2109" y="3427"/>
                  </a:lnTo>
                  <a:lnTo>
                    <a:pt x="2103" y="3403"/>
                  </a:lnTo>
                  <a:lnTo>
                    <a:pt x="2103" y="3388"/>
                  </a:lnTo>
                  <a:lnTo>
                    <a:pt x="2088" y="3382"/>
                  </a:lnTo>
                  <a:lnTo>
                    <a:pt x="2043" y="3406"/>
                  </a:lnTo>
                  <a:lnTo>
                    <a:pt x="2007" y="3406"/>
                  </a:lnTo>
                  <a:lnTo>
                    <a:pt x="1983" y="3367"/>
                  </a:lnTo>
                  <a:lnTo>
                    <a:pt x="1986" y="3355"/>
                  </a:lnTo>
                  <a:lnTo>
                    <a:pt x="1947" y="3341"/>
                  </a:lnTo>
                  <a:lnTo>
                    <a:pt x="1926" y="3338"/>
                  </a:lnTo>
                  <a:lnTo>
                    <a:pt x="1917" y="3329"/>
                  </a:lnTo>
                  <a:lnTo>
                    <a:pt x="1929" y="3296"/>
                  </a:lnTo>
                  <a:lnTo>
                    <a:pt x="1932" y="3269"/>
                  </a:lnTo>
                  <a:lnTo>
                    <a:pt x="1950" y="3245"/>
                  </a:lnTo>
                  <a:lnTo>
                    <a:pt x="1935" y="3233"/>
                  </a:lnTo>
                  <a:lnTo>
                    <a:pt x="1899" y="3233"/>
                  </a:lnTo>
                  <a:lnTo>
                    <a:pt x="1890" y="3221"/>
                  </a:lnTo>
                  <a:lnTo>
                    <a:pt x="1887" y="3185"/>
                  </a:lnTo>
                  <a:lnTo>
                    <a:pt x="1875" y="3164"/>
                  </a:lnTo>
                  <a:lnTo>
                    <a:pt x="1884" y="3140"/>
                  </a:lnTo>
                  <a:lnTo>
                    <a:pt x="1822" y="3143"/>
                  </a:lnTo>
                  <a:lnTo>
                    <a:pt x="1780" y="3155"/>
                  </a:lnTo>
                  <a:lnTo>
                    <a:pt x="1771" y="3149"/>
                  </a:lnTo>
                  <a:lnTo>
                    <a:pt x="1783" y="3122"/>
                  </a:lnTo>
                  <a:lnTo>
                    <a:pt x="1771" y="3086"/>
                  </a:lnTo>
                  <a:lnTo>
                    <a:pt x="1771" y="3071"/>
                  </a:lnTo>
                  <a:lnTo>
                    <a:pt x="1789" y="3056"/>
                  </a:lnTo>
                  <a:lnTo>
                    <a:pt x="1792" y="3026"/>
                  </a:lnTo>
                  <a:lnTo>
                    <a:pt x="1878" y="2951"/>
                  </a:lnTo>
                  <a:lnTo>
                    <a:pt x="1884" y="2825"/>
                  </a:lnTo>
                  <a:lnTo>
                    <a:pt x="1881" y="2789"/>
                  </a:lnTo>
                  <a:lnTo>
                    <a:pt x="1866" y="2780"/>
                  </a:lnTo>
                  <a:lnTo>
                    <a:pt x="1851" y="2780"/>
                  </a:lnTo>
                  <a:lnTo>
                    <a:pt x="1837" y="2720"/>
                  </a:lnTo>
                  <a:lnTo>
                    <a:pt x="1795" y="2687"/>
                  </a:lnTo>
                  <a:lnTo>
                    <a:pt x="1765" y="2711"/>
                  </a:lnTo>
                  <a:lnTo>
                    <a:pt x="1699" y="2693"/>
                  </a:lnTo>
                  <a:lnTo>
                    <a:pt x="1687" y="2693"/>
                  </a:lnTo>
                  <a:lnTo>
                    <a:pt x="1678" y="2687"/>
                  </a:lnTo>
                  <a:lnTo>
                    <a:pt x="1702" y="2645"/>
                  </a:lnTo>
                  <a:lnTo>
                    <a:pt x="1699" y="2633"/>
                  </a:lnTo>
                  <a:lnTo>
                    <a:pt x="1672" y="2633"/>
                  </a:lnTo>
                  <a:lnTo>
                    <a:pt x="1666" y="2627"/>
                  </a:lnTo>
                  <a:lnTo>
                    <a:pt x="1684" y="2601"/>
                  </a:lnTo>
                  <a:lnTo>
                    <a:pt x="1663" y="2586"/>
                  </a:lnTo>
                  <a:lnTo>
                    <a:pt x="1597" y="2621"/>
                  </a:lnTo>
                  <a:lnTo>
                    <a:pt x="1552" y="2606"/>
                  </a:lnTo>
                  <a:lnTo>
                    <a:pt x="1546" y="2595"/>
                  </a:lnTo>
                  <a:lnTo>
                    <a:pt x="1483" y="2627"/>
                  </a:lnTo>
                  <a:lnTo>
                    <a:pt x="1453" y="2648"/>
                  </a:lnTo>
                  <a:lnTo>
                    <a:pt x="1417" y="2651"/>
                  </a:lnTo>
                  <a:lnTo>
                    <a:pt x="1378" y="2684"/>
                  </a:lnTo>
                  <a:lnTo>
                    <a:pt x="1363" y="2693"/>
                  </a:lnTo>
                  <a:lnTo>
                    <a:pt x="1357" y="2708"/>
                  </a:lnTo>
                  <a:lnTo>
                    <a:pt x="1276" y="2723"/>
                  </a:lnTo>
                  <a:lnTo>
                    <a:pt x="1267" y="2717"/>
                  </a:lnTo>
                  <a:lnTo>
                    <a:pt x="1249" y="2693"/>
                  </a:lnTo>
                  <a:lnTo>
                    <a:pt x="1195" y="2687"/>
                  </a:lnTo>
                  <a:lnTo>
                    <a:pt x="1153" y="2663"/>
                  </a:lnTo>
                  <a:lnTo>
                    <a:pt x="1114" y="2654"/>
                  </a:lnTo>
                  <a:lnTo>
                    <a:pt x="1058" y="2696"/>
                  </a:lnTo>
                  <a:lnTo>
                    <a:pt x="1010" y="2735"/>
                  </a:lnTo>
                  <a:lnTo>
                    <a:pt x="1001" y="2720"/>
                  </a:lnTo>
                  <a:lnTo>
                    <a:pt x="1010" y="2681"/>
                  </a:lnTo>
                  <a:lnTo>
                    <a:pt x="998" y="2663"/>
                  </a:lnTo>
                  <a:lnTo>
                    <a:pt x="956" y="2666"/>
                  </a:lnTo>
                  <a:lnTo>
                    <a:pt x="872" y="2669"/>
                  </a:lnTo>
                  <a:lnTo>
                    <a:pt x="836" y="2642"/>
                  </a:lnTo>
                  <a:lnTo>
                    <a:pt x="812" y="2642"/>
                  </a:lnTo>
                  <a:lnTo>
                    <a:pt x="767" y="2642"/>
                  </a:lnTo>
                  <a:lnTo>
                    <a:pt x="758" y="2636"/>
                  </a:lnTo>
                  <a:lnTo>
                    <a:pt x="755" y="2615"/>
                  </a:lnTo>
                  <a:lnTo>
                    <a:pt x="704" y="2586"/>
                  </a:lnTo>
                  <a:lnTo>
                    <a:pt x="692" y="2553"/>
                  </a:lnTo>
                  <a:lnTo>
                    <a:pt x="680" y="2556"/>
                  </a:lnTo>
                  <a:lnTo>
                    <a:pt x="617" y="2520"/>
                  </a:lnTo>
                  <a:lnTo>
                    <a:pt x="617" y="2481"/>
                  </a:lnTo>
                  <a:lnTo>
                    <a:pt x="608" y="2469"/>
                  </a:lnTo>
                  <a:lnTo>
                    <a:pt x="593" y="2484"/>
                  </a:lnTo>
                  <a:lnTo>
                    <a:pt x="572" y="2484"/>
                  </a:lnTo>
                  <a:lnTo>
                    <a:pt x="551" y="2436"/>
                  </a:lnTo>
                  <a:lnTo>
                    <a:pt x="449" y="2349"/>
                  </a:lnTo>
                  <a:lnTo>
                    <a:pt x="422" y="2325"/>
                  </a:lnTo>
                  <a:lnTo>
                    <a:pt x="395" y="2352"/>
                  </a:lnTo>
                  <a:lnTo>
                    <a:pt x="380" y="2349"/>
                  </a:lnTo>
                  <a:lnTo>
                    <a:pt x="365" y="2331"/>
                  </a:lnTo>
                  <a:lnTo>
                    <a:pt x="321" y="2280"/>
                  </a:lnTo>
                  <a:lnTo>
                    <a:pt x="321" y="2265"/>
                  </a:lnTo>
                  <a:lnTo>
                    <a:pt x="261" y="2217"/>
                  </a:lnTo>
                  <a:lnTo>
                    <a:pt x="246" y="2193"/>
                  </a:lnTo>
                  <a:lnTo>
                    <a:pt x="219" y="2190"/>
                  </a:lnTo>
                  <a:lnTo>
                    <a:pt x="216" y="2175"/>
                  </a:lnTo>
                  <a:lnTo>
                    <a:pt x="222" y="2154"/>
                  </a:lnTo>
                  <a:lnTo>
                    <a:pt x="222" y="2127"/>
                  </a:lnTo>
                  <a:lnTo>
                    <a:pt x="219" y="2106"/>
                  </a:lnTo>
                  <a:lnTo>
                    <a:pt x="207" y="2079"/>
                  </a:lnTo>
                  <a:lnTo>
                    <a:pt x="213" y="2061"/>
                  </a:lnTo>
                  <a:lnTo>
                    <a:pt x="234" y="2058"/>
                  </a:lnTo>
                  <a:lnTo>
                    <a:pt x="255" y="2079"/>
                  </a:lnTo>
                  <a:lnTo>
                    <a:pt x="294" y="2076"/>
                  </a:lnTo>
                  <a:lnTo>
                    <a:pt x="303" y="2061"/>
                  </a:lnTo>
                  <a:lnTo>
                    <a:pt x="300" y="2022"/>
                  </a:lnTo>
                  <a:lnTo>
                    <a:pt x="273" y="1995"/>
                  </a:lnTo>
                  <a:lnTo>
                    <a:pt x="276" y="1968"/>
                  </a:lnTo>
                  <a:lnTo>
                    <a:pt x="285" y="1968"/>
                  </a:lnTo>
                  <a:lnTo>
                    <a:pt x="291" y="1944"/>
                  </a:lnTo>
                  <a:lnTo>
                    <a:pt x="300" y="1926"/>
                  </a:lnTo>
                  <a:lnTo>
                    <a:pt x="321" y="1926"/>
                  </a:lnTo>
                  <a:lnTo>
                    <a:pt x="342" y="1920"/>
                  </a:lnTo>
                  <a:lnTo>
                    <a:pt x="348" y="1896"/>
                  </a:lnTo>
                  <a:lnTo>
                    <a:pt x="377" y="1878"/>
                  </a:lnTo>
                  <a:lnTo>
                    <a:pt x="392" y="1837"/>
                  </a:lnTo>
                  <a:lnTo>
                    <a:pt x="431" y="1810"/>
                  </a:lnTo>
                  <a:lnTo>
                    <a:pt x="422" y="1801"/>
                  </a:lnTo>
                  <a:lnTo>
                    <a:pt x="401" y="1801"/>
                  </a:lnTo>
                  <a:lnTo>
                    <a:pt x="365" y="1747"/>
                  </a:lnTo>
                  <a:lnTo>
                    <a:pt x="333" y="1738"/>
                  </a:lnTo>
                  <a:lnTo>
                    <a:pt x="246" y="1765"/>
                  </a:lnTo>
                  <a:lnTo>
                    <a:pt x="210" y="1756"/>
                  </a:lnTo>
                  <a:lnTo>
                    <a:pt x="135" y="1702"/>
                  </a:lnTo>
                  <a:lnTo>
                    <a:pt x="114" y="1699"/>
                  </a:lnTo>
                  <a:lnTo>
                    <a:pt x="99" y="1663"/>
                  </a:lnTo>
                  <a:lnTo>
                    <a:pt x="111" y="1627"/>
                  </a:lnTo>
                  <a:lnTo>
                    <a:pt x="105" y="1609"/>
                  </a:lnTo>
                  <a:lnTo>
                    <a:pt x="78" y="1591"/>
                  </a:lnTo>
                  <a:lnTo>
                    <a:pt x="69" y="1573"/>
                  </a:lnTo>
                  <a:lnTo>
                    <a:pt x="12" y="1540"/>
                  </a:lnTo>
                  <a:lnTo>
                    <a:pt x="12" y="1531"/>
                  </a:lnTo>
                  <a:lnTo>
                    <a:pt x="39" y="1519"/>
                  </a:lnTo>
                  <a:lnTo>
                    <a:pt x="57" y="1528"/>
                  </a:lnTo>
                  <a:lnTo>
                    <a:pt x="72" y="1513"/>
                  </a:lnTo>
                  <a:lnTo>
                    <a:pt x="66" y="1459"/>
                  </a:lnTo>
                  <a:lnTo>
                    <a:pt x="72" y="1414"/>
                  </a:lnTo>
                  <a:lnTo>
                    <a:pt x="36" y="1375"/>
                  </a:lnTo>
                  <a:lnTo>
                    <a:pt x="9" y="1384"/>
                  </a:lnTo>
                  <a:lnTo>
                    <a:pt x="0" y="1357"/>
                  </a:lnTo>
                  <a:lnTo>
                    <a:pt x="15" y="1330"/>
                  </a:lnTo>
                  <a:lnTo>
                    <a:pt x="6" y="1303"/>
                  </a:lnTo>
                  <a:lnTo>
                    <a:pt x="30" y="1282"/>
                  </a:lnTo>
                  <a:lnTo>
                    <a:pt x="42" y="1273"/>
                  </a:lnTo>
                  <a:lnTo>
                    <a:pt x="42" y="1252"/>
                  </a:lnTo>
                  <a:lnTo>
                    <a:pt x="75" y="1234"/>
                  </a:lnTo>
                  <a:lnTo>
                    <a:pt x="111" y="1228"/>
                  </a:lnTo>
                  <a:lnTo>
                    <a:pt x="141" y="1216"/>
                  </a:lnTo>
                  <a:lnTo>
                    <a:pt x="165" y="1225"/>
                  </a:lnTo>
                  <a:lnTo>
                    <a:pt x="183" y="1216"/>
                  </a:lnTo>
                  <a:lnTo>
                    <a:pt x="189" y="1222"/>
                  </a:lnTo>
                  <a:lnTo>
                    <a:pt x="192" y="1243"/>
                  </a:lnTo>
                  <a:lnTo>
                    <a:pt x="207" y="1252"/>
                  </a:lnTo>
                  <a:lnTo>
                    <a:pt x="246" y="1249"/>
                  </a:lnTo>
                  <a:lnTo>
                    <a:pt x="291" y="1201"/>
                  </a:lnTo>
                  <a:lnTo>
                    <a:pt x="377" y="1219"/>
                  </a:lnTo>
                  <a:lnTo>
                    <a:pt x="422" y="1189"/>
                  </a:lnTo>
                  <a:lnTo>
                    <a:pt x="554" y="1159"/>
                  </a:lnTo>
                  <a:lnTo>
                    <a:pt x="563" y="1141"/>
                  </a:lnTo>
                  <a:lnTo>
                    <a:pt x="575" y="1091"/>
                  </a:lnTo>
                  <a:lnTo>
                    <a:pt x="611" y="1061"/>
                  </a:lnTo>
                  <a:lnTo>
                    <a:pt x="623" y="1061"/>
                  </a:lnTo>
                  <a:lnTo>
                    <a:pt x="623" y="1046"/>
                  </a:lnTo>
                  <a:lnTo>
                    <a:pt x="626" y="920"/>
                  </a:lnTo>
                  <a:lnTo>
                    <a:pt x="632" y="896"/>
                  </a:lnTo>
                  <a:lnTo>
                    <a:pt x="596" y="881"/>
                  </a:lnTo>
                  <a:lnTo>
                    <a:pt x="593" y="872"/>
                  </a:lnTo>
                  <a:lnTo>
                    <a:pt x="632" y="860"/>
                  </a:lnTo>
                  <a:lnTo>
                    <a:pt x="731" y="851"/>
                  </a:lnTo>
                  <a:lnTo>
                    <a:pt x="746" y="872"/>
                  </a:lnTo>
                  <a:lnTo>
                    <a:pt x="779" y="881"/>
                  </a:lnTo>
                  <a:lnTo>
                    <a:pt x="788" y="881"/>
                  </a:lnTo>
                  <a:lnTo>
                    <a:pt x="803" y="863"/>
                  </a:lnTo>
                  <a:lnTo>
                    <a:pt x="785" y="845"/>
                  </a:lnTo>
                  <a:lnTo>
                    <a:pt x="857" y="698"/>
                  </a:lnTo>
                  <a:lnTo>
                    <a:pt x="869" y="689"/>
                  </a:lnTo>
                  <a:lnTo>
                    <a:pt x="935" y="722"/>
                  </a:lnTo>
                  <a:lnTo>
                    <a:pt x="965" y="722"/>
                  </a:lnTo>
                  <a:lnTo>
                    <a:pt x="977" y="740"/>
                  </a:lnTo>
                  <a:lnTo>
                    <a:pt x="1040" y="722"/>
                  </a:lnTo>
                  <a:lnTo>
                    <a:pt x="1058" y="614"/>
                  </a:lnTo>
                  <a:lnTo>
                    <a:pt x="1085" y="596"/>
                  </a:lnTo>
                  <a:lnTo>
                    <a:pt x="1117" y="596"/>
                  </a:lnTo>
                  <a:lnTo>
                    <a:pt x="1138" y="569"/>
                  </a:lnTo>
                  <a:lnTo>
                    <a:pt x="1147" y="542"/>
                  </a:lnTo>
                  <a:lnTo>
                    <a:pt x="1165" y="530"/>
                  </a:lnTo>
                  <a:lnTo>
                    <a:pt x="1207" y="542"/>
                  </a:lnTo>
                  <a:lnTo>
                    <a:pt x="1225" y="542"/>
                  </a:lnTo>
                  <a:lnTo>
                    <a:pt x="1213" y="578"/>
                  </a:lnTo>
                  <a:lnTo>
                    <a:pt x="1228" y="596"/>
                  </a:lnTo>
                  <a:lnTo>
                    <a:pt x="1231" y="608"/>
                  </a:lnTo>
                  <a:lnTo>
                    <a:pt x="1267" y="644"/>
                  </a:lnTo>
                  <a:lnTo>
                    <a:pt x="1276" y="671"/>
                  </a:lnTo>
                  <a:lnTo>
                    <a:pt x="1324" y="674"/>
                  </a:lnTo>
                  <a:lnTo>
                    <a:pt x="1345" y="692"/>
                  </a:lnTo>
                  <a:lnTo>
                    <a:pt x="1357" y="692"/>
                  </a:lnTo>
                  <a:lnTo>
                    <a:pt x="1384" y="752"/>
                  </a:lnTo>
                  <a:lnTo>
                    <a:pt x="1411" y="824"/>
                  </a:lnTo>
                  <a:lnTo>
                    <a:pt x="1396" y="866"/>
                  </a:lnTo>
                  <a:lnTo>
                    <a:pt x="1399" y="881"/>
                  </a:lnTo>
                  <a:lnTo>
                    <a:pt x="1375" y="926"/>
                  </a:lnTo>
                  <a:lnTo>
                    <a:pt x="1381" y="959"/>
                  </a:lnTo>
                  <a:lnTo>
                    <a:pt x="1471" y="998"/>
                  </a:lnTo>
                  <a:lnTo>
                    <a:pt x="1567" y="1010"/>
                  </a:lnTo>
                  <a:lnTo>
                    <a:pt x="1666" y="1079"/>
                  </a:lnTo>
                  <a:lnTo>
                    <a:pt x="1696" y="1091"/>
                  </a:lnTo>
                  <a:lnTo>
                    <a:pt x="1699" y="1109"/>
                  </a:lnTo>
                  <a:lnTo>
                    <a:pt x="1720" y="1153"/>
                  </a:lnTo>
                  <a:lnTo>
                    <a:pt x="1741" y="1207"/>
                  </a:lnTo>
                  <a:lnTo>
                    <a:pt x="1768" y="1255"/>
                  </a:lnTo>
                </a:path>
              </a:pathLst>
            </a:custGeom>
            <a:solidFill>
              <a:srgbClr val="F1F0F1"/>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 name="Freeform 4"/>
            <p:cNvSpPr>
              <a:spLocks/>
            </p:cNvSpPr>
            <p:nvPr/>
          </p:nvSpPr>
          <p:spPr bwMode="auto">
            <a:xfrm>
              <a:off x="924174" y="3595712"/>
              <a:ext cx="77787" cy="95250"/>
            </a:xfrm>
            <a:custGeom>
              <a:avLst/>
              <a:gdLst>
                <a:gd name="T0" fmla="*/ 0 w 54"/>
                <a:gd name="T1" fmla="*/ 22 h 68"/>
                <a:gd name="T2" fmla="*/ 6 w 54"/>
                <a:gd name="T3" fmla="*/ 10 h 68"/>
                <a:gd name="T4" fmla="*/ 25 w 54"/>
                <a:gd name="T5" fmla="*/ 0 h 68"/>
                <a:gd name="T6" fmla="*/ 0 60000 65536"/>
                <a:gd name="T7" fmla="*/ 0 60000 65536"/>
                <a:gd name="T8" fmla="*/ 0 60000 65536"/>
              </a:gdLst>
              <a:ahLst/>
              <a:cxnLst>
                <a:cxn ang="T6">
                  <a:pos x="T0" y="T1"/>
                </a:cxn>
                <a:cxn ang="T7">
                  <a:pos x="T2" y="T3"/>
                </a:cxn>
                <a:cxn ang="T8">
                  <a:pos x="T4" y="T5"/>
                </a:cxn>
              </a:cxnLst>
              <a:rect l="0" t="0" r="r" b="b"/>
              <a:pathLst>
                <a:path w="54" h="68">
                  <a:moveTo>
                    <a:pt x="0" y="68"/>
                  </a:moveTo>
                  <a:lnTo>
                    <a:pt x="15" y="27"/>
                  </a:lnTo>
                  <a:lnTo>
                    <a:pt x="54" y="0"/>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 name="Freeform 5"/>
            <p:cNvSpPr>
              <a:spLocks/>
            </p:cNvSpPr>
            <p:nvPr/>
          </p:nvSpPr>
          <p:spPr bwMode="auto">
            <a:xfrm>
              <a:off x="4486524" y="5154637"/>
              <a:ext cx="941387" cy="777875"/>
            </a:xfrm>
            <a:custGeom>
              <a:avLst/>
              <a:gdLst>
                <a:gd name="T0" fmla="*/ 81 w 671"/>
                <a:gd name="T1" fmla="*/ 27 h 560"/>
                <a:gd name="T2" fmla="*/ 85 w 671"/>
                <a:gd name="T3" fmla="*/ 15 h 560"/>
                <a:gd name="T4" fmla="*/ 110 w 671"/>
                <a:gd name="T5" fmla="*/ 21 h 560"/>
                <a:gd name="T6" fmla="*/ 109 w 671"/>
                <a:gd name="T7" fmla="*/ 12 h 560"/>
                <a:gd name="T8" fmla="*/ 120 w 671"/>
                <a:gd name="T9" fmla="*/ 4 h 560"/>
                <a:gd name="T10" fmla="*/ 148 w 671"/>
                <a:gd name="T11" fmla="*/ 0 h 560"/>
                <a:gd name="T12" fmla="*/ 174 w 671"/>
                <a:gd name="T13" fmla="*/ 4 h 560"/>
                <a:gd name="T14" fmla="*/ 171 w 671"/>
                <a:gd name="T15" fmla="*/ 13 h 560"/>
                <a:gd name="T16" fmla="*/ 163 w 671"/>
                <a:gd name="T17" fmla="*/ 27 h 560"/>
                <a:gd name="T18" fmla="*/ 204 w 671"/>
                <a:gd name="T19" fmla="*/ 19 h 560"/>
                <a:gd name="T20" fmla="*/ 221 w 671"/>
                <a:gd name="T21" fmla="*/ 21 h 560"/>
                <a:gd name="T22" fmla="*/ 220 w 671"/>
                <a:gd name="T23" fmla="*/ 11 h 560"/>
                <a:gd name="T24" fmla="*/ 248 w 671"/>
                <a:gd name="T25" fmla="*/ 17 h 560"/>
                <a:gd name="T26" fmla="*/ 265 w 671"/>
                <a:gd name="T27" fmla="*/ 27 h 560"/>
                <a:gd name="T28" fmla="*/ 268 w 671"/>
                <a:gd name="T29" fmla="*/ 51 h 560"/>
                <a:gd name="T30" fmla="*/ 257 w 671"/>
                <a:gd name="T31" fmla="*/ 64 h 560"/>
                <a:gd name="T32" fmla="*/ 232 w 671"/>
                <a:gd name="T33" fmla="*/ 80 h 560"/>
                <a:gd name="T34" fmla="*/ 221 w 671"/>
                <a:gd name="T35" fmla="*/ 82 h 560"/>
                <a:gd name="T36" fmla="*/ 214 w 671"/>
                <a:gd name="T37" fmla="*/ 85 h 560"/>
                <a:gd name="T38" fmla="*/ 194 w 671"/>
                <a:gd name="T39" fmla="*/ 89 h 560"/>
                <a:gd name="T40" fmla="*/ 180 w 671"/>
                <a:gd name="T41" fmla="*/ 92 h 560"/>
                <a:gd name="T42" fmla="*/ 143 w 671"/>
                <a:gd name="T43" fmla="*/ 88 h 560"/>
                <a:gd name="T44" fmla="*/ 148 w 671"/>
                <a:gd name="T45" fmla="*/ 108 h 560"/>
                <a:gd name="T46" fmla="*/ 124 w 671"/>
                <a:gd name="T47" fmla="*/ 123 h 560"/>
                <a:gd name="T48" fmla="*/ 101 w 671"/>
                <a:gd name="T49" fmla="*/ 129 h 560"/>
                <a:gd name="T50" fmla="*/ 71 w 671"/>
                <a:gd name="T51" fmla="*/ 139 h 560"/>
                <a:gd name="T52" fmla="*/ 27 w 671"/>
                <a:gd name="T53" fmla="*/ 154 h 560"/>
                <a:gd name="T54" fmla="*/ 34 w 671"/>
                <a:gd name="T55" fmla="*/ 178 h 560"/>
                <a:gd name="T56" fmla="*/ 13 w 671"/>
                <a:gd name="T57" fmla="*/ 184 h 560"/>
                <a:gd name="T58" fmla="*/ 5 w 671"/>
                <a:gd name="T59" fmla="*/ 149 h 560"/>
                <a:gd name="T60" fmla="*/ 13 w 671"/>
                <a:gd name="T61" fmla="*/ 133 h 560"/>
                <a:gd name="T62" fmla="*/ 24 w 671"/>
                <a:gd name="T63" fmla="*/ 125 h 560"/>
                <a:gd name="T64" fmla="*/ 37 w 671"/>
                <a:gd name="T65" fmla="*/ 106 h 560"/>
                <a:gd name="T66" fmla="*/ 59 w 671"/>
                <a:gd name="T67" fmla="*/ 76 h 560"/>
                <a:gd name="T68" fmla="*/ 74 w 671"/>
                <a:gd name="T69" fmla="*/ 53 h 560"/>
                <a:gd name="T70" fmla="*/ 74 w 671"/>
                <a:gd name="T71" fmla="*/ 31 h 5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71" h="560">
                  <a:moveTo>
                    <a:pt x="180" y="96"/>
                  </a:moveTo>
                  <a:lnTo>
                    <a:pt x="198" y="84"/>
                  </a:lnTo>
                  <a:lnTo>
                    <a:pt x="198" y="54"/>
                  </a:lnTo>
                  <a:lnTo>
                    <a:pt x="207" y="48"/>
                  </a:lnTo>
                  <a:lnTo>
                    <a:pt x="228" y="48"/>
                  </a:lnTo>
                  <a:lnTo>
                    <a:pt x="267" y="66"/>
                  </a:lnTo>
                  <a:lnTo>
                    <a:pt x="273" y="54"/>
                  </a:lnTo>
                  <a:lnTo>
                    <a:pt x="264" y="36"/>
                  </a:lnTo>
                  <a:lnTo>
                    <a:pt x="267" y="27"/>
                  </a:lnTo>
                  <a:lnTo>
                    <a:pt x="291" y="6"/>
                  </a:lnTo>
                  <a:lnTo>
                    <a:pt x="336" y="18"/>
                  </a:lnTo>
                  <a:lnTo>
                    <a:pt x="360" y="0"/>
                  </a:lnTo>
                  <a:lnTo>
                    <a:pt x="378" y="18"/>
                  </a:lnTo>
                  <a:lnTo>
                    <a:pt x="422" y="9"/>
                  </a:lnTo>
                  <a:lnTo>
                    <a:pt x="431" y="24"/>
                  </a:lnTo>
                  <a:lnTo>
                    <a:pt x="416" y="42"/>
                  </a:lnTo>
                  <a:lnTo>
                    <a:pt x="396" y="75"/>
                  </a:lnTo>
                  <a:lnTo>
                    <a:pt x="396" y="84"/>
                  </a:lnTo>
                  <a:lnTo>
                    <a:pt x="408" y="93"/>
                  </a:lnTo>
                  <a:lnTo>
                    <a:pt x="497" y="57"/>
                  </a:lnTo>
                  <a:lnTo>
                    <a:pt x="530" y="75"/>
                  </a:lnTo>
                  <a:lnTo>
                    <a:pt x="539" y="66"/>
                  </a:lnTo>
                  <a:lnTo>
                    <a:pt x="530" y="48"/>
                  </a:lnTo>
                  <a:lnTo>
                    <a:pt x="533" y="33"/>
                  </a:lnTo>
                  <a:lnTo>
                    <a:pt x="593" y="48"/>
                  </a:lnTo>
                  <a:lnTo>
                    <a:pt x="602" y="54"/>
                  </a:lnTo>
                  <a:lnTo>
                    <a:pt x="620" y="54"/>
                  </a:lnTo>
                  <a:lnTo>
                    <a:pt x="644" y="84"/>
                  </a:lnTo>
                  <a:lnTo>
                    <a:pt x="671" y="144"/>
                  </a:lnTo>
                  <a:lnTo>
                    <a:pt x="653" y="159"/>
                  </a:lnTo>
                  <a:lnTo>
                    <a:pt x="638" y="186"/>
                  </a:lnTo>
                  <a:lnTo>
                    <a:pt x="623" y="192"/>
                  </a:lnTo>
                  <a:lnTo>
                    <a:pt x="611" y="219"/>
                  </a:lnTo>
                  <a:lnTo>
                    <a:pt x="563" y="243"/>
                  </a:lnTo>
                  <a:lnTo>
                    <a:pt x="545" y="234"/>
                  </a:lnTo>
                  <a:lnTo>
                    <a:pt x="536" y="252"/>
                  </a:lnTo>
                  <a:lnTo>
                    <a:pt x="536" y="258"/>
                  </a:lnTo>
                  <a:lnTo>
                    <a:pt x="521" y="258"/>
                  </a:lnTo>
                  <a:lnTo>
                    <a:pt x="497" y="258"/>
                  </a:lnTo>
                  <a:lnTo>
                    <a:pt x="473" y="273"/>
                  </a:lnTo>
                  <a:lnTo>
                    <a:pt x="458" y="264"/>
                  </a:lnTo>
                  <a:lnTo>
                    <a:pt x="437" y="279"/>
                  </a:lnTo>
                  <a:lnTo>
                    <a:pt x="387" y="300"/>
                  </a:lnTo>
                  <a:lnTo>
                    <a:pt x="348" y="267"/>
                  </a:lnTo>
                  <a:lnTo>
                    <a:pt x="345" y="291"/>
                  </a:lnTo>
                  <a:lnTo>
                    <a:pt x="360" y="330"/>
                  </a:lnTo>
                  <a:lnTo>
                    <a:pt x="321" y="345"/>
                  </a:lnTo>
                  <a:lnTo>
                    <a:pt x="303" y="375"/>
                  </a:lnTo>
                  <a:lnTo>
                    <a:pt x="264" y="384"/>
                  </a:lnTo>
                  <a:lnTo>
                    <a:pt x="243" y="393"/>
                  </a:lnTo>
                  <a:lnTo>
                    <a:pt x="201" y="393"/>
                  </a:lnTo>
                  <a:lnTo>
                    <a:pt x="174" y="420"/>
                  </a:lnTo>
                  <a:lnTo>
                    <a:pt x="102" y="443"/>
                  </a:lnTo>
                  <a:lnTo>
                    <a:pt x="66" y="467"/>
                  </a:lnTo>
                  <a:lnTo>
                    <a:pt x="48" y="485"/>
                  </a:lnTo>
                  <a:lnTo>
                    <a:pt x="81" y="542"/>
                  </a:lnTo>
                  <a:lnTo>
                    <a:pt x="57" y="560"/>
                  </a:lnTo>
                  <a:lnTo>
                    <a:pt x="30" y="560"/>
                  </a:lnTo>
                  <a:lnTo>
                    <a:pt x="0" y="500"/>
                  </a:lnTo>
                  <a:lnTo>
                    <a:pt x="6" y="458"/>
                  </a:lnTo>
                  <a:lnTo>
                    <a:pt x="6" y="440"/>
                  </a:lnTo>
                  <a:lnTo>
                    <a:pt x="30" y="402"/>
                  </a:lnTo>
                  <a:lnTo>
                    <a:pt x="57" y="396"/>
                  </a:lnTo>
                  <a:lnTo>
                    <a:pt x="57" y="378"/>
                  </a:lnTo>
                  <a:lnTo>
                    <a:pt x="87" y="363"/>
                  </a:lnTo>
                  <a:lnTo>
                    <a:pt x="90" y="327"/>
                  </a:lnTo>
                  <a:lnTo>
                    <a:pt x="144" y="288"/>
                  </a:lnTo>
                  <a:lnTo>
                    <a:pt x="141" y="234"/>
                  </a:lnTo>
                  <a:lnTo>
                    <a:pt x="180" y="180"/>
                  </a:lnTo>
                  <a:lnTo>
                    <a:pt x="180" y="162"/>
                  </a:lnTo>
                  <a:lnTo>
                    <a:pt x="192" y="141"/>
                  </a:lnTo>
                  <a:lnTo>
                    <a:pt x="180" y="96"/>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 name="Freeform 6"/>
            <p:cNvSpPr>
              <a:spLocks/>
            </p:cNvSpPr>
            <p:nvPr/>
          </p:nvSpPr>
          <p:spPr bwMode="auto">
            <a:xfrm>
              <a:off x="3780086" y="5080025"/>
              <a:ext cx="976313" cy="698500"/>
            </a:xfrm>
            <a:custGeom>
              <a:avLst/>
              <a:gdLst>
                <a:gd name="T0" fmla="*/ 13 w 695"/>
                <a:gd name="T1" fmla="*/ 64 h 503"/>
                <a:gd name="T2" fmla="*/ 32 w 695"/>
                <a:gd name="T3" fmla="*/ 57 h 503"/>
                <a:gd name="T4" fmla="*/ 60 w 695"/>
                <a:gd name="T5" fmla="*/ 64 h 503"/>
                <a:gd name="T6" fmla="*/ 66 w 695"/>
                <a:gd name="T7" fmla="*/ 51 h 503"/>
                <a:gd name="T8" fmla="*/ 109 w 695"/>
                <a:gd name="T9" fmla="*/ 39 h 503"/>
                <a:gd name="T10" fmla="*/ 142 w 695"/>
                <a:gd name="T11" fmla="*/ 33 h 503"/>
                <a:gd name="T12" fmla="*/ 156 w 695"/>
                <a:gd name="T13" fmla="*/ 36 h 503"/>
                <a:gd name="T14" fmla="*/ 167 w 695"/>
                <a:gd name="T15" fmla="*/ 29 h 503"/>
                <a:gd name="T16" fmla="*/ 172 w 695"/>
                <a:gd name="T17" fmla="*/ 21 h 503"/>
                <a:gd name="T18" fmla="*/ 186 w 695"/>
                <a:gd name="T19" fmla="*/ 13 h 503"/>
                <a:gd name="T20" fmla="*/ 204 w 695"/>
                <a:gd name="T21" fmla="*/ 6 h 503"/>
                <a:gd name="T22" fmla="*/ 212 w 695"/>
                <a:gd name="T23" fmla="*/ 13 h 503"/>
                <a:gd name="T24" fmla="*/ 231 w 695"/>
                <a:gd name="T25" fmla="*/ 4 h 503"/>
                <a:gd name="T26" fmla="*/ 251 w 695"/>
                <a:gd name="T27" fmla="*/ 4 h 503"/>
                <a:gd name="T28" fmla="*/ 260 w 695"/>
                <a:gd name="T29" fmla="*/ 15 h 503"/>
                <a:gd name="T30" fmla="*/ 248 w 695"/>
                <a:gd name="T31" fmla="*/ 36 h 503"/>
                <a:gd name="T32" fmla="*/ 248 w 695"/>
                <a:gd name="T33" fmla="*/ 46 h 503"/>
                <a:gd name="T34" fmla="*/ 266 w 695"/>
                <a:gd name="T35" fmla="*/ 53 h 503"/>
                <a:gd name="T36" fmla="*/ 281 w 695"/>
                <a:gd name="T37" fmla="*/ 49 h 503"/>
                <a:gd name="T38" fmla="*/ 281 w 695"/>
                <a:gd name="T39" fmla="*/ 72 h 503"/>
                <a:gd name="T40" fmla="*/ 265 w 695"/>
                <a:gd name="T41" fmla="*/ 95 h 503"/>
                <a:gd name="T42" fmla="*/ 244 w 695"/>
                <a:gd name="T43" fmla="*/ 125 h 503"/>
                <a:gd name="T44" fmla="*/ 231 w 695"/>
                <a:gd name="T45" fmla="*/ 141 h 503"/>
                <a:gd name="T46" fmla="*/ 220 w 695"/>
                <a:gd name="T47" fmla="*/ 149 h 503"/>
                <a:gd name="T48" fmla="*/ 185 w 695"/>
                <a:gd name="T49" fmla="*/ 166 h 503"/>
                <a:gd name="T50" fmla="*/ 159 w 695"/>
                <a:gd name="T51" fmla="*/ 154 h 503"/>
                <a:gd name="T52" fmla="*/ 132 w 695"/>
                <a:gd name="T53" fmla="*/ 164 h 503"/>
                <a:gd name="T54" fmla="*/ 88 w 695"/>
                <a:gd name="T55" fmla="*/ 151 h 503"/>
                <a:gd name="T56" fmla="*/ 92 w 695"/>
                <a:gd name="T57" fmla="*/ 128 h 503"/>
                <a:gd name="T58" fmla="*/ 71 w 695"/>
                <a:gd name="T59" fmla="*/ 123 h 503"/>
                <a:gd name="T60" fmla="*/ 57 w 695"/>
                <a:gd name="T61" fmla="*/ 123 h 503"/>
                <a:gd name="T62" fmla="*/ 49 w 695"/>
                <a:gd name="T63" fmla="*/ 106 h 503"/>
                <a:gd name="T64" fmla="*/ 61 w 695"/>
                <a:gd name="T65" fmla="*/ 103 h 503"/>
                <a:gd name="T66" fmla="*/ 60 w 695"/>
                <a:gd name="T67" fmla="*/ 88 h 503"/>
                <a:gd name="T68" fmla="*/ 24 w 695"/>
                <a:gd name="T69" fmla="*/ 76 h 503"/>
                <a:gd name="T70" fmla="*/ 5 w 695"/>
                <a:gd name="T71" fmla="*/ 76 h 503"/>
                <a:gd name="T72" fmla="*/ 0 w 695"/>
                <a:gd name="T73" fmla="*/ 64 h 5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95" h="503">
                  <a:moveTo>
                    <a:pt x="0" y="192"/>
                  </a:moveTo>
                  <a:lnTo>
                    <a:pt x="30" y="195"/>
                  </a:lnTo>
                  <a:lnTo>
                    <a:pt x="63" y="165"/>
                  </a:lnTo>
                  <a:lnTo>
                    <a:pt x="75" y="174"/>
                  </a:lnTo>
                  <a:lnTo>
                    <a:pt x="138" y="198"/>
                  </a:lnTo>
                  <a:lnTo>
                    <a:pt x="147" y="192"/>
                  </a:lnTo>
                  <a:lnTo>
                    <a:pt x="150" y="171"/>
                  </a:lnTo>
                  <a:lnTo>
                    <a:pt x="162" y="159"/>
                  </a:lnTo>
                  <a:lnTo>
                    <a:pt x="248" y="102"/>
                  </a:lnTo>
                  <a:lnTo>
                    <a:pt x="263" y="120"/>
                  </a:lnTo>
                  <a:lnTo>
                    <a:pt x="317" y="138"/>
                  </a:lnTo>
                  <a:lnTo>
                    <a:pt x="344" y="99"/>
                  </a:lnTo>
                  <a:lnTo>
                    <a:pt x="359" y="108"/>
                  </a:lnTo>
                  <a:lnTo>
                    <a:pt x="380" y="108"/>
                  </a:lnTo>
                  <a:lnTo>
                    <a:pt x="380" y="96"/>
                  </a:lnTo>
                  <a:lnTo>
                    <a:pt x="407" y="87"/>
                  </a:lnTo>
                  <a:lnTo>
                    <a:pt x="407" y="78"/>
                  </a:lnTo>
                  <a:lnTo>
                    <a:pt x="419" y="66"/>
                  </a:lnTo>
                  <a:lnTo>
                    <a:pt x="425" y="69"/>
                  </a:lnTo>
                  <a:lnTo>
                    <a:pt x="452" y="42"/>
                  </a:lnTo>
                  <a:lnTo>
                    <a:pt x="476" y="48"/>
                  </a:lnTo>
                  <a:lnTo>
                    <a:pt x="497" y="18"/>
                  </a:lnTo>
                  <a:lnTo>
                    <a:pt x="509" y="42"/>
                  </a:lnTo>
                  <a:lnTo>
                    <a:pt x="515" y="39"/>
                  </a:lnTo>
                  <a:lnTo>
                    <a:pt x="551" y="6"/>
                  </a:lnTo>
                  <a:lnTo>
                    <a:pt x="560" y="6"/>
                  </a:lnTo>
                  <a:lnTo>
                    <a:pt x="578" y="0"/>
                  </a:lnTo>
                  <a:lnTo>
                    <a:pt x="608" y="6"/>
                  </a:lnTo>
                  <a:lnTo>
                    <a:pt x="608" y="39"/>
                  </a:lnTo>
                  <a:lnTo>
                    <a:pt x="629" y="45"/>
                  </a:lnTo>
                  <a:lnTo>
                    <a:pt x="623" y="75"/>
                  </a:lnTo>
                  <a:lnTo>
                    <a:pt x="602" y="108"/>
                  </a:lnTo>
                  <a:lnTo>
                    <a:pt x="593" y="138"/>
                  </a:lnTo>
                  <a:lnTo>
                    <a:pt x="602" y="138"/>
                  </a:lnTo>
                  <a:lnTo>
                    <a:pt x="626" y="117"/>
                  </a:lnTo>
                  <a:lnTo>
                    <a:pt x="647" y="162"/>
                  </a:lnTo>
                  <a:lnTo>
                    <a:pt x="665" y="150"/>
                  </a:lnTo>
                  <a:lnTo>
                    <a:pt x="683" y="150"/>
                  </a:lnTo>
                  <a:lnTo>
                    <a:pt x="695" y="195"/>
                  </a:lnTo>
                  <a:lnTo>
                    <a:pt x="683" y="216"/>
                  </a:lnTo>
                  <a:lnTo>
                    <a:pt x="683" y="234"/>
                  </a:lnTo>
                  <a:lnTo>
                    <a:pt x="644" y="288"/>
                  </a:lnTo>
                  <a:lnTo>
                    <a:pt x="647" y="342"/>
                  </a:lnTo>
                  <a:lnTo>
                    <a:pt x="593" y="381"/>
                  </a:lnTo>
                  <a:lnTo>
                    <a:pt x="590" y="417"/>
                  </a:lnTo>
                  <a:lnTo>
                    <a:pt x="560" y="432"/>
                  </a:lnTo>
                  <a:lnTo>
                    <a:pt x="560" y="450"/>
                  </a:lnTo>
                  <a:lnTo>
                    <a:pt x="533" y="456"/>
                  </a:lnTo>
                  <a:lnTo>
                    <a:pt x="509" y="494"/>
                  </a:lnTo>
                  <a:lnTo>
                    <a:pt x="449" y="503"/>
                  </a:lnTo>
                  <a:lnTo>
                    <a:pt x="419" y="479"/>
                  </a:lnTo>
                  <a:lnTo>
                    <a:pt x="386" y="468"/>
                  </a:lnTo>
                  <a:lnTo>
                    <a:pt x="353" y="497"/>
                  </a:lnTo>
                  <a:lnTo>
                    <a:pt x="320" y="500"/>
                  </a:lnTo>
                  <a:lnTo>
                    <a:pt x="287" y="503"/>
                  </a:lnTo>
                  <a:lnTo>
                    <a:pt x="215" y="462"/>
                  </a:lnTo>
                  <a:lnTo>
                    <a:pt x="203" y="426"/>
                  </a:lnTo>
                  <a:lnTo>
                    <a:pt x="221" y="390"/>
                  </a:lnTo>
                  <a:lnTo>
                    <a:pt x="200" y="375"/>
                  </a:lnTo>
                  <a:lnTo>
                    <a:pt x="173" y="375"/>
                  </a:lnTo>
                  <a:lnTo>
                    <a:pt x="165" y="366"/>
                  </a:lnTo>
                  <a:lnTo>
                    <a:pt x="138" y="375"/>
                  </a:lnTo>
                  <a:lnTo>
                    <a:pt x="108" y="354"/>
                  </a:lnTo>
                  <a:lnTo>
                    <a:pt x="120" y="321"/>
                  </a:lnTo>
                  <a:lnTo>
                    <a:pt x="141" y="318"/>
                  </a:lnTo>
                  <a:lnTo>
                    <a:pt x="150" y="312"/>
                  </a:lnTo>
                  <a:lnTo>
                    <a:pt x="159" y="282"/>
                  </a:lnTo>
                  <a:lnTo>
                    <a:pt x="147" y="267"/>
                  </a:lnTo>
                  <a:lnTo>
                    <a:pt x="72" y="252"/>
                  </a:lnTo>
                  <a:lnTo>
                    <a:pt x="57" y="231"/>
                  </a:lnTo>
                  <a:lnTo>
                    <a:pt x="36" y="231"/>
                  </a:lnTo>
                  <a:lnTo>
                    <a:pt x="15" y="231"/>
                  </a:lnTo>
                  <a:lnTo>
                    <a:pt x="0" y="204"/>
                  </a:lnTo>
                  <a:lnTo>
                    <a:pt x="0" y="19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 name="Freeform 7"/>
            <p:cNvSpPr>
              <a:spLocks/>
            </p:cNvSpPr>
            <p:nvPr/>
          </p:nvSpPr>
          <p:spPr bwMode="auto">
            <a:xfrm>
              <a:off x="4364286" y="5953150"/>
              <a:ext cx="312738" cy="284162"/>
            </a:xfrm>
            <a:custGeom>
              <a:avLst/>
              <a:gdLst>
                <a:gd name="T0" fmla="*/ 91 w 222"/>
                <a:gd name="T1" fmla="*/ 12 h 204"/>
                <a:gd name="T2" fmla="*/ 73 w 222"/>
                <a:gd name="T3" fmla="*/ 37 h 204"/>
                <a:gd name="T4" fmla="*/ 73 w 222"/>
                <a:gd name="T5" fmla="*/ 47 h 204"/>
                <a:gd name="T6" fmla="*/ 40 w 222"/>
                <a:gd name="T7" fmla="*/ 68 h 204"/>
                <a:gd name="T8" fmla="*/ 5 w 222"/>
                <a:gd name="T9" fmla="*/ 59 h 204"/>
                <a:gd name="T10" fmla="*/ 0 w 222"/>
                <a:gd name="T11" fmla="*/ 39 h 204"/>
                <a:gd name="T12" fmla="*/ 3 w 222"/>
                <a:gd name="T13" fmla="*/ 31 h 204"/>
                <a:gd name="T14" fmla="*/ 21 w 222"/>
                <a:gd name="T15" fmla="*/ 14 h 204"/>
                <a:gd name="T16" fmla="*/ 27 w 222"/>
                <a:gd name="T17" fmla="*/ 11 h 204"/>
                <a:gd name="T18" fmla="*/ 58 w 222"/>
                <a:gd name="T19" fmla="*/ 6 h 204"/>
                <a:gd name="T20" fmla="*/ 71 w 222"/>
                <a:gd name="T21" fmla="*/ 4 h 204"/>
                <a:gd name="T22" fmla="*/ 76 w 222"/>
                <a:gd name="T23" fmla="*/ 0 h 204"/>
                <a:gd name="T24" fmla="*/ 85 w 222"/>
                <a:gd name="T25" fmla="*/ 4 h 204"/>
                <a:gd name="T26" fmla="*/ 91 w 222"/>
                <a:gd name="T27" fmla="*/ 1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22" h="204">
                  <a:moveTo>
                    <a:pt x="222" y="36"/>
                  </a:moveTo>
                  <a:lnTo>
                    <a:pt x="180" y="108"/>
                  </a:lnTo>
                  <a:lnTo>
                    <a:pt x="180" y="138"/>
                  </a:lnTo>
                  <a:lnTo>
                    <a:pt x="99" y="204"/>
                  </a:lnTo>
                  <a:lnTo>
                    <a:pt x="15" y="177"/>
                  </a:lnTo>
                  <a:lnTo>
                    <a:pt x="0" y="117"/>
                  </a:lnTo>
                  <a:lnTo>
                    <a:pt x="3" y="90"/>
                  </a:lnTo>
                  <a:lnTo>
                    <a:pt x="51" y="42"/>
                  </a:lnTo>
                  <a:lnTo>
                    <a:pt x="66" y="30"/>
                  </a:lnTo>
                  <a:lnTo>
                    <a:pt x="141" y="18"/>
                  </a:lnTo>
                  <a:lnTo>
                    <a:pt x="174" y="15"/>
                  </a:lnTo>
                  <a:lnTo>
                    <a:pt x="186" y="0"/>
                  </a:lnTo>
                  <a:lnTo>
                    <a:pt x="210" y="6"/>
                  </a:lnTo>
                  <a:lnTo>
                    <a:pt x="222" y="36"/>
                  </a:lnTo>
                </a:path>
              </a:pathLst>
            </a:custGeom>
            <a:solidFill>
              <a:schemeClr val="bg1">
                <a:lumMod val="75000"/>
              </a:schemeClr>
            </a:solidFill>
            <a:ln w="19050">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 name="Freeform 8"/>
            <p:cNvSpPr>
              <a:spLocks/>
            </p:cNvSpPr>
            <p:nvPr/>
          </p:nvSpPr>
          <p:spPr bwMode="auto">
            <a:xfrm>
              <a:off x="2881561" y="4710137"/>
              <a:ext cx="1122363" cy="1147763"/>
            </a:xfrm>
            <a:custGeom>
              <a:avLst/>
              <a:gdLst>
                <a:gd name="T0" fmla="*/ 287 w 800"/>
                <a:gd name="T1" fmla="*/ 42 h 827"/>
                <a:gd name="T2" fmla="*/ 265 w 800"/>
                <a:gd name="T3" fmla="*/ 46 h 827"/>
                <a:gd name="T4" fmla="*/ 255 w 800"/>
                <a:gd name="T5" fmla="*/ 33 h 827"/>
                <a:gd name="T6" fmla="*/ 251 w 800"/>
                <a:gd name="T7" fmla="*/ 24 h 827"/>
                <a:gd name="T8" fmla="*/ 232 w 800"/>
                <a:gd name="T9" fmla="*/ 24 h 827"/>
                <a:gd name="T10" fmla="*/ 224 w 800"/>
                <a:gd name="T11" fmla="*/ 36 h 827"/>
                <a:gd name="T12" fmla="*/ 224 w 800"/>
                <a:gd name="T13" fmla="*/ 47 h 827"/>
                <a:gd name="T14" fmla="*/ 204 w 800"/>
                <a:gd name="T15" fmla="*/ 95 h 827"/>
                <a:gd name="T16" fmla="*/ 188 w 800"/>
                <a:gd name="T17" fmla="*/ 98 h 827"/>
                <a:gd name="T18" fmla="*/ 157 w 800"/>
                <a:gd name="T19" fmla="*/ 106 h 827"/>
                <a:gd name="T20" fmla="*/ 113 w 800"/>
                <a:gd name="T21" fmla="*/ 46 h 827"/>
                <a:gd name="T22" fmla="*/ 94 w 800"/>
                <a:gd name="T23" fmla="*/ 37 h 827"/>
                <a:gd name="T24" fmla="*/ 93 w 800"/>
                <a:gd name="T25" fmla="*/ 24 h 827"/>
                <a:gd name="T26" fmla="*/ 70 w 800"/>
                <a:gd name="T27" fmla="*/ 33 h 827"/>
                <a:gd name="T28" fmla="*/ 60 w 800"/>
                <a:gd name="T29" fmla="*/ 0 h 827"/>
                <a:gd name="T30" fmla="*/ 45 w 800"/>
                <a:gd name="T31" fmla="*/ 13 h 827"/>
                <a:gd name="T32" fmla="*/ 43 w 800"/>
                <a:gd name="T33" fmla="*/ 34 h 827"/>
                <a:gd name="T34" fmla="*/ 33 w 800"/>
                <a:gd name="T35" fmla="*/ 30 h 827"/>
                <a:gd name="T36" fmla="*/ 33 w 800"/>
                <a:gd name="T37" fmla="*/ 55 h 827"/>
                <a:gd name="T38" fmla="*/ 45 w 800"/>
                <a:gd name="T39" fmla="*/ 57 h 827"/>
                <a:gd name="T40" fmla="*/ 44 w 800"/>
                <a:gd name="T41" fmla="*/ 112 h 827"/>
                <a:gd name="T42" fmla="*/ 7 w 800"/>
                <a:gd name="T43" fmla="*/ 147 h 827"/>
                <a:gd name="T44" fmla="*/ 0 w 800"/>
                <a:gd name="T45" fmla="*/ 156 h 827"/>
                <a:gd name="T46" fmla="*/ 0 w 800"/>
                <a:gd name="T47" fmla="*/ 177 h 827"/>
                <a:gd name="T48" fmla="*/ 21 w 800"/>
                <a:gd name="T49" fmla="*/ 174 h 827"/>
                <a:gd name="T50" fmla="*/ 43 w 800"/>
                <a:gd name="T51" fmla="*/ 182 h 827"/>
                <a:gd name="T52" fmla="*/ 49 w 800"/>
                <a:gd name="T53" fmla="*/ 201 h 827"/>
                <a:gd name="T54" fmla="*/ 67 w 800"/>
                <a:gd name="T55" fmla="*/ 204 h 827"/>
                <a:gd name="T56" fmla="*/ 66 w 800"/>
                <a:gd name="T57" fmla="*/ 217 h 827"/>
                <a:gd name="T58" fmla="*/ 60 w 800"/>
                <a:gd name="T59" fmla="*/ 236 h 827"/>
                <a:gd name="T60" fmla="*/ 72 w 800"/>
                <a:gd name="T61" fmla="*/ 240 h 827"/>
                <a:gd name="T62" fmla="*/ 86 w 800"/>
                <a:gd name="T63" fmla="*/ 248 h 827"/>
                <a:gd name="T64" fmla="*/ 113 w 800"/>
                <a:gd name="T65" fmla="*/ 261 h 827"/>
                <a:gd name="T66" fmla="*/ 136 w 800"/>
                <a:gd name="T67" fmla="*/ 255 h 827"/>
                <a:gd name="T68" fmla="*/ 140 w 800"/>
                <a:gd name="T69" fmla="*/ 268 h 827"/>
                <a:gd name="T70" fmla="*/ 154 w 800"/>
                <a:gd name="T71" fmla="*/ 270 h 827"/>
                <a:gd name="T72" fmla="*/ 162 w 800"/>
                <a:gd name="T73" fmla="*/ 269 h 827"/>
                <a:gd name="T74" fmla="*/ 155 w 800"/>
                <a:gd name="T75" fmla="*/ 236 h 827"/>
                <a:gd name="T76" fmla="*/ 177 w 800"/>
                <a:gd name="T77" fmla="*/ 229 h 827"/>
                <a:gd name="T78" fmla="*/ 188 w 800"/>
                <a:gd name="T79" fmla="*/ 221 h 827"/>
                <a:gd name="T80" fmla="*/ 220 w 800"/>
                <a:gd name="T81" fmla="*/ 221 h 827"/>
                <a:gd name="T82" fmla="*/ 234 w 800"/>
                <a:gd name="T83" fmla="*/ 219 h 827"/>
                <a:gd name="T84" fmla="*/ 245 w 800"/>
                <a:gd name="T85" fmla="*/ 226 h 827"/>
                <a:gd name="T86" fmla="*/ 257 w 800"/>
                <a:gd name="T87" fmla="*/ 217 h 827"/>
                <a:gd name="T88" fmla="*/ 271 w 800"/>
                <a:gd name="T89" fmla="*/ 217 h 827"/>
                <a:gd name="T90" fmla="*/ 290 w 800"/>
                <a:gd name="T91" fmla="*/ 201 h 827"/>
                <a:gd name="T92" fmla="*/ 308 w 800"/>
                <a:gd name="T93" fmla="*/ 204 h 827"/>
                <a:gd name="T94" fmla="*/ 320 w 800"/>
                <a:gd name="T95" fmla="*/ 193 h 827"/>
                <a:gd name="T96" fmla="*/ 329 w 800"/>
                <a:gd name="T97" fmla="*/ 180 h 827"/>
                <a:gd name="T98" fmla="*/ 293 w 800"/>
                <a:gd name="T99" fmla="*/ 171 h 827"/>
                <a:gd name="T100" fmla="*/ 278 w 800"/>
                <a:gd name="T101" fmla="*/ 164 h 827"/>
                <a:gd name="T102" fmla="*/ 264 w 800"/>
                <a:gd name="T103" fmla="*/ 156 h 827"/>
                <a:gd name="T104" fmla="*/ 268 w 800"/>
                <a:gd name="T105" fmla="*/ 133 h 827"/>
                <a:gd name="T106" fmla="*/ 265 w 800"/>
                <a:gd name="T107" fmla="*/ 92 h 827"/>
                <a:gd name="T108" fmla="*/ 238 w 800"/>
                <a:gd name="T109" fmla="*/ 92 h 827"/>
                <a:gd name="T110" fmla="*/ 232 w 800"/>
                <a:gd name="T111" fmla="*/ 79 h 827"/>
                <a:gd name="T112" fmla="*/ 239 w 800"/>
                <a:gd name="T113" fmla="*/ 64 h 827"/>
                <a:gd name="T114" fmla="*/ 255 w 800"/>
                <a:gd name="T115" fmla="*/ 63 h 827"/>
                <a:gd name="T116" fmla="*/ 284 w 800"/>
                <a:gd name="T117" fmla="*/ 63 h 8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00" h="827">
                  <a:moveTo>
                    <a:pt x="704" y="153"/>
                  </a:moveTo>
                  <a:lnTo>
                    <a:pt x="698" y="129"/>
                  </a:lnTo>
                  <a:lnTo>
                    <a:pt x="677" y="123"/>
                  </a:lnTo>
                  <a:lnTo>
                    <a:pt x="644" y="141"/>
                  </a:lnTo>
                  <a:lnTo>
                    <a:pt x="620" y="132"/>
                  </a:lnTo>
                  <a:lnTo>
                    <a:pt x="620" y="102"/>
                  </a:lnTo>
                  <a:lnTo>
                    <a:pt x="608" y="87"/>
                  </a:lnTo>
                  <a:lnTo>
                    <a:pt x="608" y="72"/>
                  </a:lnTo>
                  <a:lnTo>
                    <a:pt x="575" y="66"/>
                  </a:lnTo>
                  <a:lnTo>
                    <a:pt x="566" y="75"/>
                  </a:lnTo>
                  <a:lnTo>
                    <a:pt x="572" y="96"/>
                  </a:lnTo>
                  <a:lnTo>
                    <a:pt x="545" y="108"/>
                  </a:lnTo>
                  <a:lnTo>
                    <a:pt x="539" y="123"/>
                  </a:lnTo>
                  <a:lnTo>
                    <a:pt x="545" y="144"/>
                  </a:lnTo>
                  <a:lnTo>
                    <a:pt x="488" y="210"/>
                  </a:lnTo>
                  <a:lnTo>
                    <a:pt x="497" y="288"/>
                  </a:lnTo>
                  <a:lnTo>
                    <a:pt x="470" y="312"/>
                  </a:lnTo>
                  <a:lnTo>
                    <a:pt x="458" y="297"/>
                  </a:lnTo>
                  <a:lnTo>
                    <a:pt x="404" y="330"/>
                  </a:lnTo>
                  <a:lnTo>
                    <a:pt x="383" y="318"/>
                  </a:lnTo>
                  <a:lnTo>
                    <a:pt x="302" y="165"/>
                  </a:lnTo>
                  <a:lnTo>
                    <a:pt x="272" y="141"/>
                  </a:lnTo>
                  <a:lnTo>
                    <a:pt x="245" y="135"/>
                  </a:lnTo>
                  <a:lnTo>
                    <a:pt x="233" y="114"/>
                  </a:lnTo>
                  <a:lnTo>
                    <a:pt x="248" y="93"/>
                  </a:lnTo>
                  <a:lnTo>
                    <a:pt x="227" y="75"/>
                  </a:lnTo>
                  <a:lnTo>
                    <a:pt x="197" y="96"/>
                  </a:lnTo>
                  <a:lnTo>
                    <a:pt x="170" y="102"/>
                  </a:lnTo>
                  <a:lnTo>
                    <a:pt x="152" y="18"/>
                  </a:lnTo>
                  <a:lnTo>
                    <a:pt x="149" y="0"/>
                  </a:lnTo>
                  <a:lnTo>
                    <a:pt x="119" y="33"/>
                  </a:lnTo>
                  <a:lnTo>
                    <a:pt x="110" y="39"/>
                  </a:lnTo>
                  <a:lnTo>
                    <a:pt x="113" y="93"/>
                  </a:lnTo>
                  <a:lnTo>
                    <a:pt x="104" y="105"/>
                  </a:lnTo>
                  <a:lnTo>
                    <a:pt x="92" y="105"/>
                  </a:lnTo>
                  <a:lnTo>
                    <a:pt x="80" y="93"/>
                  </a:lnTo>
                  <a:lnTo>
                    <a:pt x="66" y="108"/>
                  </a:lnTo>
                  <a:lnTo>
                    <a:pt x="80" y="168"/>
                  </a:lnTo>
                  <a:lnTo>
                    <a:pt x="95" y="168"/>
                  </a:lnTo>
                  <a:lnTo>
                    <a:pt x="110" y="177"/>
                  </a:lnTo>
                  <a:lnTo>
                    <a:pt x="113" y="213"/>
                  </a:lnTo>
                  <a:lnTo>
                    <a:pt x="107" y="339"/>
                  </a:lnTo>
                  <a:lnTo>
                    <a:pt x="21" y="414"/>
                  </a:lnTo>
                  <a:lnTo>
                    <a:pt x="18" y="444"/>
                  </a:lnTo>
                  <a:lnTo>
                    <a:pt x="0" y="459"/>
                  </a:lnTo>
                  <a:lnTo>
                    <a:pt x="0" y="474"/>
                  </a:lnTo>
                  <a:lnTo>
                    <a:pt x="12" y="510"/>
                  </a:lnTo>
                  <a:lnTo>
                    <a:pt x="0" y="537"/>
                  </a:lnTo>
                  <a:lnTo>
                    <a:pt x="9" y="543"/>
                  </a:lnTo>
                  <a:lnTo>
                    <a:pt x="51" y="531"/>
                  </a:lnTo>
                  <a:lnTo>
                    <a:pt x="113" y="528"/>
                  </a:lnTo>
                  <a:lnTo>
                    <a:pt x="104" y="552"/>
                  </a:lnTo>
                  <a:lnTo>
                    <a:pt x="116" y="573"/>
                  </a:lnTo>
                  <a:lnTo>
                    <a:pt x="119" y="609"/>
                  </a:lnTo>
                  <a:lnTo>
                    <a:pt x="128" y="621"/>
                  </a:lnTo>
                  <a:lnTo>
                    <a:pt x="164" y="621"/>
                  </a:lnTo>
                  <a:lnTo>
                    <a:pt x="179" y="633"/>
                  </a:lnTo>
                  <a:lnTo>
                    <a:pt x="161" y="657"/>
                  </a:lnTo>
                  <a:lnTo>
                    <a:pt x="158" y="684"/>
                  </a:lnTo>
                  <a:lnTo>
                    <a:pt x="146" y="717"/>
                  </a:lnTo>
                  <a:lnTo>
                    <a:pt x="155" y="726"/>
                  </a:lnTo>
                  <a:lnTo>
                    <a:pt x="176" y="729"/>
                  </a:lnTo>
                  <a:lnTo>
                    <a:pt x="215" y="743"/>
                  </a:lnTo>
                  <a:lnTo>
                    <a:pt x="212" y="755"/>
                  </a:lnTo>
                  <a:lnTo>
                    <a:pt x="236" y="794"/>
                  </a:lnTo>
                  <a:lnTo>
                    <a:pt x="272" y="794"/>
                  </a:lnTo>
                  <a:lnTo>
                    <a:pt x="317" y="770"/>
                  </a:lnTo>
                  <a:lnTo>
                    <a:pt x="332" y="776"/>
                  </a:lnTo>
                  <a:lnTo>
                    <a:pt x="332" y="791"/>
                  </a:lnTo>
                  <a:lnTo>
                    <a:pt x="338" y="815"/>
                  </a:lnTo>
                  <a:lnTo>
                    <a:pt x="350" y="824"/>
                  </a:lnTo>
                  <a:lnTo>
                    <a:pt x="374" y="821"/>
                  </a:lnTo>
                  <a:lnTo>
                    <a:pt x="386" y="827"/>
                  </a:lnTo>
                  <a:lnTo>
                    <a:pt x="392" y="818"/>
                  </a:lnTo>
                  <a:lnTo>
                    <a:pt x="392" y="782"/>
                  </a:lnTo>
                  <a:lnTo>
                    <a:pt x="377" y="717"/>
                  </a:lnTo>
                  <a:lnTo>
                    <a:pt x="389" y="699"/>
                  </a:lnTo>
                  <a:lnTo>
                    <a:pt x="428" y="699"/>
                  </a:lnTo>
                  <a:lnTo>
                    <a:pt x="437" y="699"/>
                  </a:lnTo>
                  <a:lnTo>
                    <a:pt x="458" y="672"/>
                  </a:lnTo>
                  <a:lnTo>
                    <a:pt x="512" y="690"/>
                  </a:lnTo>
                  <a:lnTo>
                    <a:pt x="533" y="669"/>
                  </a:lnTo>
                  <a:lnTo>
                    <a:pt x="545" y="681"/>
                  </a:lnTo>
                  <a:lnTo>
                    <a:pt x="569" y="666"/>
                  </a:lnTo>
                  <a:lnTo>
                    <a:pt x="590" y="687"/>
                  </a:lnTo>
                  <a:lnTo>
                    <a:pt x="599" y="687"/>
                  </a:lnTo>
                  <a:lnTo>
                    <a:pt x="605" y="678"/>
                  </a:lnTo>
                  <a:lnTo>
                    <a:pt x="623" y="660"/>
                  </a:lnTo>
                  <a:lnTo>
                    <a:pt x="632" y="666"/>
                  </a:lnTo>
                  <a:lnTo>
                    <a:pt x="659" y="660"/>
                  </a:lnTo>
                  <a:lnTo>
                    <a:pt x="683" y="642"/>
                  </a:lnTo>
                  <a:lnTo>
                    <a:pt x="704" y="609"/>
                  </a:lnTo>
                  <a:lnTo>
                    <a:pt x="734" y="603"/>
                  </a:lnTo>
                  <a:lnTo>
                    <a:pt x="749" y="621"/>
                  </a:lnTo>
                  <a:lnTo>
                    <a:pt x="761" y="588"/>
                  </a:lnTo>
                  <a:lnTo>
                    <a:pt x="782" y="585"/>
                  </a:lnTo>
                  <a:lnTo>
                    <a:pt x="791" y="579"/>
                  </a:lnTo>
                  <a:lnTo>
                    <a:pt x="800" y="549"/>
                  </a:lnTo>
                  <a:lnTo>
                    <a:pt x="788" y="534"/>
                  </a:lnTo>
                  <a:lnTo>
                    <a:pt x="713" y="519"/>
                  </a:lnTo>
                  <a:lnTo>
                    <a:pt x="698" y="498"/>
                  </a:lnTo>
                  <a:lnTo>
                    <a:pt x="677" y="498"/>
                  </a:lnTo>
                  <a:lnTo>
                    <a:pt x="656" y="498"/>
                  </a:lnTo>
                  <a:lnTo>
                    <a:pt x="641" y="471"/>
                  </a:lnTo>
                  <a:lnTo>
                    <a:pt x="641" y="459"/>
                  </a:lnTo>
                  <a:lnTo>
                    <a:pt x="650" y="405"/>
                  </a:lnTo>
                  <a:lnTo>
                    <a:pt x="620" y="375"/>
                  </a:lnTo>
                  <a:lnTo>
                    <a:pt x="644" y="279"/>
                  </a:lnTo>
                  <a:lnTo>
                    <a:pt x="629" y="267"/>
                  </a:lnTo>
                  <a:lnTo>
                    <a:pt x="578" y="282"/>
                  </a:lnTo>
                  <a:lnTo>
                    <a:pt x="566" y="261"/>
                  </a:lnTo>
                  <a:lnTo>
                    <a:pt x="566" y="237"/>
                  </a:lnTo>
                  <a:lnTo>
                    <a:pt x="554" y="228"/>
                  </a:lnTo>
                  <a:lnTo>
                    <a:pt x="581" y="192"/>
                  </a:lnTo>
                  <a:lnTo>
                    <a:pt x="608" y="201"/>
                  </a:lnTo>
                  <a:lnTo>
                    <a:pt x="620" y="189"/>
                  </a:lnTo>
                  <a:lnTo>
                    <a:pt x="668" y="198"/>
                  </a:lnTo>
                  <a:lnTo>
                    <a:pt x="692" y="189"/>
                  </a:lnTo>
                  <a:lnTo>
                    <a:pt x="704" y="153"/>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 name="Freeform 9"/>
            <p:cNvSpPr>
              <a:spLocks/>
            </p:cNvSpPr>
            <p:nvPr/>
          </p:nvSpPr>
          <p:spPr bwMode="auto">
            <a:xfrm>
              <a:off x="5234236" y="4694262"/>
              <a:ext cx="536575" cy="660400"/>
            </a:xfrm>
            <a:custGeom>
              <a:avLst/>
              <a:gdLst>
                <a:gd name="T0" fmla="*/ 0 w 381"/>
                <a:gd name="T1" fmla="*/ 119 h 476"/>
                <a:gd name="T2" fmla="*/ 5 w 381"/>
                <a:gd name="T3" fmla="*/ 94 h 476"/>
                <a:gd name="T4" fmla="*/ 12 w 381"/>
                <a:gd name="T5" fmla="*/ 86 h 476"/>
                <a:gd name="T6" fmla="*/ 14 w 381"/>
                <a:gd name="T7" fmla="*/ 80 h 476"/>
                <a:gd name="T8" fmla="*/ 20 w 381"/>
                <a:gd name="T9" fmla="*/ 68 h 476"/>
                <a:gd name="T10" fmla="*/ 17 w 381"/>
                <a:gd name="T11" fmla="*/ 64 h 476"/>
                <a:gd name="T12" fmla="*/ 17 w 381"/>
                <a:gd name="T13" fmla="*/ 55 h 476"/>
                <a:gd name="T14" fmla="*/ 34 w 381"/>
                <a:gd name="T15" fmla="*/ 39 h 476"/>
                <a:gd name="T16" fmla="*/ 32 w 381"/>
                <a:gd name="T17" fmla="*/ 30 h 476"/>
                <a:gd name="T18" fmla="*/ 44 w 381"/>
                <a:gd name="T19" fmla="*/ 15 h 476"/>
                <a:gd name="T20" fmla="*/ 54 w 381"/>
                <a:gd name="T21" fmla="*/ 17 h 476"/>
                <a:gd name="T22" fmla="*/ 74 w 381"/>
                <a:gd name="T23" fmla="*/ 5 h 476"/>
                <a:gd name="T24" fmla="*/ 79 w 381"/>
                <a:gd name="T25" fmla="*/ 0 h 476"/>
                <a:gd name="T26" fmla="*/ 92 w 381"/>
                <a:gd name="T27" fmla="*/ 4 h 476"/>
                <a:gd name="T28" fmla="*/ 96 w 381"/>
                <a:gd name="T29" fmla="*/ 14 h 476"/>
                <a:gd name="T30" fmla="*/ 103 w 381"/>
                <a:gd name="T31" fmla="*/ 24 h 476"/>
                <a:gd name="T32" fmla="*/ 115 w 381"/>
                <a:gd name="T33" fmla="*/ 24 h 476"/>
                <a:gd name="T34" fmla="*/ 125 w 381"/>
                <a:gd name="T35" fmla="*/ 15 h 476"/>
                <a:gd name="T36" fmla="*/ 137 w 381"/>
                <a:gd name="T37" fmla="*/ 25 h 476"/>
                <a:gd name="T38" fmla="*/ 158 w 381"/>
                <a:gd name="T39" fmla="*/ 19 h 476"/>
                <a:gd name="T40" fmla="*/ 145 w 381"/>
                <a:gd name="T41" fmla="*/ 44 h 476"/>
                <a:gd name="T42" fmla="*/ 137 w 381"/>
                <a:gd name="T43" fmla="*/ 41 h 476"/>
                <a:gd name="T44" fmla="*/ 132 w 381"/>
                <a:gd name="T45" fmla="*/ 44 h 476"/>
                <a:gd name="T46" fmla="*/ 132 w 381"/>
                <a:gd name="T47" fmla="*/ 46 h 476"/>
                <a:gd name="T48" fmla="*/ 138 w 381"/>
                <a:gd name="T49" fmla="*/ 52 h 476"/>
                <a:gd name="T50" fmla="*/ 136 w 381"/>
                <a:gd name="T51" fmla="*/ 76 h 476"/>
                <a:gd name="T52" fmla="*/ 138 w 381"/>
                <a:gd name="T53" fmla="*/ 84 h 476"/>
                <a:gd name="T54" fmla="*/ 136 w 381"/>
                <a:gd name="T55" fmla="*/ 86 h 476"/>
                <a:gd name="T56" fmla="*/ 126 w 381"/>
                <a:gd name="T57" fmla="*/ 85 h 476"/>
                <a:gd name="T58" fmla="*/ 122 w 381"/>
                <a:gd name="T59" fmla="*/ 89 h 476"/>
                <a:gd name="T60" fmla="*/ 126 w 381"/>
                <a:gd name="T61" fmla="*/ 95 h 476"/>
                <a:gd name="T62" fmla="*/ 115 w 381"/>
                <a:gd name="T63" fmla="*/ 103 h 476"/>
                <a:gd name="T64" fmla="*/ 116 w 381"/>
                <a:gd name="T65" fmla="*/ 107 h 476"/>
                <a:gd name="T66" fmla="*/ 106 w 381"/>
                <a:gd name="T67" fmla="*/ 111 h 476"/>
                <a:gd name="T68" fmla="*/ 109 w 381"/>
                <a:gd name="T69" fmla="*/ 116 h 476"/>
                <a:gd name="T70" fmla="*/ 105 w 381"/>
                <a:gd name="T71" fmla="*/ 119 h 476"/>
                <a:gd name="T72" fmla="*/ 92 w 381"/>
                <a:gd name="T73" fmla="*/ 119 h 476"/>
                <a:gd name="T74" fmla="*/ 84 w 381"/>
                <a:gd name="T75" fmla="*/ 125 h 476"/>
                <a:gd name="T76" fmla="*/ 82 w 381"/>
                <a:gd name="T77" fmla="*/ 127 h 476"/>
                <a:gd name="T78" fmla="*/ 88 w 381"/>
                <a:gd name="T79" fmla="*/ 132 h 476"/>
                <a:gd name="T80" fmla="*/ 81 w 381"/>
                <a:gd name="T81" fmla="*/ 140 h 476"/>
                <a:gd name="T82" fmla="*/ 71 w 381"/>
                <a:gd name="T83" fmla="*/ 149 h 476"/>
                <a:gd name="T84" fmla="*/ 68 w 381"/>
                <a:gd name="T85" fmla="*/ 149 h 476"/>
                <a:gd name="T86" fmla="*/ 57 w 381"/>
                <a:gd name="T87" fmla="*/ 157 h 476"/>
                <a:gd name="T88" fmla="*/ 46 w 381"/>
                <a:gd name="T89" fmla="*/ 138 h 476"/>
                <a:gd name="T90" fmla="*/ 36 w 381"/>
                <a:gd name="T91" fmla="*/ 127 h 476"/>
                <a:gd name="T92" fmla="*/ 29 w 381"/>
                <a:gd name="T93" fmla="*/ 127 h 476"/>
                <a:gd name="T94" fmla="*/ 25 w 381"/>
                <a:gd name="T95" fmla="*/ 125 h 476"/>
                <a:gd name="T96" fmla="*/ 0 w 381"/>
                <a:gd name="T97" fmla="*/ 119 h 4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81" h="476">
                  <a:moveTo>
                    <a:pt x="0" y="365"/>
                  </a:moveTo>
                  <a:lnTo>
                    <a:pt x="12" y="284"/>
                  </a:lnTo>
                  <a:lnTo>
                    <a:pt x="27" y="263"/>
                  </a:lnTo>
                  <a:lnTo>
                    <a:pt x="33" y="239"/>
                  </a:lnTo>
                  <a:lnTo>
                    <a:pt x="48" y="206"/>
                  </a:lnTo>
                  <a:lnTo>
                    <a:pt x="42" y="191"/>
                  </a:lnTo>
                  <a:lnTo>
                    <a:pt x="42" y="164"/>
                  </a:lnTo>
                  <a:lnTo>
                    <a:pt x="81" y="119"/>
                  </a:lnTo>
                  <a:lnTo>
                    <a:pt x="78" y="89"/>
                  </a:lnTo>
                  <a:lnTo>
                    <a:pt x="105" y="47"/>
                  </a:lnTo>
                  <a:lnTo>
                    <a:pt x="129" y="53"/>
                  </a:lnTo>
                  <a:lnTo>
                    <a:pt x="180" y="17"/>
                  </a:lnTo>
                  <a:lnTo>
                    <a:pt x="189" y="0"/>
                  </a:lnTo>
                  <a:lnTo>
                    <a:pt x="219" y="5"/>
                  </a:lnTo>
                  <a:lnTo>
                    <a:pt x="234" y="44"/>
                  </a:lnTo>
                  <a:lnTo>
                    <a:pt x="246" y="71"/>
                  </a:lnTo>
                  <a:lnTo>
                    <a:pt x="279" y="71"/>
                  </a:lnTo>
                  <a:lnTo>
                    <a:pt x="300" y="47"/>
                  </a:lnTo>
                  <a:lnTo>
                    <a:pt x="330" y="77"/>
                  </a:lnTo>
                  <a:lnTo>
                    <a:pt x="381" y="59"/>
                  </a:lnTo>
                  <a:lnTo>
                    <a:pt x="348" y="134"/>
                  </a:lnTo>
                  <a:lnTo>
                    <a:pt x="330" y="125"/>
                  </a:lnTo>
                  <a:lnTo>
                    <a:pt x="315" y="134"/>
                  </a:lnTo>
                  <a:lnTo>
                    <a:pt x="315" y="140"/>
                  </a:lnTo>
                  <a:lnTo>
                    <a:pt x="333" y="161"/>
                  </a:lnTo>
                  <a:lnTo>
                    <a:pt x="327" y="230"/>
                  </a:lnTo>
                  <a:lnTo>
                    <a:pt x="333" y="254"/>
                  </a:lnTo>
                  <a:lnTo>
                    <a:pt x="327" y="260"/>
                  </a:lnTo>
                  <a:lnTo>
                    <a:pt x="306" y="257"/>
                  </a:lnTo>
                  <a:lnTo>
                    <a:pt x="294" y="269"/>
                  </a:lnTo>
                  <a:lnTo>
                    <a:pt x="303" y="287"/>
                  </a:lnTo>
                  <a:lnTo>
                    <a:pt x="276" y="314"/>
                  </a:lnTo>
                  <a:lnTo>
                    <a:pt x="282" y="323"/>
                  </a:lnTo>
                  <a:lnTo>
                    <a:pt x="258" y="335"/>
                  </a:lnTo>
                  <a:lnTo>
                    <a:pt x="261" y="353"/>
                  </a:lnTo>
                  <a:lnTo>
                    <a:pt x="252" y="362"/>
                  </a:lnTo>
                  <a:lnTo>
                    <a:pt x="219" y="362"/>
                  </a:lnTo>
                  <a:lnTo>
                    <a:pt x="201" y="380"/>
                  </a:lnTo>
                  <a:lnTo>
                    <a:pt x="198" y="386"/>
                  </a:lnTo>
                  <a:lnTo>
                    <a:pt x="213" y="398"/>
                  </a:lnTo>
                  <a:lnTo>
                    <a:pt x="195" y="425"/>
                  </a:lnTo>
                  <a:lnTo>
                    <a:pt x="171" y="455"/>
                  </a:lnTo>
                  <a:lnTo>
                    <a:pt x="162" y="452"/>
                  </a:lnTo>
                  <a:lnTo>
                    <a:pt x="138" y="476"/>
                  </a:lnTo>
                  <a:lnTo>
                    <a:pt x="111" y="416"/>
                  </a:lnTo>
                  <a:lnTo>
                    <a:pt x="87" y="386"/>
                  </a:lnTo>
                  <a:lnTo>
                    <a:pt x="69" y="386"/>
                  </a:lnTo>
                  <a:lnTo>
                    <a:pt x="60" y="380"/>
                  </a:lnTo>
                  <a:lnTo>
                    <a:pt x="0" y="365"/>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 name="Freeform 10"/>
            <p:cNvSpPr>
              <a:spLocks/>
            </p:cNvSpPr>
            <p:nvPr/>
          </p:nvSpPr>
          <p:spPr bwMode="auto">
            <a:xfrm>
              <a:off x="4911974" y="4481537"/>
              <a:ext cx="587375" cy="803275"/>
            </a:xfrm>
            <a:custGeom>
              <a:avLst/>
              <a:gdLst>
                <a:gd name="T0" fmla="*/ 5 w 419"/>
                <a:gd name="T1" fmla="*/ 41 h 578"/>
                <a:gd name="T2" fmla="*/ 15 w 419"/>
                <a:gd name="T3" fmla="*/ 57 h 578"/>
                <a:gd name="T4" fmla="*/ 16 w 419"/>
                <a:gd name="T5" fmla="*/ 67 h 578"/>
                <a:gd name="T6" fmla="*/ 10 w 419"/>
                <a:gd name="T7" fmla="*/ 76 h 578"/>
                <a:gd name="T8" fmla="*/ 5 w 419"/>
                <a:gd name="T9" fmla="*/ 81 h 578"/>
                <a:gd name="T10" fmla="*/ 0 w 419"/>
                <a:gd name="T11" fmla="*/ 97 h 578"/>
                <a:gd name="T12" fmla="*/ 5 w 419"/>
                <a:gd name="T13" fmla="*/ 100 h 578"/>
                <a:gd name="T14" fmla="*/ 7 w 419"/>
                <a:gd name="T15" fmla="*/ 98 h 578"/>
                <a:gd name="T16" fmla="*/ 10 w 419"/>
                <a:gd name="T17" fmla="*/ 100 h 578"/>
                <a:gd name="T18" fmla="*/ 10 w 419"/>
                <a:gd name="T19" fmla="*/ 110 h 578"/>
                <a:gd name="T20" fmla="*/ 16 w 419"/>
                <a:gd name="T21" fmla="*/ 123 h 578"/>
                <a:gd name="T22" fmla="*/ 24 w 419"/>
                <a:gd name="T23" fmla="*/ 125 h 578"/>
                <a:gd name="T24" fmla="*/ 24 w 419"/>
                <a:gd name="T25" fmla="*/ 142 h 578"/>
                <a:gd name="T26" fmla="*/ 20 w 419"/>
                <a:gd name="T27" fmla="*/ 155 h 578"/>
                <a:gd name="T28" fmla="*/ 24 w 419"/>
                <a:gd name="T29" fmla="*/ 159 h 578"/>
                <a:gd name="T30" fmla="*/ 31 w 419"/>
                <a:gd name="T31" fmla="*/ 165 h 578"/>
                <a:gd name="T32" fmla="*/ 48 w 419"/>
                <a:gd name="T33" fmla="*/ 162 h 578"/>
                <a:gd name="T34" fmla="*/ 53 w 419"/>
                <a:gd name="T35" fmla="*/ 166 h 578"/>
                <a:gd name="T36" fmla="*/ 46 w 419"/>
                <a:gd name="T37" fmla="*/ 173 h 578"/>
                <a:gd name="T38" fmla="*/ 37 w 419"/>
                <a:gd name="T39" fmla="*/ 184 h 578"/>
                <a:gd name="T40" fmla="*/ 37 w 419"/>
                <a:gd name="T41" fmla="*/ 186 h 578"/>
                <a:gd name="T42" fmla="*/ 43 w 419"/>
                <a:gd name="T43" fmla="*/ 189 h 578"/>
                <a:gd name="T44" fmla="*/ 78 w 419"/>
                <a:gd name="T45" fmla="*/ 178 h 578"/>
                <a:gd name="T46" fmla="*/ 92 w 419"/>
                <a:gd name="T47" fmla="*/ 184 h 578"/>
                <a:gd name="T48" fmla="*/ 96 w 419"/>
                <a:gd name="T49" fmla="*/ 180 h 578"/>
                <a:gd name="T50" fmla="*/ 92 w 419"/>
                <a:gd name="T51" fmla="*/ 175 h 578"/>
                <a:gd name="T52" fmla="*/ 93 w 419"/>
                <a:gd name="T53" fmla="*/ 170 h 578"/>
                <a:gd name="T54" fmla="*/ 99 w 419"/>
                <a:gd name="T55" fmla="*/ 143 h 578"/>
                <a:gd name="T56" fmla="*/ 105 w 419"/>
                <a:gd name="T57" fmla="*/ 137 h 578"/>
                <a:gd name="T58" fmla="*/ 107 w 419"/>
                <a:gd name="T59" fmla="*/ 129 h 578"/>
                <a:gd name="T60" fmla="*/ 112 w 419"/>
                <a:gd name="T61" fmla="*/ 118 h 578"/>
                <a:gd name="T62" fmla="*/ 112 w 419"/>
                <a:gd name="T63" fmla="*/ 112 h 578"/>
                <a:gd name="T64" fmla="*/ 112 w 419"/>
                <a:gd name="T65" fmla="*/ 105 h 578"/>
                <a:gd name="T66" fmla="*/ 127 w 419"/>
                <a:gd name="T67" fmla="*/ 89 h 578"/>
                <a:gd name="T68" fmla="*/ 126 w 419"/>
                <a:gd name="T69" fmla="*/ 80 h 578"/>
                <a:gd name="T70" fmla="*/ 137 w 419"/>
                <a:gd name="T71" fmla="*/ 64 h 578"/>
                <a:gd name="T72" fmla="*/ 146 w 419"/>
                <a:gd name="T73" fmla="*/ 68 h 578"/>
                <a:gd name="T74" fmla="*/ 166 w 419"/>
                <a:gd name="T75" fmla="*/ 56 h 578"/>
                <a:gd name="T76" fmla="*/ 171 w 419"/>
                <a:gd name="T77" fmla="*/ 51 h 578"/>
                <a:gd name="T78" fmla="*/ 158 w 419"/>
                <a:gd name="T79" fmla="*/ 30 h 578"/>
                <a:gd name="T80" fmla="*/ 149 w 419"/>
                <a:gd name="T81" fmla="*/ 21 h 578"/>
                <a:gd name="T82" fmla="*/ 154 w 419"/>
                <a:gd name="T83" fmla="*/ 17 h 578"/>
                <a:gd name="T84" fmla="*/ 147 w 419"/>
                <a:gd name="T85" fmla="*/ 11 h 578"/>
                <a:gd name="T86" fmla="*/ 127 w 419"/>
                <a:gd name="T87" fmla="*/ 11 h 578"/>
                <a:gd name="T88" fmla="*/ 120 w 419"/>
                <a:gd name="T89" fmla="*/ 4 h 578"/>
                <a:gd name="T90" fmla="*/ 102 w 419"/>
                <a:gd name="T91" fmla="*/ 15 h 578"/>
                <a:gd name="T92" fmla="*/ 97 w 419"/>
                <a:gd name="T93" fmla="*/ 13 h 578"/>
                <a:gd name="T94" fmla="*/ 105 w 419"/>
                <a:gd name="T95" fmla="*/ 4 h 578"/>
                <a:gd name="T96" fmla="*/ 102 w 419"/>
                <a:gd name="T97" fmla="*/ 3 h 578"/>
                <a:gd name="T98" fmla="*/ 97 w 419"/>
                <a:gd name="T99" fmla="*/ 0 h 578"/>
                <a:gd name="T100" fmla="*/ 78 w 419"/>
                <a:gd name="T101" fmla="*/ 8 h 578"/>
                <a:gd name="T102" fmla="*/ 64 w 419"/>
                <a:gd name="T103" fmla="*/ 12 h 578"/>
                <a:gd name="T104" fmla="*/ 54 w 419"/>
                <a:gd name="T105" fmla="*/ 11 h 578"/>
                <a:gd name="T106" fmla="*/ 27 w 419"/>
                <a:gd name="T107" fmla="*/ 30 h 578"/>
                <a:gd name="T108" fmla="*/ 14 w 419"/>
                <a:gd name="T109" fmla="*/ 33 h 578"/>
                <a:gd name="T110" fmla="*/ 5 w 419"/>
                <a:gd name="T111" fmla="*/ 41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19" h="578">
                  <a:moveTo>
                    <a:pt x="9" y="126"/>
                  </a:moveTo>
                  <a:lnTo>
                    <a:pt x="36" y="176"/>
                  </a:lnTo>
                  <a:lnTo>
                    <a:pt x="39" y="203"/>
                  </a:lnTo>
                  <a:lnTo>
                    <a:pt x="24" y="233"/>
                  </a:lnTo>
                  <a:lnTo>
                    <a:pt x="6" y="248"/>
                  </a:lnTo>
                  <a:lnTo>
                    <a:pt x="0" y="296"/>
                  </a:lnTo>
                  <a:lnTo>
                    <a:pt x="6" y="305"/>
                  </a:lnTo>
                  <a:lnTo>
                    <a:pt x="18" y="299"/>
                  </a:lnTo>
                  <a:lnTo>
                    <a:pt x="24" y="305"/>
                  </a:lnTo>
                  <a:lnTo>
                    <a:pt x="24" y="335"/>
                  </a:lnTo>
                  <a:lnTo>
                    <a:pt x="39" y="374"/>
                  </a:lnTo>
                  <a:lnTo>
                    <a:pt x="57" y="380"/>
                  </a:lnTo>
                  <a:lnTo>
                    <a:pt x="57" y="434"/>
                  </a:lnTo>
                  <a:lnTo>
                    <a:pt x="48" y="470"/>
                  </a:lnTo>
                  <a:lnTo>
                    <a:pt x="57" y="485"/>
                  </a:lnTo>
                  <a:lnTo>
                    <a:pt x="75" y="503"/>
                  </a:lnTo>
                  <a:lnTo>
                    <a:pt x="119" y="494"/>
                  </a:lnTo>
                  <a:lnTo>
                    <a:pt x="128" y="509"/>
                  </a:lnTo>
                  <a:lnTo>
                    <a:pt x="113" y="527"/>
                  </a:lnTo>
                  <a:lnTo>
                    <a:pt x="93" y="560"/>
                  </a:lnTo>
                  <a:lnTo>
                    <a:pt x="93" y="569"/>
                  </a:lnTo>
                  <a:lnTo>
                    <a:pt x="105" y="578"/>
                  </a:lnTo>
                  <a:lnTo>
                    <a:pt x="194" y="542"/>
                  </a:lnTo>
                  <a:lnTo>
                    <a:pt x="227" y="560"/>
                  </a:lnTo>
                  <a:lnTo>
                    <a:pt x="236" y="551"/>
                  </a:lnTo>
                  <a:lnTo>
                    <a:pt x="227" y="533"/>
                  </a:lnTo>
                  <a:lnTo>
                    <a:pt x="230" y="518"/>
                  </a:lnTo>
                  <a:lnTo>
                    <a:pt x="242" y="437"/>
                  </a:lnTo>
                  <a:lnTo>
                    <a:pt x="257" y="416"/>
                  </a:lnTo>
                  <a:lnTo>
                    <a:pt x="263" y="392"/>
                  </a:lnTo>
                  <a:lnTo>
                    <a:pt x="278" y="359"/>
                  </a:lnTo>
                  <a:lnTo>
                    <a:pt x="272" y="344"/>
                  </a:lnTo>
                  <a:lnTo>
                    <a:pt x="272" y="317"/>
                  </a:lnTo>
                  <a:lnTo>
                    <a:pt x="311" y="272"/>
                  </a:lnTo>
                  <a:lnTo>
                    <a:pt x="308" y="242"/>
                  </a:lnTo>
                  <a:lnTo>
                    <a:pt x="335" y="200"/>
                  </a:lnTo>
                  <a:lnTo>
                    <a:pt x="359" y="206"/>
                  </a:lnTo>
                  <a:lnTo>
                    <a:pt x="410" y="170"/>
                  </a:lnTo>
                  <a:lnTo>
                    <a:pt x="419" y="153"/>
                  </a:lnTo>
                  <a:lnTo>
                    <a:pt x="386" y="93"/>
                  </a:lnTo>
                  <a:lnTo>
                    <a:pt x="365" y="63"/>
                  </a:lnTo>
                  <a:lnTo>
                    <a:pt x="380" y="51"/>
                  </a:lnTo>
                  <a:lnTo>
                    <a:pt x="362" y="33"/>
                  </a:lnTo>
                  <a:lnTo>
                    <a:pt x="314" y="33"/>
                  </a:lnTo>
                  <a:lnTo>
                    <a:pt x="293" y="9"/>
                  </a:lnTo>
                  <a:lnTo>
                    <a:pt x="254" y="48"/>
                  </a:lnTo>
                  <a:lnTo>
                    <a:pt x="239" y="42"/>
                  </a:lnTo>
                  <a:lnTo>
                    <a:pt x="257" y="12"/>
                  </a:lnTo>
                  <a:lnTo>
                    <a:pt x="254" y="3"/>
                  </a:lnTo>
                  <a:lnTo>
                    <a:pt x="239" y="0"/>
                  </a:lnTo>
                  <a:lnTo>
                    <a:pt x="194" y="24"/>
                  </a:lnTo>
                  <a:lnTo>
                    <a:pt x="158" y="36"/>
                  </a:lnTo>
                  <a:lnTo>
                    <a:pt x="131" y="33"/>
                  </a:lnTo>
                  <a:lnTo>
                    <a:pt x="66" y="90"/>
                  </a:lnTo>
                  <a:lnTo>
                    <a:pt x="33" y="102"/>
                  </a:lnTo>
                  <a:lnTo>
                    <a:pt x="9" y="126"/>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 name="Freeform 11"/>
            <p:cNvSpPr>
              <a:spLocks/>
            </p:cNvSpPr>
            <p:nvPr/>
          </p:nvSpPr>
          <p:spPr bwMode="auto">
            <a:xfrm>
              <a:off x="4315074" y="4557737"/>
              <a:ext cx="677862" cy="747713"/>
            </a:xfrm>
            <a:custGeom>
              <a:avLst/>
              <a:gdLst>
                <a:gd name="T0" fmla="*/ 170 w 483"/>
                <a:gd name="T1" fmla="*/ 21 h 539"/>
                <a:gd name="T2" fmla="*/ 167 w 483"/>
                <a:gd name="T3" fmla="*/ 7 h 539"/>
                <a:gd name="T4" fmla="*/ 153 w 483"/>
                <a:gd name="T5" fmla="*/ 9 h 539"/>
                <a:gd name="T6" fmla="*/ 142 w 483"/>
                <a:gd name="T7" fmla="*/ 15 h 539"/>
                <a:gd name="T8" fmla="*/ 133 w 483"/>
                <a:gd name="T9" fmla="*/ 9 h 539"/>
                <a:gd name="T10" fmla="*/ 113 w 483"/>
                <a:gd name="T11" fmla="*/ 11 h 539"/>
                <a:gd name="T12" fmla="*/ 54 w 483"/>
                <a:gd name="T13" fmla="*/ 0 h 539"/>
                <a:gd name="T14" fmla="*/ 59 w 483"/>
                <a:gd name="T15" fmla="*/ 12 h 539"/>
                <a:gd name="T16" fmla="*/ 32 w 483"/>
                <a:gd name="T17" fmla="*/ 12 h 539"/>
                <a:gd name="T18" fmla="*/ 10 w 483"/>
                <a:gd name="T19" fmla="*/ 34 h 539"/>
                <a:gd name="T20" fmla="*/ 20 w 483"/>
                <a:gd name="T21" fmla="*/ 85 h 539"/>
                <a:gd name="T22" fmla="*/ 5 w 483"/>
                <a:gd name="T23" fmla="*/ 102 h 539"/>
                <a:gd name="T24" fmla="*/ 25 w 483"/>
                <a:gd name="T25" fmla="*/ 105 h 539"/>
                <a:gd name="T26" fmla="*/ 29 w 483"/>
                <a:gd name="T27" fmla="*/ 138 h 539"/>
                <a:gd name="T28" fmla="*/ 49 w 483"/>
                <a:gd name="T29" fmla="*/ 130 h 539"/>
                <a:gd name="T30" fmla="*/ 55 w 483"/>
                <a:gd name="T31" fmla="*/ 136 h 539"/>
                <a:gd name="T32" fmla="*/ 74 w 483"/>
                <a:gd name="T33" fmla="*/ 125 h 539"/>
                <a:gd name="T34" fmla="*/ 94 w 483"/>
                <a:gd name="T35" fmla="*/ 125 h 539"/>
                <a:gd name="T36" fmla="*/ 103 w 483"/>
                <a:gd name="T37" fmla="*/ 139 h 539"/>
                <a:gd name="T38" fmla="*/ 92 w 483"/>
                <a:gd name="T39" fmla="*/ 159 h 539"/>
                <a:gd name="T40" fmla="*/ 92 w 483"/>
                <a:gd name="T41" fmla="*/ 168 h 539"/>
                <a:gd name="T42" fmla="*/ 110 w 483"/>
                <a:gd name="T43" fmla="*/ 176 h 539"/>
                <a:gd name="T44" fmla="*/ 124 w 483"/>
                <a:gd name="T45" fmla="*/ 172 h 539"/>
                <a:gd name="T46" fmla="*/ 133 w 483"/>
                <a:gd name="T47" fmla="*/ 159 h 539"/>
                <a:gd name="T48" fmla="*/ 145 w 483"/>
                <a:gd name="T49" fmla="*/ 156 h 539"/>
                <a:gd name="T50" fmla="*/ 163 w 483"/>
                <a:gd name="T51" fmla="*/ 159 h 539"/>
                <a:gd name="T52" fmla="*/ 161 w 483"/>
                <a:gd name="T53" fmla="*/ 149 h 539"/>
                <a:gd name="T54" fmla="*/ 189 w 483"/>
                <a:gd name="T55" fmla="*/ 148 h 539"/>
                <a:gd name="T56" fmla="*/ 194 w 483"/>
                <a:gd name="T57" fmla="*/ 136 h 539"/>
                <a:gd name="T58" fmla="*/ 199 w 483"/>
                <a:gd name="T59" fmla="*/ 106 h 539"/>
                <a:gd name="T60" fmla="*/ 185 w 483"/>
                <a:gd name="T61" fmla="*/ 91 h 539"/>
                <a:gd name="T62" fmla="*/ 183 w 483"/>
                <a:gd name="T63" fmla="*/ 80 h 539"/>
                <a:gd name="T64" fmla="*/ 176 w 483"/>
                <a:gd name="T65" fmla="*/ 80 h 539"/>
                <a:gd name="T66" fmla="*/ 185 w 483"/>
                <a:gd name="T67" fmla="*/ 57 h 539"/>
                <a:gd name="T68" fmla="*/ 190 w 483"/>
                <a:gd name="T69" fmla="*/ 40 h 5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83" h="539">
                  <a:moveTo>
                    <a:pt x="435" y="72"/>
                  </a:moveTo>
                  <a:lnTo>
                    <a:pt x="414" y="66"/>
                  </a:lnTo>
                  <a:lnTo>
                    <a:pt x="405" y="54"/>
                  </a:lnTo>
                  <a:lnTo>
                    <a:pt x="405" y="21"/>
                  </a:lnTo>
                  <a:lnTo>
                    <a:pt x="396" y="6"/>
                  </a:lnTo>
                  <a:lnTo>
                    <a:pt x="372" y="27"/>
                  </a:lnTo>
                  <a:lnTo>
                    <a:pt x="360" y="45"/>
                  </a:lnTo>
                  <a:lnTo>
                    <a:pt x="345" y="45"/>
                  </a:lnTo>
                  <a:lnTo>
                    <a:pt x="342" y="18"/>
                  </a:lnTo>
                  <a:lnTo>
                    <a:pt x="321" y="27"/>
                  </a:lnTo>
                  <a:lnTo>
                    <a:pt x="291" y="45"/>
                  </a:lnTo>
                  <a:lnTo>
                    <a:pt x="273" y="33"/>
                  </a:lnTo>
                  <a:lnTo>
                    <a:pt x="237" y="9"/>
                  </a:lnTo>
                  <a:lnTo>
                    <a:pt x="132" y="0"/>
                  </a:lnTo>
                  <a:lnTo>
                    <a:pt x="123" y="12"/>
                  </a:lnTo>
                  <a:lnTo>
                    <a:pt x="144" y="36"/>
                  </a:lnTo>
                  <a:lnTo>
                    <a:pt x="117" y="54"/>
                  </a:lnTo>
                  <a:lnTo>
                    <a:pt x="78" y="36"/>
                  </a:lnTo>
                  <a:lnTo>
                    <a:pt x="39" y="72"/>
                  </a:lnTo>
                  <a:lnTo>
                    <a:pt x="24" y="104"/>
                  </a:lnTo>
                  <a:lnTo>
                    <a:pt x="27" y="179"/>
                  </a:lnTo>
                  <a:lnTo>
                    <a:pt x="48" y="257"/>
                  </a:lnTo>
                  <a:lnTo>
                    <a:pt x="0" y="308"/>
                  </a:lnTo>
                  <a:lnTo>
                    <a:pt x="6" y="314"/>
                  </a:lnTo>
                  <a:lnTo>
                    <a:pt x="48" y="302"/>
                  </a:lnTo>
                  <a:lnTo>
                    <a:pt x="60" y="320"/>
                  </a:lnTo>
                  <a:lnTo>
                    <a:pt x="51" y="377"/>
                  </a:lnTo>
                  <a:lnTo>
                    <a:pt x="72" y="419"/>
                  </a:lnTo>
                  <a:lnTo>
                    <a:pt x="96" y="425"/>
                  </a:lnTo>
                  <a:lnTo>
                    <a:pt x="117" y="395"/>
                  </a:lnTo>
                  <a:lnTo>
                    <a:pt x="129" y="419"/>
                  </a:lnTo>
                  <a:lnTo>
                    <a:pt x="135" y="416"/>
                  </a:lnTo>
                  <a:lnTo>
                    <a:pt x="171" y="383"/>
                  </a:lnTo>
                  <a:lnTo>
                    <a:pt x="180" y="383"/>
                  </a:lnTo>
                  <a:lnTo>
                    <a:pt x="198" y="377"/>
                  </a:lnTo>
                  <a:lnTo>
                    <a:pt x="228" y="383"/>
                  </a:lnTo>
                  <a:lnTo>
                    <a:pt x="228" y="416"/>
                  </a:lnTo>
                  <a:lnTo>
                    <a:pt x="249" y="422"/>
                  </a:lnTo>
                  <a:lnTo>
                    <a:pt x="243" y="452"/>
                  </a:lnTo>
                  <a:lnTo>
                    <a:pt x="222" y="485"/>
                  </a:lnTo>
                  <a:lnTo>
                    <a:pt x="213" y="515"/>
                  </a:lnTo>
                  <a:lnTo>
                    <a:pt x="222" y="515"/>
                  </a:lnTo>
                  <a:lnTo>
                    <a:pt x="246" y="494"/>
                  </a:lnTo>
                  <a:lnTo>
                    <a:pt x="267" y="539"/>
                  </a:lnTo>
                  <a:lnTo>
                    <a:pt x="285" y="527"/>
                  </a:lnTo>
                  <a:lnTo>
                    <a:pt x="303" y="527"/>
                  </a:lnTo>
                  <a:lnTo>
                    <a:pt x="321" y="515"/>
                  </a:lnTo>
                  <a:lnTo>
                    <a:pt x="321" y="485"/>
                  </a:lnTo>
                  <a:lnTo>
                    <a:pt x="330" y="479"/>
                  </a:lnTo>
                  <a:lnTo>
                    <a:pt x="351" y="479"/>
                  </a:lnTo>
                  <a:lnTo>
                    <a:pt x="390" y="497"/>
                  </a:lnTo>
                  <a:lnTo>
                    <a:pt x="396" y="485"/>
                  </a:lnTo>
                  <a:lnTo>
                    <a:pt x="387" y="467"/>
                  </a:lnTo>
                  <a:lnTo>
                    <a:pt x="390" y="458"/>
                  </a:lnTo>
                  <a:lnTo>
                    <a:pt x="414" y="437"/>
                  </a:lnTo>
                  <a:lnTo>
                    <a:pt x="459" y="449"/>
                  </a:lnTo>
                  <a:lnTo>
                    <a:pt x="483" y="431"/>
                  </a:lnTo>
                  <a:lnTo>
                    <a:pt x="474" y="416"/>
                  </a:lnTo>
                  <a:lnTo>
                    <a:pt x="483" y="380"/>
                  </a:lnTo>
                  <a:lnTo>
                    <a:pt x="483" y="326"/>
                  </a:lnTo>
                  <a:lnTo>
                    <a:pt x="465" y="320"/>
                  </a:lnTo>
                  <a:lnTo>
                    <a:pt x="450" y="281"/>
                  </a:lnTo>
                  <a:lnTo>
                    <a:pt x="450" y="251"/>
                  </a:lnTo>
                  <a:lnTo>
                    <a:pt x="444" y="245"/>
                  </a:lnTo>
                  <a:lnTo>
                    <a:pt x="432" y="251"/>
                  </a:lnTo>
                  <a:lnTo>
                    <a:pt x="426" y="242"/>
                  </a:lnTo>
                  <a:lnTo>
                    <a:pt x="432" y="194"/>
                  </a:lnTo>
                  <a:lnTo>
                    <a:pt x="450" y="179"/>
                  </a:lnTo>
                  <a:lnTo>
                    <a:pt x="465" y="149"/>
                  </a:lnTo>
                  <a:lnTo>
                    <a:pt x="462" y="122"/>
                  </a:lnTo>
                  <a:lnTo>
                    <a:pt x="435" y="7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 name="Freeform 12"/>
            <p:cNvSpPr>
              <a:spLocks/>
            </p:cNvSpPr>
            <p:nvPr/>
          </p:nvSpPr>
          <p:spPr bwMode="auto">
            <a:xfrm>
              <a:off x="3659436" y="4702200"/>
              <a:ext cx="755650" cy="652462"/>
            </a:xfrm>
            <a:custGeom>
              <a:avLst/>
              <a:gdLst>
                <a:gd name="T0" fmla="*/ 61 w 539"/>
                <a:gd name="T1" fmla="*/ 51 h 471"/>
                <a:gd name="T2" fmla="*/ 56 w 539"/>
                <a:gd name="T3" fmla="*/ 63 h 471"/>
                <a:gd name="T4" fmla="*/ 47 w 539"/>
                <a:gd name="T5" fmla="*/ 67 h 471"/>
                <a:gd name="T6" fmla="*/ 27 w 539"/>
                <a:gd name="T7" fmla="*/ 63 h 471"/>
                <a:gd name="T8" fmla="*/ 23 w 539"/>
                <a:gd name="T9" fmla="*/ 67 h 471"/>
                <a:gd name="T10" fmla="*/ 12 w 539"/>
                <a:gd name="T11" fmla="*/ 64 h 471"/>
                <a:gd name="T12" fmla="*/ 0 w 539"/>
                <a:gd name="T13" fmla="*/ 76 h 471"/>
                <a:gd name="T14" fmla="*/ 5 w 539"/>
                <a:gd name="T15" fmla="*/ 79 h 471"/>
                <a:gd name="T16" fmla="*/ 5 w 539"/>
                <a:gd name="T17" fmla="*/ 87 h 471"/>
                <a:gd name="T18" fmla="*/ 10 w 539"/>
                <a:gd name="T19" fmla="*/ 94 h 471"/>
                <a:gd name="T20" fmla="*/ 31 w 539"/>
                <a:gd name="T21" fmla="*/ 88 h 471"/>
                <a:gd name="T22" fmla="*/ 37 w 539"/>
                <a:gd name="T23" fmla="*/ 94 h 471"/>
                <a:gd name="T24" fmla="*/ 27 w 539"/>
                <a:gd name="T25" fmla="*/ 124 h 471"/>
                <a:gd name="T26" fmla="*/ 39 w 539"/>
                <a:gd name="T27" fmla="*/ 133 h 471"/>
                <a:gd name="T28" fmla="*/ 36 w 539"/>
                <a:gd name="T29" fmla="*/ 152 h 471"/>
                <a:gd name="T30" fmla="*/ 48 w 539"/>
                <a:gd name="T31" fmla="*/ 153 h 471"/>
                <a:gd name="T32" fmla="*/ 61 w 539"/>
                <a:gd name="T33" fmla="*/ 142 h 471"/>
                <a:gd name="T34" fmla="*/ 66 w 539"/>
                <a:gd name="T35" fmla="*/ 147 h 471"/>
                <a:gd name="T36" fmla="*/ 93 w 539"/>
                <a:gd name="T37" fmla="*/ 154 h 471"/>
                <a:gd name="T38" fmla="*/ 95 w 539"/>
                <a:gd name="T39" fmla="*/ 152 h 471"/>
                <a:gd name="T40" fmla="*/ 97 w 539"/>
                <a:gd name="T41" fmla="*/ 145 h 471"/>
                <a:gd name="T42" fmla="*/ 103 w 539"/>
                <a:gd name="T43" fmla="*/ 140 h 471"/>
                <a:gd name="T44" fmla="*/ 137 w 539"/>
                <a:gd name="T45" fmla="*/ 122 h 471"/>
                <a:gd name="T46" fmla="*/ 144 w 539"/>
                <a:gd name="T47" fmla="*/ 128 h 471"/>
                <a:gd name="T48" fmla="*/ 166 w 539"/>
                <a:gd name="T49" fmla="*/ 133 h 471"/>
                <a:gd name="T50" fmla="*/ 176 w 539"/>
                <a:gd name="T51" fmla="*/ 122 h 471"/>
                <a:gd name="T52" fmla="*/ 183 w 539"/>
                <a:gd name="T53" fmla="*/ 124 h 471"/>
                <a:gd name="T54" fmla="*/ 191 w 539"/>
                <a:gd name="T55" fmla="*/ 124 h 471"/>
                <a:gd name="T56" fmla="*/ 191 w 539"/>
                <a:gd name="T57" fmla="*/ 121 h 471"/>
                <a:gd name="T58" fmla="*/ 201 w 539"/>
                <a:gd name="T59" fmla="*/ 117 h 471"/>
                <a:gd name="T60" fmla="*/ 201 w 539"/>
                <a:gd name="T61" fmla="*/ 114 h 471"/>
                <a:gd name="T62" fmla="*/ 208 w 539"/>
                <a:gd name="T63" fmla="*/ 111 h 471"/>
                <a:gd name="T64" fmla="*/ 209 w 539"/>
                <a:gd name="T65" fmla="*/ 111 h 471"/>
                <a:gd name="T66" fmla="*/ 220 w 539"/>
                <a:gd name="T67" fmla="*/ 103 h 471"/>
                <a:gd name="T68" fmla="*/ 212 w 539"/>
                <a:gd name="T69" fmla="*/ 88 h 471"/>
                <a:gd name="T70" fmla="*/ 217 w 539"/>
                <a:gd name="T71" fmla="*/ 71 h 471"/>
                <a:gd name="T72" fmla="*/ 210 w 539"/>
                <a:gd name="T73" fmla="*/ 64 h 471"/>
                <a:gd name="T74" fmla="*/ 193 w 539"/>
                <a:gd name="T75" fmla="*/ 69 h 471"/>
                <a:gd name="T76" fmla="*/ 191 w 539"/>
                <a:gd name="T77" fmla="*/ 67 h 471"/>
                <a:gd name="T78" fmla="*/ 210 w 539"/>
                <a:gd name="T79" fmla="*/ 50 h 471"/>
                <a:gd name="T80" fmla="*/ 201 w 539"/>
                <a:gd name="T81" fmla="*/ 24 h 471"/>
                <a:gd name="T82" fmla="*/ 191 w 539"/>
                <a:gd name="T83" fmla="*/ 31 h 471"/>
                <a:gd name="T84" fmla="*/ 179 w 539"/>
                <a:gd name="T85" fmla="*/ 22 h 471"/>
                <a:gd name="T86" fmla="*/ 168 w 539"/>
                <a:gd name="T87" fmla="*/ 12 h 471"/>
                <a:gd name="T88" fmla="*/ 168 w 539"/>
                <a:gd name="T89" fmla="*/ 4 h 471"/>
                <a:gd name="T90" fmla="*/ 161 w 539"/>
                <a:gd name="T91" fmla="*/ 4 h 471"/>
                <a:gd name="T92" fmla="*/ 152 w 539"/>
                <a:gd name="T93" fmla="*/ 6 h 471"/>
                <a:gd name="T94" fmla="*/ 139 w 539"/>
                <a:gd name="T95" fmla="*/ 0 h 471"/>
                <a:gd name="T96" fmla="*/ 132 w 539"/>
                <a:gd name="T97" fmla="*/ 13 h 471"/>
                <a:gd name="T98" fmla="*/ 119 w 539"/>
                <a:gd name="T99" fmla="*/ 13 h 471"/>
                <a:gd name="T100" fmla="*/ 111 w 539"/>
                <a:gd name="T101" fmla="*/ 24 h 471"/>
                <a:gd name="T102" fmla="*/ 106 w 539"/>
                <a:gd name="T103" fmla="*/ 21 h 471"/>
                <a:gd name="T104" fmla="*/ 97 w 539"/>
                <a:gd name="T105" fmla="*/ 24 h 471"/>
                <a:gd name="T106" fmla="*/ 85 w 539"/>
                <a:gd name="T107" fmla="*/ 19 h 471"/>
                <a:gd name="T108" fmla="*/ 73 w 539"/>
                <a:gd name="T109" fmla="*/ 27 h 471"/>
                <a:gd name="T110" fmla="*/ 73 w 539"/>
                <a:gd name="T111" fmla="*/ 32 h 471"/>
                <a:gd name="T112" fmla="*/ 94 w 539"/>
                <a:gd name="T113" fmla="*/ 41 h 471"/>
                <a:gd name="T114" fmla="*/ 100 w 539"/>
                <a:gd name="T115" fmla="*/ 48 h 471"/>
                <a:gd name="T116" fmla="*/ 85 w 539"/>
                <a:gd name="T117" fmla="*/ 51 h 471"/>
                <a:gd name="T118" fmla="*/ 61 w 539"/>
                <a:gd name="T119" fmla="*/ 51 h 4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39" h="471">
                  <a:moveTo>
                    <a:pt x="150" y="159"/>
                  </a:moveTo>
                  <a:lnTo>
                    <a:pt x="138" y="195"/>
                  </a:lnTo>
                  <a:lnTo>
                    <a:pt x="114" y="204"/>
                  </a:lnTo>
                  <a:lnTo>
                    <a:pt x="66" y="195"/>
                  </a:lnTo>
                  <a:lnTo>
                    <a:pt x="54" y="207"/>
                  </a:lnTo>
                  <a:lnTo>
                    <a:pt x="27" y="198"/>
                  </a:lnTo>
                  <a:lnTo>
                    <a:pt x="0" y="234"/>
                  </a:lnTo>
                  <a:lnTo>
                    <a:pt x="12" y="243"/>
                  </a:lnTo>
                  <a:lnTo>
                    <a:pt x="12" y="267"/>
                  </a:lnTo>
                  <a:lnTo>
                    <a:pt x="24" y="288"/>
                  </a:lnTo>
                  <a:lnTo>
                    <a:pt x="75" y="273"/>
                  </a:lnTo>
                  <a:lnTo>
                    <a:pt x="90" y="285"/>
                  </a:lnTo>
                  <a:lnTo>
                    <a:pt x="66" y="381"/>
                  </a:lnTo>
                  <a:lnTo>
                    <a:pt x="96" y="411"/>
                  </a:lnTo>
                  <a:lnTo>
                    <a:pt x="87" y="465"/>
                  </a:lnTo>
                  <a:lnTo>
                    <a:pt x="117" y="468"/>
                  </a:lnTo>
                  <a:lnTo>
                    <a:pt x="150" y="438"/>
                  </a:lnTo>
                  <a:lnTo>
                    <a:pt x="162" y="447"/>
                  </a:lnTo>
                  <a:lnTo>
                    <a:pt x="225" y="471"/>
                  </a:lnTo>
                  <a:lnTo>
                    <a:pt x="234" y="465"/>
                  </a:lnTo>
                  <a:lnTo>
                    <a:pt x="237" y="444"/>
                  </a:lnTo>
                  <a:lnTo>
                    <a:pt x="249" y="432"/>
                  </a:lnTo>
                  <a:lnTo>
                    <a:pt x="335" y="375"/>
                  </a:lnTo>
                  <a:lnTo>
                    <a:pt x="350" y="393"/>
                  </a:lnTo>
                  <a:lnTo>
                    <a:pt x="404" y="411"/>
                  </a:lnTo>
                  <a:lnTo>
                    <a:pt x="431" y="372"/>
                  </a:lnTo>
                  <a:lnTo>
                    <a:pt x="446" y="381"/>
                  </a:lnTo>
                  <a:lnTo>
                    <a:pt x="467" y="381"/>
                  </a:lnTo>
                  <a:lnTo>
                    <a:pt x="467" y="369"/>
                  </a:lnTo>
                  <a:lnTo>
                    <a:pt x="494" y="360"/>
                  </a:lnTo>
                  <a:lnTo>
                    <a:pt x="494" y="351"/>
                  </a:lnTo>
                  <a:lnTo>
                    <a:pt x="506" y="339"/>
                  </a:lnTo>
                  <a:lnTo>
                    <a:pt x="512" y="342"/>
                  </a:lnTo>
                  <a:lnTo>
                    <a:pt x="539" y="315"/>
                  </a:lnTo>
                  <a:lnTo>
                    <a:pt x="518" y="273"/>
                  </a:lnTo>
                  <a:lnTo>
                    <a:pt x="527" y="216"/>
                  </a:lnTo>
                  <a:lnTo>
                    <a:pt x="515" y="198"/>
                  </a:lnTo>
                  <a:lnTo>
                    <a:pt x="473" y="210"/>
                  </a:lnTo>
                  <a:lnTo>
                    <a:pt x="467" y="204"/>
                  </a:lnTo>
                  <a:lnTo>
                    <a:pt x="515" y="153"/>
                  </a:lnTo>
                  <a:lnTo>
                    <a:pt x="494" y="75"/>
                  </a:lnTo>
                  <a:lnTo>
                    <a:pt x="464" y="96"/>
                  </a:lnTo>
                  <a:lnTo>
                    <a:pt x="437" y="69"/>
                  </a:lnTo>
                  <a:lnTo>
                    <a:pt x="413" y="36"/>
                  </a:lnTo>
                  <a:lnTo>
                    <a:pt x="410" y="15"/>
                  </a:lnTo>
                  <a:lnTo>
                    <a:pt x="392" y="9"/>
                  </a:lnTo>
                  <a:lnTo>
                    <a:pt x="371" y="18"/>
                  </a:lnTo>
                  <a:lnTo>
                    <a:pt x="338" y="0"/>
                  </a:lnTo>
                  <a:lnTo>
                    <a:pt x="320" y="39"/>
                  </a:lnTo>
                  <a:lnTo>
                    <a:pt x="290" y="42"/>
                  </a:lnTo>
                  <a:lnTo>
                    <a:pt x="269" y="75"/>
                  </a:lnTo>
                  <a:lnTo>
                    <a:pt x="258" y="66"/>
                  </a:lnTo>
                  <a:lnTo>
                    <a:pt x="237" y="75"/>
                  </a:lnTo>
                  <a:lnTo>
                    <a:pt x="207" y="57"/>
                  </a:lnTo>
                  <a:lnTo>
                    <a:pt x="180" y="84"/>
                  </a:lnTo>
                  <a:lnTo>
                    <a:pt x="180" y="99"/>
                  </a:lnTo>
                  <a:lnTo>
                    <a:pt x="231" y="126"/>
                  </a:lnTo>
                  <a:lnTo>
                    <a:pt x="243" y="147"/>
                  </a:lnTo>
                  <a:lnTo>
                    <a:pt x="207" y="159"/>
                  </a:lnTo>
                  <a:lnTo>
                    <a:pt x="150" y="159"/>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 name="Freeform 13"/>
            <p:cNvSpPr>
              <a:spLocks/>
            </p:cNvSpPr>
            <p:nvPr/>
          </p:nvSpPr>
          <p:spPr bwMode="auto">
            <a:xfrm>
              <a:off x="5424736" y="4257700"/>
              <a:ext cx="476250" cy="542925"/>
            </a:xfrm>
            <a:custGeom>
              <a:avLst/>
              <a:gdLst>
                <a:gd name="T0" fmla="*/ 102 w 339"/>
                <a:gd name="T1" fmla="*/ 121 h 392"/>
                <a:gd name="T2" fmla="*/ 79 w 339"/>
                <a:gd name="T3" fmla="*/ 126 h 392"/>
                <a:gd name="T4" fmla="*/ 67 w 339"/>
                <a:gd name="T5" fmla="*/ 116 h 392"/>
                <a:gd name="T6" fmla="*/ 59 w 339"/>
                <a:gd name="T7" fmla="*/ 124 h 392"/>
                <a:gd name="T8" fmla="*/ 45 w 339"/>
                <a:gd name="T9" fmla="*/ 124 h 392"/>
                <a:gd name="T10" fmla="*/ 40 w 339"/>
                <a:gd name="T11" fmla="*/ 116 h 392"/>
                <a:gd name="T12" fmla="*/ 34 w 339"/>
                <a:gd name="T13" fmla="*/ 104 h 392"/>
                <a:gd name="T14" fmla="*/ 22 w 339"/>
                <a:gd name="T15" fmla="*/ 102 h 392"/>
                <a:gd name="T16" fmla="*/ 9 w 339"/>
                <a:gd name="T17" fmla="*/ 83 h 392"/>
                <a:gd name="T18" fmla="*/ 0 w 339"/>
                <a:gd name="T19" fmla="*/ 72 h 392"/>
                <a:gd name="T20" fmla="*/ 5 w 339"/>
                <a:gd name="T21" fmla="*/ 69 h 392"/>
                <a:gd name="T22" fmla="*/ 9 w 339"/>
                <a:gd name="T23" fmla="*/ 66 h 392"/>
                <a:gd name="T24" fmla="*/ 22 w 339"/>
                <a:gd name="T25" fmla="*/ 50 h 392"/>
                <a:gd name="T26" fmla="*/ 22 w 339"/>
                <a:gd name="T27" fmla="*/ 39 h 392"/>
                <a:gd name="T28" fmla="*/ 27 w 339"/>
                <a:gd name="T29" fmla="*/ 34 h 392"/>
                <a:gd name="T30" fmla="*/ 37 w 339"/>
                <a:gd name="T31" fmla="*/ 32 h 392"/>
                <a:gd name="T32" fmla="*/ 40 w 339"/>
                <a:gd name="T33" fmla="*/ 29 h 392"/>
                <a:gd name="T34" fmla="*/ 37 w 339"/>
                <a:gd name="T35" fmla="*/ 22 h 392"/>
                <a:gd name="T36" fmla="*/ 41 w 339"/>
                <a:gd name="T37" fmla="*/ 17 h 392"/>
                <a:gd name="T38" fmla="*/ 41 w 339"/>
                <a:gd name="T39" fmla="*/ 4 h 392"/>
                <a:gd name="T40" fmla="*/ 49 w 339"/>
                <a:gd name="T41" fmla="*/ 4 h 392"/>
                <a:gd name="T42" fmla="*/ 63 w 339"/>
                <a:gd name="T43" fmla="*/ 8 h 392"/>
                <a:gd name="T44" fmla="*/ 78 w 339"/>
                <a:gd name="T45" fmla="*/ 10 h 392"/>
                <a:gd name="T46" fmla="*/ 89 w 339"/>
                <a:gd name="T47" fmla="*/ 0 h 392"/>
                <a:gd name="T48" fmla="*/ 102 w 339"/>
                <a:gd name="T49" fmla="*/ 9 h 392"/>
                <a:gd name="T50" fmla="*/ 95 w 339"/>
                <a:gd name="T51" fmla="*/ 12 h 392"/>
                <a:gd name="T52" fmla="*/ 90 w 339"/>
                <a:gd name="T53" fmla="*/ 21 h 392"/>
                <a:gd name="T54" fmla="*/ 79 w 339"/>
                <a:gd name="T55" fmla="*/ 22 h 392"/>
                <a:gd name="T56" fmla="*/ 76 w 339"/>
                <a:gd name="T57" fmla="*/ 24 h 392"/>
                <a:gd name="T58" fmla="*/ 85 w 339"/>
                <a:gd name="T59" fmla="*/ 29 h 392"/>
                <a:gd name="T60" fmla="*/ 103 w 339"/>
                <a:gd name="T61" fmla="*/ 22 h 392"/>
                <a:gd name="T62" fmla="*/ 134 w 339"/>
                <a:gd name="T63" fmla="*/ 33 h 392"/>
                <a:gd name="T64" fmla="*/ 139 w 339"/>
                <a:gd name="T65" fmla="*/ 53 h 392"/>
                <a:gd name="T66" fmla="*/ 125 w 339"/>
                <a:gd name="T67" fmla="*/ 53 h 392"/>
                <a:gd name="T68" fmla="*/ 125 w 339"/>
                <a:gd name="T69" fmla="*/ 59 h 392"/>
                <a:gd name="T70" fmla="*/ 132 w 339"/>
                <a:gd name="T71" fmla="*/ 69 h 392"/>
                <a:gd name="T72" fmla="*/ 125 w 339"/>
                <a:gd name="T73" fmla="*/ 72 h 392"/>
                <a:gd name="T74" fmla="*/ 133 w 339"/>
                <a:gd name="T75" fmla="*/ 81 h 392"/>
                <a:gd name="T76" fmla="*/ 123 w 339"/>
                <a:gd name="T77" fmla="*/ 91 h 392"/>
                <a:gd name="T78" fmla="*/ 118 w 339"/>
                <a:gd name="T79" fmla="*/ 86 h 392"/>
                <a:gd name="T80" fmla="*/ 102 w 339"/>
                <a:gd name="T81" fmla="*/ 116 h 392"/>
                <a:gd name="T82" fmla="*/ 102 w 339"/>
                <a:gd name="T83" fmla="*/ 121 h 3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39" h="392">
                  <a:moveTo>
                    <a:pt x="246" y="374"/>
                  </a:moveTo>
                  <a:lnTo>
                    <a:pt x="195" y="392"/>
                  </a:lnTo>
                  <a:lnTo>
                    <a:pt x="165" y="362"/>
                  </a:lnTo>
                  <a:lnTo>
                    <a:pt x="144" y="386"/>
                  </a:lnTo>
                  <a:lnTo>
                    <a:pt x="111" y="386"/>
                  </a:lnTo>
                  <a:lnTo>
                    <a:pt x="99" y="359"/>
                  </a:lnTo>
                  <a:lnTo>
                    <a:pt x="84" y="320"/>
                  </a:lnTo>
                  <a:lnTo>
                    <a:pt x="54" y="315"/>
                  </a:lnTo>
                  <a:lnTo>
                    <a:pt x="21" y="255"/>
                  </a:lnTo>
                  <a:lnTo>
                    <a:pt x="0" y="225"/>
                  </a:lnTo>
                  <a:lnTo>
                    <a:pt x="15" y="213"/>
                  </a:lnTo>
                  <a:lnTo>
                    <a:pt x="21" y="207"/>
                  </a:lnTo>
                  <a:lnTo>
                    <a:pt x="54" y="159"/>
                  </a:lnTo>
                  <a:lnTo>
                    <a:pt x="54" y="120"/>
                  </a:lnTo>
                  <a:lnTo>
                    <a:pt x="66" y="105"/>
                  </a:lnTo>
                  <a:lnTo>
                    <a:pt x="90" y="99"/>
                  </a:lnTo>
                  <a:lnTo>
                    <a:pt x="99" y="87"/>
                  </a:lnTo>
                  <a:lnTo>
                    <a:pt x="90" y="69"/>
                  </a:lnTo>
                  <a:lnTo>
                    <a:pt x="102" y="51"/>
                  </a:lnTo>
                  <a:lnTo>
                    <a:pt x="102" y="15"/>
                  </a:lnTo>
                  <a:lnTo>
                    <a:pt x="123" y="6"/>
                  </a:lnTo>
                  <a:lnTo>
                    <a:pt x="153" y="24"/>
                  </a:lnTo>
                  <a:lnTo>
                    <a:pt x="192" y="30"/>
                  </a:lnTo>
                  <a:lnTo>
                    <a:pt x="216" y="0"/>
                  </a:lnTo>
                  <a:lnTo>
                    <a:pt x="249" y="27"/>
                  </a:lnTo>
                  <a:lnTo>
                    <a:pt x="234" y="36"/>
                  </a:lnTo>
                  <a:lnTo>
                    <a:pt x="219" y="63"/>
                  </a:lnTo>
                  <a:lnTo>
                    <a:pt x="195" y="69"/>
                  </a:lnTo>
                  <a:lnTo>
                    <a:pt x="186" y="75"/>
                  </a:lnTo>
                  <a:lnTo>
                    <a:pt x="210" y="90"/>
                  </a:lnTo>
                  <a:lnTo>
                    <a:pt x="255" y="69"/>
                  </a:lnTo>
                  <a:lnTo>
                    <a:pt x="330" y="102"/>
                  </a:lnTo>
                  <a:lnTo>
                    <a:pt x="339" y="165"/>
                  </a:lnTo>
                  <a:lnTo>
                    <a:pt x="306" y="165"/>
                  </a:lnTo>
                  <a:lnTo>
                    <a:pt x="306" y="183"/>
                  </a:lnTo>
                  <a:lnTo>
                    <a:pt x="321" y="210"/>
                  </a:lnTo>
                  <a:lnTo>
                    <a:pt x="306" y="225"/>
                  </a:lnTo>
                  <a:lnTo>
                    <a:pt x="324" y="252"/>
                  </a:lnTo>
                  <a:lnTo>
                    <a:pt x="300" y="282"/>
                  </a:lnTo>
                  <a:lnTo>
                    <a:pt x="288" y="267"/>
                  </a:lnTo>
                  <a:lnTo>
                    <a:pt x="252" y="359"/>
                  </a:lnTo>
                  <a:lnTo>
                    <a:pt x="246" y="374"/>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 name="Freeform 14"/>
            <p:cNvSpPr>
              <a:spLocks/>
            </p:cNvSpPr>
            <p:nvPr/>
          </p:nvSpPr>
          <p:spPr bwMode="auto">
            <a:xfrm>
              <a:off x="4980236" y="3852887"/>
              <a:ext cx="587375" cy="700088"/>
            </a:xfrm>
            <a:custGeom>
              <a:avLst/>
              <a:gdLst>
                <a:gd name="T0" fmla="*/ 41 w 419"/>
                <a:gd name="T1" fmla="*/ 0 h 504"/>
                <a:gd name="T2" fmla="*/ 70 w 419"/>
                <a:gd name="T3" fmla="*/ 15 h 504"/>
                <a:gd name="T4" fmla="*/ 93 w 419"/>
                <a:gd name="T5" fmla="*/ 22 h 504"/>
                <a:gd name="T6" fmla="*/ 105 w 419"/>
                <a:gd name="T7" fmla="*/ 24 h 504"/>
                <a:gd name="T8" fmla="*/ 112 w 419"/>
                <a:gd name="T9" fmla="*/ 45 h 504"/>
                <a:gd name="T10" fmla="*/ 129 w 419"/>
                <a:gd name="T11" fmla="*/ 51 h 504"/>
                <a:gd name="T12" fmla="*/ 143 w 419"/>
                <a:gd name="T13" fmla="*/ 46 h 504"/>
                <a:gd name="T14" fmla="*/ 147 w 419"/>
                <a:gd name="T15" fmla="*/ 57 h 504"/>
                <a:gd name="T16" fmla="*/ 131 w 419"/>
                <a:gd name="T17" fmla="*/ 64 h 504"/>
                <a:gd name="T18" fmla="*/ 124 w 419"/>
                <a:gd name="T19" fmla="*/ 76 h 504"/>
                <a:gd name="T20" fmla="*/ 143 w 419"/>
                <a:gd name="T21" fmla="*/ 89 h 504"/>
                <a:gd name="T22" fmla="*/ 171 w 419"/>
                <a:gd name="T23" fmla="*/ 100 h 504"/>
                <a:gd name="T24" fmla="*/ 166 w 419"/>
                <a:gd name="T25" fmla="*/ 119 h 504"/>
                <a:gd name="T26" fmla="*/ 166 w 419"/>
                <a:gd name="T27" fmla="*/ 128 h 504"/>
                <a:gd name="T28" fmla="*/ 151 w 419"/>
                <a:gd name="T29" fmla="*/ 134 h 504"/>
                <a:gd name="T30" fmla="*/ 138 w 419"/>
                <a:gd name="T31" fmla="*/ 164 h 504"/>
                <a:gd name="T32" fmla="*/ 127 w 419"/>
                <a:gd name="T33" fmla="*/ 160 h 504"/>
                <a:gd name="T34" fmla="*/ 101 w 419"/>
                <a:gd name="T35" fmla="*/ 152 h 504"/>
                <a:gd name="T36" fmla="*/ 78 w 419"/>
                <a:gd name="T37" fmla="*/ 163 h 504"/>
                <a:gd name="T38" fmla="*/ 84 w 419"/>
                <a:gd name="T39" fmla="*/ 149 h 504"/>
                <a:gd name="T40" fmla="*/ 59 w 419"/>
                <a:gd name="T41" fmla="*/ 157 h 504"/>
                <a:gd name="T42" fmla="*/ 48 w 419"/>
                <a:gd name="T43" fmla="*/ 121 h 504"/>
                <a:gd name="T44" fmla="*/ 37 w 419"/>
                <a:gd name="T45" fmla="*/ 117 h 504"/>
                <a:gd name="T46" fmla="*/ 28 w 419"/>
                <a:gd name="T47" fmla="*/ 98 h 504"/>
                <a:gd name="T48" fmla="*/ 39 w 419"/>
                <a:gd name="T49" fmla="*/ 85 h 504"/>
                <a:gd name="T50" fmla="*/ 34 w 419"/>
                <a:gd name="T51" fmla="*/ 71 h 504"/>
                <a:gd name="T52" fmla="*/ 12 w 419"/>
                <a:gd name="T53" fmla="*/ 68 h 504"/>
                <a:gd name="T54" fmla="*/ 12 w 419"/>
                <a:gd name="T55" fmla="*/ 51 h 504"/>
                <a:gd name="T56" fmla="*/ 20 w 419"/>
                <a:gd name="T57" fmla="*/ 37 h 504"/>
                <a:gd name="T58" fmla="*/ 24 w 419"/>
                <a:gd name="T59" fmla="*/ 21 h 504"/>
                <a:gd name="T60" fmla="*/ 37 w 419"/>
                <a:gd name="T61" fmla="*/ 30 h 504"/>
                <a:gd name="T62" fmla="*/ 53 w 419"/>
                <a:gd name="T63" fmla="*/ 21 h 504"/>
                <a:gd name="T64" fmla="*/ 37 w 419"/>
                <a:gd name="T65" fmla="*/ 9 h 5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9" h="504">
                  <a:moveTo>
                    <a:pt x="83" y="6"/>
                  </a:moveTo>
                  <a:lnTo>
                    <a:pt x="101" y="0"/>
                  </a:lnTo>
                  <a:lnTo>
                    <a:pt x="149" y="21"/>
                  </a:lnTo>
                  <a:lnTo>
                    <a:pt x="173" y="45"/>
                  </a:lnTo>
                  <a:lnTo>
                    <a:pt x="212" y="57"/>
                  </a:lnTo>
                  <a:lnTo>
                    <a:pt x="230" y="69"/>
                  </a:lnTo>
                  <a:lnTo>
                    <a:pt x="251" y="66"/>
                  </a:lnTo>
                  <a:lnTo>
                    <a:pt x="257" y="75"/>
                  </a:lnTo>
                  <a:lnTo>
                    <a:pt x="248" y="123"/>
                  </a:lnTo>
                  <a:lnTo>
                    <a:pt x="272" y="135"/>
                  </a:lnTo>
                  <a:lnTo>
                    <a:pt x="281" y="153"/>
                  </a:lnTo>
                  <a:lnTo>
                    <a:pt x="317" y="159"/>
                  </a:lnTo>
                  <a:lnTo>
                    <a:pt x="329" y="138"/>
                  </a:lnTo>
                  <a:lnTo>
                    <a:pt x="350" y="141"/>
                  </a:lnTo>
                  <a:lnTo>
                    <a:pt x="362" y="159"/>
                  </a:lnTo>
                  <a:lnTo>
                    <a:pt x="362" y="174"/>
                  </a:lnTo>
                  <a:lnTo>
                    <a:pt x="320" y="180"/>
                  </a:lnTo>
                  <a:lnTo>
                    <a:pt x="320" y="198"/>
                  </a:lnTo>
                  <a:lnTo>
                    <a:pt x="320" y="210"/>
                  </a:lnTo>
                  <a:lnTo>
                    <a:pt x="305" y="228"/>
                  </a:lnTo>
                  <a:lnTo>
                    <a:pt x="317" y="249"/>
                  </a:lnTo>
                  <a:lnTo>
                    <a:pt x="350" y="273"/>
                  </a:lnTo>
                  <a:lnTo>
                    <a:pt x="353" y="300"/>
                  </a:lnTo>
                  <a:lnTo>
                    <a:pt x="419" y="306"/>
                  </a:lnTo>
                  <a:lnTo>
                    <a:pt x="419" y="342"/>
                  </a:lnTo>
                  <a:lnTo>
                    <a:pt x="407" y="360"/>
                  </a:lnTo>
                  <a:lnTo>
                    <a:pt x="416" y="378"/>
                  </a:lnTo>
                  <a:lnTo>
                    <a:pt x="407" y="390"/>
                  </a:lnTo>
                  <a:lnTo>
                    <a:pt x="383" y="396"/>
                  </a:lnTo>
                  <a:lnTo>
                    <a:pt x="371" y="411"/>
                  </a:lnTo>
                  <a:lnTo>
                    <a:pt x="371" y="450"/>
                  </a:lnTo>
                  <a:lnTo>
                    <a:pt x="338" y="498"/>
                  </a:lnTo>
                  <a:lnTo>
                    <a:pt x="332" y="504"/>
                  </a:lnTo>
                  <a:lnTo>
                    <a:pt x="314" y="486"/>
                  </a:lnTo>
                  <a:lnTo>
                    <a:pt x="266" y="486"/>
                  </a:lnTo>
                  <a:lnTo>
                    <a:pt x="245" y="462"/>
                  </a:lnTo>
                  <a:lnTo>
                    <a:pt x="206" y="501"/>
                  </a:lnTo>
                  <a:lnTo>
                    <a:pt x="191" y="495"/>
                  </a:lnTo>
                  <a:lnTo>
                    <a:pt x="209" y="465"/>
                  </a:lnTo>
                  <a:lnTo>
                    <a:pt x="206" y="456"/>
                  </a:lnTo>
                  <a:lnTo>
                    <a:pt x="191" y="453"/>
                  </a:lnTo>
                  <a:lnTo>
                    <a:pt x="146" y="477"/>
                  </a:lnTo>
                  <a:lnTo>
                    <a:pt x="104" y="396"/>
                  </a:lnTo>
                  <a:lnTo>
                    <a:pt x="119" y="369"/>
                  </a:lnTo>
                  <a:lnTo>
                    <a:pt x="113" y="360"/>
                  </a:lnTo>
                  <a:lnTo>
                    <a:pt x="89" y="354"/>
                  </a:lnTo>
                  <a:lnTo>
                    <a:pt x="54" y="330"/>
                  </a:lnTo>
                  <a:lnTo>
                    <a:pt x="68" y="300"/>
                  </a:lnTo>
                  <a:lnTo>
                    <a:pt x="89" y="288"/>
                  </a:lnTo>
                  <a:lnTo>
                    <a:pt x="95" y="261"/>
                  </a:lnTo>
                  <a:lnTo>
                    <a:pt x="86" y="216"/>
                  </a:lnTo>
                  <a:lnTo>
                    <a:pt x="83" y="213"/>
                  </a:lnTo>
                  <a:lnTo>
                    <a:pt x="60" y="237"/>
                  </a:lnTo>
                  <a:lnTo>
                    <a:pt x="27" y="207"/>
                  </a:lnTo>
                  <a:lnTo>
                    <a:pt x="0" y="177"/>
                  </a:lnTo>
                  <a:lnTo>
                    <a:pt x="27" y="159"/>
                  </a:lnTo>
                  <a:lnTo>
                    <a:pt x="33" y="126"/>
                  </a:lnTo>
                  <a:lnTo>
                    <a:pt x="48" y="114"/>
                  </a:lnTo>
                  <a:lnTo>
                    <a:pt x="45" y="72"/>
                  </a:lnTo>
                  <a:lnTo>
                    <a:pt x="57" y="63"/>
                  </a:lnTo>
                  <a:lnTo>
                    <a:pt x="77" y="75"/>
                  </a:lnTo>
                  <a:lnTo>
                    <a:pt x="89" y="93"/>
                  </a:lnTo>
                  <a:lnTo>
                    <a:pt x="119" y="75"/>
                  </a:lnTo>
                  <a:lnTo>
                    <a:pt x="128" y="66"/>
                  </a:lnTo>
                  <a:lnTo>
                    <a:pt x="122" y="45"/>
                  </a:lnTo>
                  <a:lnTo>
                    <a:pt x="89" y="27"/>
                  </a:lnTo>
                  <a:lnTo>
                    <a:pt x="83" y="6"/>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1" name="Freeform 15"/>
            <p:cNvSpPr>
              <a:spLocks/>
            </p:cNvSpPr>
            <p:nvPr/>
          </p:nvSpPr>
          <p:spPr bwMode="auto">
            <a:xfrm>
              <a:off x="5726361" y="4186262"/>
              <a:ext cx="111125" cy="109538"/>
            </a:xfrm>
            <a:custGeom>
              <a:avLst/>
              <a:gdLst>
                <a:gd name="T0" fmla="*/ 15 w 78"/>
                <a:gd name="T1" fmla="*/ 27 h 78"/>
                <a:gd name="T2" fmla="*/ 0 w 78"/>
                <a:gd name="T3" fmla="*/ 18 h 78"/>
                <a:gd name="T4" fmla="*/ 8 w 78"/>
                <a:gd name="T5" fmla="*/ 12 h 78"/>
                <a:gd name="T6" fmla="*/ 13 w 78"/>
                <a:gd name="T7" fmla="*/ 0 h 78"/>
                <a:gd name="T8" fmla="*/ 28 w 78"/>
                <a:gd name="T9" fmla="*/ 4 h 78"/>
                <a:gd name="T10" fmla="*/ 35 w 78"/>
                <a:gd name="T11" fmla="*/ 12 h 78"/>
                <a:gd name="T12" fmla="*/ 30 w 78"/>
                <a:gd name="T13" fmla="*/ 18 h 78"/>
                <a:gd name="T14" fmla="*/ 15 w 78"/>
                <a:gd name="T15" fmla="*/ 27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8" h="78">
                  <a:moveTo>
                    <a:pt x="33" y="78"/>
                  </a:moveTo>
                  <a:lnTo>
                    <a:pt x="0" y="51"/>
                  </a:lnTo>
                  <a:lnTo>
                    <a:pt x="18" y="33"/>
                  </a:lnTo>
                  <a:lnTo>
                    <a:pt x="27" y="0"/>
                  </a:lnTo>
                  <a:lnTo>
                    <a:pt x="63" y="15"/>
                  </a:lnTo>
                  <a:lnTo>
                    <a:pt x="78" y="36"/>
                  </a:lnTo>
                  <a:lnTo>
                    <a:pt x="66" y="51"/>
                  </a:lnTo>
                  <a:lnTo>
                    <a:pt x="33" y="78"/>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2" name="Freeform 16"/>
            <p:cNvSpPr>
              <a:spLocks/>
            </p:cNvSpPr>
            <p:nvPr/>
          </p:nvSpPr>
          <p:spPr bwMode="auto">
            <a:xfrm>
              <a:off x="5121524" y="3748112"/>
              <a:ext cx="695325" cy="549275"/>
            </a:xfrm>
            <a:custGeom>
              <a:avLst/>
              <a:gdLst>
                <a:gd name="T0" fmla="*/ 189 w 495"/>
                <a:gd name="T1" fmla="*/ 103 h 396"/>
                <a:gd name="T2" fmla="*/ 185 w 495"/>
                <a:gd name="T3" fmla="*/ 114 h 396"/>
                <a:gd name="T4" fmla="*/ 178 w 495"/>
                <a:gd name="T5" fmla="*/ 118 h 396"/>
                <a:gd name="T6" fmla="*/ 168 w 495"/>
                <a:gd name="T7" fmla="*/ 129 h 396"/>
                <a:gd name="T8" fmla="*/ 153 w 495"/>
                <a:gd name="T9" fmla="*/ 127 h 396"/>
                <a:gd name="T10" fmla="*/ 140 w 495"/>
                <a:gd name="T11" fmla="*/ 122 h 396"/>
                <a:gd name="T12" fmla="*/ 131 w 495"/>
                <a:gd name="T13" fmla="*/ 124 h 396"/>
                <a:gd name="T14" fmla="*/ 103 w 495"/>
                <a:gd name="T15" fmla="*/ 122 h 396"/>
                <a:gd name="T16" fmla="*/ 103 w 495"/>
                <a:gd name="T17" fmla="*/ 114 h 396"/>
                <a:gd name="T18" fmla="*/ 89 w 495"/>
                <a:gd name="T19" fmla="*/ 105 h 396"/>
                <a:gd name="T20" fmla="*/ 84 w 495"/>
                <a:gd name="T21" fmla="*/ 99 h 396"/>
                <a:gd name="T22" fmla="*/ 90 w 495"/>
                <a:gd name="T23" fmla="*/ 94 h 396"/>
                <a:gd name="T24" fmla="*/ 90 w 495"/>
                <a:gd name="T25" fmla="*/ 89 h 396"/>
                <a:gd name="T26" fmla="*/ 90 w 495"/>
                <a:gd name="T27" fmla="*/ 84 h 396"/>
                <a:gd name="T28" fmla="*/ 107 w 495"/>
                <a:gd name="T29" fmla="*/ 81 h 396"/>
                <a:gd name="T30" fmla="*/ 107 w 495"/>
                <a:gd name="T31" fmla="*/ 76 h 396"/>
                <a:gd name="T32" fmla="*/ 103 w 495"/>
                <a:gd name="T33" fmla="*/ 72 h 396"/>
                <a:gd name="T34" fmla="*/ 94 w 495"/>
                <a:gd name="T35" fmla="*/ 70 h 396"/>
                <a:gd name="T36" fmla="*/ 89 w 495"/>
                <a:gd name="T37" fmla="*/ 76 h 396"/>
                <a:gd name="T38" fmla="*/ 74 w 495"/>
                <a:gd name="T39" fmla="*/ 75 h 396"/>
                <a:gd name="T40" fmla="*/ 70 w 495"/>
                <a:gd name="T41" fmla="*/ 69 h 396"/>
                <a:gd name="T42" fmla="*/ 60 w 495"/>
                <a:gd name="T43" fmla="*/ 64 h 396"/>
                <a:gd name="T44" fmla="*/ 64 w 495"/>
                <a:gd name="T45" fmla="*/ 49 h 396"/>
                <a:gd name="T46" fmla="*/ 61 w 495"/>
                <a:gd name="T47" fmla="*/ 46 h 396"/>
                <a:gd name="T48" fmla="*/ 54 w 495"/>
                <a:gd name="T49" fmla="*/ 46 h 396"/>
                <a:gd name="T50" fmla="*/ 45 w 495"/>
                <a:gd name="T51" fmla="*/ 43 h 396"/>
                <a:gd name="T52" fmla="*/ 29 w 495"/>
                <a:gd name="T53" fmla="*/ 39 h 396"/>
                <a:gd name="T54" fmla="*/ 20 w 495"/>
                <a:gd name="T55" fmla="*/ 31 h 396"/>
                <a:gd name="T56" fmla="*/ 0 w 495"/>
                <a:gd name="T57" fmla="*/ 24 h 396"/>
                <a:gd name="T58" fmla="*/ 3 w 495"/>
                <a:gd name="T59" fmla="*/ 17 h 396"/>
                <a:gd name="T60" fmla="*/ 10 w 495"/>
                <a:gd name="T61" fmla="*/ 15 h 396"/>
                <a:gd name="T62" fmla="*/ 25 w 495"/>
                <a:gd name="T63" fmla="*/ 24 h 396"/>
                <a:gd name="T64" fmla="*/ 29 w 495"/>
                <a:gd name="T65" fmla="*/ 24 h 396"/>
                <a:gd name="T66" fmla="*/ 44 w 495"/>
                <a:gd name="T67" fmla="*/ 24 h 396"/>
                <a:gd name="T68" fmla="*/ 52 w 495"/>
                <a:gd name="T69" fmla="*/ 19 h 396"/>
                <a:gd name="T70" fmla="*/ 63 w 495"/>
                <a:gd name="T71" fmla="*/ 26 h 396"/>
                <a:gd name="T72" fmla="*/ 68 w 495"/>
                <a:gd name="T73" fmla="*/ 19 h 396"/>
                <a:gd name="T74" fmla="*/ 70 w 495"/>
                <a:gd name="T75" fmla="*/ 15 h 396"/>
                <a:gd name="T76" fmla="*/ 78 w 495"/>
                <a:gd name="T77" fmla="*/ 11 h 396"/>
                <a:gd name="T78" fmla="*/ 81 w 495"/>
                <a:gd name="T79" fmla="*/ 4 h 396"/>
                <a:gd name="T80" fmla="*/ 90 w 495"/>
                <a:gd name="T81" fmla="*/ 0 h 396"/>
                <a:gd name="T82" fmla="*/ 113 w 495"/>
                <a:gd name="T83" fmla="*/ 13 h 396"/>
                <a:gd name="T84" fmla="*/ 131 w 495"/>
                <a:gd name="T85" fmla="*/ 19 h 396"/>
                <a:gd name="T86" fmla="*/ 163 w 495"/>
                <a:gd name="T87" fmla="*/ 60 h 396"/>
                <a:gd name="T88" fmla="*/ 162 w 495"/>
                <a:gd name="T89" fmla="*/ 64 h 396"/>
                <a:gd name="T90" fmla="*/ 183 w 495"/>
                <a:gd name="T91" fmla="*/ 72 h 396"/>
                <a:gd name="T92" fmla="*/ 189 w 495"/>
                <a:gd name="T93" fmla="*/ 80 h 396"/>
                <a:gd name="T94" fmla="*/ 200 w 495"/>
                <a:gd name="T95" fmla="*/ 84 h 396"/>
                <a:gd name="T96" fmla="*/ 203 w 495"/>
                <a:gd name="T97" fmla="*/ 91 h 396"/>
                <a:gd name="T98" fmla="*/ 197 w 495"/>
                <a:gd name="T99" fmla="*/ 94 h 396"/>
                <a:gd name="T100" fmla="*/ 185 w 495"/>
                <a:gd name="T101" fmla="*/ 91 h 396"/>
                <a:gd name="T102" fmla="*/ 170 w 495"/>
                <a:gd name="T103" fmla="*/ 91 h 396"/>
                <a:gd name="T104" fmla="*/ 156 w 495"/>
                <a:gd name="T105" fmla="*/ 87 h 396"/>
                <a:gd name="T106" fmla="*/ 151 w 495"/>
                <a:gd name="T107" fmla="*/ 91 h 396"/>
                <a:gd name="T108" fmla="*/ 164 w 495"/>
                <a:gd name="T109" fmla="*/ 94 h 396"/>
                <a:gd name="T110" fmla="*/ 177 w 495"/>
                <a:gd name="T111" fmla="*/ 98 h 396"/>
                <a:gd name="T112" fmla="*/ 189 w 495"/>
                <a:gd name="T113" fmla="*/ 103 h 3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95" h="396">
                  <a:moveTo>
                    <a:pt x="459" y="315"/>
                  </a:moveTo>
                  <a:lnTo>
                    <a:pt x="450" y="348"/>
                  </a:lnTo>
                  <a:lnTo>
                    <a:pt x="432" y="366"/>
                  </a:lnTo>
                  <a:lnTo>
                    <a:pt x="408" y="396"/>
                  </a:lnTo>
                  <a:lnTo>
                    <a:pt x="369" y="390"/>
                  </a:lnTo>
                  <a:lnTo>
                    <a:pt x="339" y="372"/>
                  </a:lnTo>
                  <a:lnTo>
                    <a:pt x="318" y="381"/>
                  </a:lnTo>
                  <a:lnTo>
                    <a:pt x="252" y="375"/>
                  </a:lnTo>
                  <a:lnTo>
                    <a:pt x="249" y="348"/>
                  </a:lnTo>
                  <a:lnTo>
                    <a:pt x="216" y="324"/>
                  </a:lnTo>
                  <a:lnTo>
                    <a:pt x="204" y="303"/>
                  </a:lnTo>
                  <a:lnTo>
                    <a:pt x="219" y="285"/>
                  </a:lnTo>
                  <a:lnTo>
                    <a:pt x="219" y="273"/>
                  </a:lnTo>
                  <a:lnTo>
                    <a:pt x="219" y="255"/>
                  </a:lnTo>
                  <a:lnTo>
                    <a:pt x="261" y="249"/>
                  </a:lnTo>
                  <a:lnTo>
                    <a:pt x="261" y="234"/>
                  </a:lnTo>
                  <a:lnTo>
                    <a:pt x="249" y="216"/>
                  </a:lnTo>
                  <a:lnTo>
                    <a:pt x="228" y="213"/>
                  </a:lnTo>
                  <a:lnTo>
                    <a:pt x="216" y="234"/>
                  </a:lnTo>
                  <a:lnTo>
                    <a:pt x="180" y="228"/>
                  </a:lnTo>
                  <a:lnTo>
                    <a:pt x="171" y="210"/>
                  </a:lnTo>
                  <a:lnTo>
                    <a:pt x="147" y="198"/>
                  </a:lnTo>
                  <a:lnTo>
                    <a:pt x="156" y="150"/>
                  </a:lnTo>
                  <a:lnTo>
                    <a:pt x="150" y="141"/>
                  </a:lnTo>
                  <a:lnTo>
                    <a:pt x="129" y="144"/>
                  </a:lnTo>
                  <a:lnTo>
                    <a:pt x="111" y="132"/>
                  </a:lnTo>
                  <a:lnTo>
                    <a:pt x="72" y="120"/>
                  </a:lnTo>
                  <a:lnTo>
                    <a:pt x="48" y="96"/>
                  </a:lnTo>
                  <a:lnTo>
                    <a:pt x="0" y="75"/>
                  </a:lnTo>
                  <a:lnTo>
                    <a:pt x="3" y="54"/>
                  </a:lnTo>
                  <a:lnTo>
                    <a:pt x="24" y="45"/>
                  </a:lnTo>
                  <a:lnTo>
                    <a:pt x="60" y="75"/>
                  </a:lnTo>
                  <a:lnTo>
                    <a:pt x="72" y="75"/>
                  </a:lnTo>
                  <a:lnTo>
                    <a:pt x="105" y="72"/>
                  </a:lnTo>
                  <a:lnTo>
                    <a:pt x="126" y="57"/>
                  </a:lnTo>
                  <a:lnTo>
                    <a:pt x="153" y="78"/>
                  </a:lnTo>
                  <a:lnTo>
                    <a:pt x="165" y="57"/>
                  </a:lnTo>
                  <a:lnTo>
                    <a:pt x="168" y="45"/>
                  </a:lnTo>
                  <a:lnTo>
                    <a:pt x="189" y="33"/>
                  </a:lnTo>
                  <a:lnTo>
                    <a:pt x="198" y="6"/>
                  </a:lnTo>
                  <a:lnTo>
                    <a:pt x="219" y="0"/>
                  </a:lnTo>
                  <a:lnTo>
                    <a:pt x="276" y="39"/>
                  </a:lnTo>
                  <a:lnTo>
                    <a:pt x="318" y="57"/>
                  </a:lnTo>
                  <a:lnTo>
                    <a:pt x="396" y="186"/>
                  </a:lnTo>
                  <a:lnTo>
                    <a:pt x="393" y="198"/>
                  </a:lnTo>
                  <a:lnTo>
                    <a:pt x="444" y="222"/>
                  </a:lnTo>
                  <a:lnTo>
                    <a:pt x="459" y="246"/>
                  </a:lnTo>
                  <a:lnTo>
                    <a:pt x="483" y="258"/>
                  </a:lnTo>
                  <a:lnTo>
                    <a:pt x="495" y="279"/>
                  </a:lnTo>
                  <a:lnTo>
                    <a:pt x="477" y="288"/>
                  </a:lnTo>
                  <a:lnTo>
                    <a:pt x="450" y="279"/>
                  </a:lnTo>
                  <a:lnTo>
                    <a:pt x="414" y="279"/>
                  </a:lnTo>
                  <a:lnTo>
                    <a:pt x="381" y="267"/>
                  </a:lnTo>
                  <a:lnTo>
                    <a:pt x="366" y="279"/>
                  </a:lnTo>
                  <a:lnTo>
                    <a:pt x="399" y="288"/>
                  </a:lnTo>
                  <a:lnTo>
                    <a:pt x="429" y="300"/>
                  </a:lnTo>
                  <a:lnTo>
                    <a:pt x="459" y="315"/>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3" name="Freeform 17"/>
            <p:cNvSpPr>
              <a:spLocks/>
            </p:cNvSpPr>
            <p:nvPr/>
          </p:nvSpPr>
          <p:spPr bwMode="auto">
            <a:xfrm>
              <a:off x="4237286" y="4111650"/>
              <a:ext cx="946150" cy="590550"/>
            </a:xfrm>
            <a:custGeom>
              <a:avLst/>
              <a:gdLst>
                <a:gd name="T0" fmla="*/ 38 w 674"/>
                <a:gd name="T1" fmla="*/ 128 h 425"/>
                <a:gd name="T2" fmla="*/ 71 w 674"/>
                <a:gd name="T3" fmla="*/ 123 h 425"/>
                <a:gd name="T4" fmla="*/ 73 w 674"/>
                <a:gd name="T5" fmla="*/ 109 h 425"/>
                <a:gd name="T6" fmla="*/ 121 w 674"/>
                <a:gd name="T7" fmla="*/ 108 h 425"/>
                <a:gd name="T8" fmla="*/ 143 w 674"/>
                <a:gd name="T9" fmla="*/ 118 h 425"/>
                <a:gd name="T10" fmla="*/ 164 w 674"/>
                <a:gd name="T11" fmla="*/ 111 h 425"/>
                <a:gd name="T12" fmla="*/ 171 w 674"/>
                <a:gd name="T13" fmla="*/ 118 h 425"/>
                <a:gd name="T14" fmla="*/ 186 w 674"/>
                <a:gd name="T15" fmla="*/ 106 h 425"/>
                <a:gd name="T16" fmla="*/ 189 w 674"/>
                <a:gd name="T17" fmla="*/ 123 h 425"/>
                <a:gd name="T18" fmla="*/ 202 w 674"/>
                <a:gd name="T19" fmla="*/ 128 h 425"/>
                <a:gd name="T20" fmla="*/ 226 w 674"/>
                <a:gd name="T21" fmla="*/ 117 h 425"/>
                <a:gd name="T22" fmla="*/ 264 w 674"/>
                <a:gd name="T23" fmla="*/ 99 h 425"/>
                <a:gd name="T24" fmla="*/ 262 w 674"/>
                <a:gd name="T25" fmla="*/ 69 h 425"/>
                <a:gd name="T26" fmla="*/ 265 w 674"/>
                <a:gd name="T27" fmla="*/ 57 h 425"/>
                <a:gd name="T28" fmla="*/ 241 w 674"/>
                <a:gd name="T29" fmla="*/ 46 h 425"/>
                <a:gd name="T30" fmla="*/ 222 w 674"/>
                <a:gd name="T31" fmla="*/ 46 h 425"/>
                <a:gd name="T32" fmla="*/ 195 w 674"/>
                <a:gd name="T33" fmla="*/ 40 h 425"/>
                <a:gd name="T34" fmla="*/ 183 w 674"/>
                <a:gd name="T35" fmla="*/ 27 h 425"/>
                <a:gd name="T36" fmla="*/ 168 w 674"/>
                <a:gd name="T37" fmla="*/ 27 h 425"/>
                <a:gd name="T38" fmla="*/ 136 w 674"/>
                <a:gd name="T39" fmla="*/ 27 h 425"/>
                <a:gd name="T40" fmla="*/ 80 w 674"/>
                <a:gd name="T41" fmla="*/ 0 h 425"/>
                <a:gd name="T42" fmla="*/ 68 w 674"/>
                <a:gd name="T43" fmla="*/ 4 h 425"/>
                <a:gd name="T44" fmla="*/ 34 w 674"/>
                <a:gd name="T45" fmla="*/ 4 h 425"/>
                <a:gd name="T46" fmla="*/ 38 w 674"/>
                <a:gd name="T47" fmla="*/ 13 h 425"/>
                <a:gd name="T48" fmla="*/ 54 w 674"/>
                <a:gd name="T49" fmla="*/ 17 h 425"/>
                <a:gd name="T50" fmla="*/ 36 w 674"/>
                <a:gd name="T51" fmla="*/ 27 h 425"/>
                <a:gd name="T52" fmla="*/ 36 w 674"/>
                <a:gd name="T53" fmla="*/ 38 h 425"/>
                <a:gd name="T54" fmla="*/ 46 w 674"/>
                <a:gd name="T55" fmla="*/ 50 h 425"/>
                <a:gd name="T56" fmla="*/ 59 w 674"/>
                <a:gd name="T57" fmla="*/ 76 h 425"/>
                <a:gd name="T58" fmla="*/ 50 w 674"/>
                <a:gd name="T59" fmla="*/ 80 h 425"/>
                <a:gd name="T60" fmla="*/ 7 w 674"/>
                <a:gd name="T61" fmla="*/ 95 h 425"/>
                <a:gd name="T62" fmla="*/ 5 w 674"/>
                <a:gd name="T63" fmla="*/ 106 h 425"/>
                <a:gd name="T64" fmla="*/ 14 w 674"/>
                <a:gd name="T65" fmla="*/ 121 h 4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74" h="425">
                  <a:moveTo>
                    <a:pt x="78" y="425"/>
                  </a:moveTo>
                  <a:lnTo>
                    <a:pt x="93" y="393"/>
                  </a:lnTo>
                  <a:lnTo>
                    <a:pt x="132" y="357"/>
                  </a:lnTo>
                  <a:lnTo>
                    <a:pt x="171" y="375"/>
                  </a:lnTo>
                  <a:lnTo>
                    <a:pt x="198" y="357"/>
                  </a:lnTo>
                  <a:lnTo>
                    <a:pt x="177" y="333"/>
                  </a:lnTo>
                  <a:lnTo>
                    <a:pt x="186" y="321"/>
                  </a:lnTo>
                  <a:lnTo>
                    <a:pt x="291" y="330"/>
                  </a:lnTo>
                  <a:lnTo>
                    <a:pt x="327" y="354"/>
                  </a:lnTo>
                  <a:lnTo>
                    <a:pt x="345" y="366"/>
                  </a:lnTo>
                  <a:lnTo>
                    <a:pt x="375" y="348"/>
                  </a:lnTo>
                  <a:lnTo>
                    <a:pt x="396" y="339"/>
                  </a:lnTo>
                  <a:lnTo>
                    <a:pt x="399" y="366"/>
                  </a:lnTo>
                  <a:lnTo>
                    <a:pt x="414" y="366"/>
                  </a:lnTo>
                  <a:lnTo>
                    <a:pt x="426" y="348"/>
                  </a:lnTo>
                  <a:lnTo>
                    <a:pt x="450" y="327"/>
                  </a:lnTo>
                  <a:lnTo>
                    <a:pt x="459" y="342"/>
                  </a:lnTo>
                  <a:lnTo>
                    <a:pt x="459" y="375"/>
                  </a:lnTo>
                  <a:lnTo>
                    <a:pt x="468" y="387"/>
                  </a:lnTo>
                  <a:lnTo>
                    <a:pt x="489" y="393"/>
                  </a:lnTo>
                  <a:lnTo>
                    <a:pt x="513" y="369"/>
                  </a:lnTo>
                  <a:lnTo>
                    <a:pt x="546" y="357"/>
                  </a:lnTo>
                  <a:lnTo>
                    <a:pt x="611" y="300"/>
                  </a:lnTo>
                  <a:lnTo>
                    <a:pt x="638" y="303"/>
                  </a:lnTo>
                  <a:lnTo>
                    <a:pt x="674" y="291"/>
                  </a:lnTo>
                  <a:lnTo>
                    <a:pt x="632" y="210"/>
                  </a:lnTo>
                  <a:lnTo>
                    <a:pt x="647" y="183"/>
                  </a:lnTo>
                  <a:lnTo>
                    <a:pt x="641" y="174"/>
                  </a:lnTo>
                  <a:lnTo>
                    <a:pt x="617" y="168"/>
                  </a:lnTo>
                  <a:lnTo>
                    <a:pt x="582" y="144"/>
                  </a:lnTo>
                  <a:lnTo>
                    <a:pt x="561" y="132"/>
                  </a:lnTo>
                  <a:lnTo>
                    <a:pt x="537" y="144"/>
                  </a:lnTo>
                  <a:lnTo>
                    <a:pt x="510" y="123"/>
                  </a:lnTo>
                  <a:lnTo>
                    <a:pt x="474" y="123"/>
                  </a:lnTo>
                  <a:lnTo>
                    <a:pt x="447" y="105"/>
                  </a:lnTo>
                  <a:lnTo>
                    <a:pt x="441" y="84"/>
                  </a:lnTo>
                  <a:lnTo>
                    <a:pt x="426" y="69"/>
                  </a:lnTo>
                  <a:lnTo>
                    <a:pt x="405" y="81"/>
                  </a:lnTo>
                  <a:lnTo>
                    <a:pt x="387" y="72"/>
                  </a:lnTo>
                  <a:lnTo>
                    <a:pt x="330" y="81"/>
                  </a:lnTo>
                  <a:lnTo>
                    <a:pt x="270" y="69"/>
                  </a:lnTo>
                  <a:lnTo>
                    <a:pt x="195" y="0"/>
                  </a:lnTo>
                  <a:lnTo>
                    <a:pt x="174" y="18"/>
                  </a:lnTo>
                  <a:lnTo>
                    <a:pt x="165" y="12"/>
                  </a:lnTo>
                  <a:lnTo>
                    <a:pt x="150" y="12"/>
                  </a:lnTo>
                  <a:lnTo>
                    <a:pt x="81" y="12"/>
                  </a:lnTo>
                  <a:lnTo>
                    <a:pt x="72" y="18"/>
                  </a:lnTo>
                  <a:lnTo>
                    <a:pt x="93" y="39"/>
                  </a:lnTo>
                  <a:lnTo>
                    <a:pt x="111" y="45"/>
                  </a:lnTo>
                  <a:lnTo>
                    <a:pt x="129" y="51"/>
                  </a:lnTo>
                  <a:lnTo>
                    <a:pt x="123" y="66"/>
                  </a:lnTo>
                  <a:lnTo>
                    <a:pt x="87" y="81"/>
                  </a:lnTo>
                  <a:lnTo>
                    <a:pt x="81" y="108"/>
                  </a:lnTo>
                  <a:lnTo>
                    <a:pt x="87" y="117"/>
                  </a:lnTo>
                  <a:lnTo>
                    <a:pt x="93" y="153"/>
                  </a:lnTo>
                  <a:lnTo>
                    <a:pt x="111" y="153"/>
                  </a:lnTo>
                  <a:lnTo>
                    <a:pt x="132" y="180"/>
                  </a:lnTo>
                  <a:lnTo>
                    <a:pt x="141" y="234"/>
                  </a:lnTo>
                  <a:lnTo>
                    <a:pt x="135" y="252"/>
                  </a:lnTo>
                  <a:lnTo>
                    <a:pt x="123" y="246"/>
                  </a:lnTo>
                  <a:lnTo>
                    <a:pt x="84" y="276"/>
                  </a:lnTo>
                  <a:lnTo>
                    <a:pt x="18" y="288"/>
                  </a:lnTo>
                  <a:lnTo>
                    <a:pt x="0" y="306"/>
                  </a:lnTo>
                  <a:lnTo>
                    <a:pt x="12" y="324"/>
                  </a:lnTo>
                  <a:lnTo>
                    <a:pt x="15" y="363"/>
                  </a:lnTo>
                  <a:lnTo>
                    <a:pt x="33" y="369"/>
                  </a:lnTo>
                  <a:lnTo>
                    <a:pt x="78" y="425"/>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4" name="Freeform 18"/>
            <p:cNvSpPr>
              <a:spLocks/>
            </p:cNvSpPr>
            <p:nvPr/>
          </p:nvSpPr>
          <p:spPr bwMode="auto">
            <a:xfrm>
              <a:off x="2911724" y="4022750"/>
              <a:ext cx="1524000" cy="1144587"/>
            </a:xfrm>
            <a:custGeom>
              <a:avLst/>
              <a:gdLst>
                <a:gd name="T0" fmla="*/ 175 w 1087"/>
                <a:gd name="T1" fmla="*/ 24 h 824"/>
                <a:gd name="T2" fmla="*/ 166 w 1087"/>
                <a:gd name="T3" fmla="*/ 8 h 824"/>
                <a:gd name="T4" fmla="*/ 195 w 1087"/>
                <a:gd name="T5" fmla="*/ 0 h 824"/>
                <a:gd name="T6" fmla="*/ 200 w 1087"/>
                <a:gd name="T7" fmla="*/ 15 h 824"/>
                <a:gd name="T8" fmla="*/ 226 w 1087"/>
                <a:gd name="T9" fmla="*/ 33 h 824"/>
                <a:gd name="T10" fmla="*/ 240 w 1087"/>
                <a:gd name="T11" fmla="*/ 33 h 824"/>
                <a:gd name="T12" fmla="*/ 250 w 1087"/>
                <a:gd name="T13" fmla="*/ 51 h 824"/>
                <a:gd name="T14" fmla="*/ 280 w 1087"/>
                <a:gd name="T15" fmla="*/ 49 h 824"/>
                <a:gd name="T16" fmla="*/ 290 w 1087"/>
                <a:gd name="T17" fmla="*/ 41 h 824"/>
                <a:gd name="T18" fmla="*/ 299 w 1087"/>
                <a:gd name="T19" fmla="*/ 49 h 824"/>
                <a:gd name="T20" fmla="*/ 331 w 1087"/>
                <a:gd name="T21" fmla="*/ 46 h 824"/>
                <a:gd name="T22" fmla="*/ 337 w 1087"/>
                <a:gd name="T23" fmla="*/ 51 h 824"/>
                <a:gd name="T24" fmla="*/ 367 w 1087"/>
                <a:gd name="T25" fmla="*/ 64 h 824"/>
                <a:gd name="T26" fmla="*/ 406 w 1087"/>
                <a:gd name="T27" fmla="*/ 67 h 824"/>
                <a:gd name="T28" fmla="*/ 425 w 1087"/>
                <a:gd name="T29" fmla="*/ 72 h 824"/>
                <a:gd name="T30" fmla="*/ 441 w 1087"/>
                <a:gd name="T31" fmla="*/ 80 h 824"/>
                <a:gd name="T32" fmla="*/ 443 w 1087"/>
                <a:gd name="T33" fmla="*/ 103 h 824"/>
                <a:gd name="T34" fmla="*/ 421 w 1087"/>
                <a:gd name="T35" fmla="*/ 111 h 824"/>
                <a:gd name="T36" fmla="*/ 386 w 1087"/>
                <a:gd name="T37" fmla="*/ 121 h 824"/>
                <a:gd name="T38" fmla="*/ 393 w 1087"/>
                <a:gd name="T39" fmla="*/ 140 h 824"/>
                <a:gd name="T40" fmla="*/ 419 w 1087"/>
                <a:gd name="T41" fmla="*/ 160 h 824"/>
                <a:gd name="T42" fmla="*/ 407 w 1087"/>
                <a:gd name="T43" fmla="*/ 192 h 824"/>
                <a:gd name="T44" fmla="*/ 386 w 1087"/>
                <a:gd name="T45" fmla="*/ 172 h 824"/>
                <a:gd name="T46" fmla="*/ 379 w 1087"/>
                <a:gd name="T47" fmla="*/ 163 h 824"/>
                <a:gd name="T48" fmla="*/ 356 w 1087"/>
                <a:gd name="T49" fmla="*/ 160 h 824"/>
                <a:gd name="T50" fmla="*/ 337 w 1087"/>
                <a:gd name="T51" fmla="*/ 173 h 824"/>
                <a:gd name="T52" fmla="*/ 323 w 1087"/>
                <a:gd name="T53" fmla="*/ 182 h 824"/>
                <a:gd name="T54" fmla="*/ 303 w 1087"/>
                <a:gd name="T55" fmla="*/ 179 h 824"/>
                <a:gd name="T56" fmla="*/ 290 w 1087"/>
                <a:gd name="T57" fmla="*/ 193 h 824"/>
                <a:gd name="T58" fmla="*/ 317 w 1087"/>
                <a:gd name="T59" fmla="*/ 208 h 824"/>
                <a:gd name="T60" fmla="*/ 280 w 1087"/>
                <a:gd name="T61" fmla="*/ 212 h 824"/>
                <a:gd name="T62" fmla="*/ 269 w 1087"/>
                <a:gd name="T63" fmla="*/ 202 h 824"/>
                <a:gd name="T64" fmla="*/ 245 w 1087"/>
                <a:gd name="T65" fmla="*/ 206 h 824"/>
                <a:gd name="T66" fmla="*/ 240 w 1087"/>
                <a:gd name="T67" fmla="*/ 191 h 824"/>
                <a:gd name="T68" fmla="*/ 228 w 1087"/>
                <a:gd name="T69" fmla="*/ 184 h 824"/>
                <a:gd name="T70" fmla="*/ 226 w 1087"/>
                <a:gd name="T71" fmla="*/ 193 h 824"/>
                <a:gd name="T72" fmla="*/ 211 w 1087"/>
                <a:gd name="T73" fmla="*/ 202 h 824"/>
                <a:gd name="T74" fmla="*/ 191 w 1087"/>
                <a:gd name="T75" fmla="*/ 231 h 824"/>
                <a:gd name="T76" fmla="*/ 183 w 1087"/>
                <a:gd name="T77" fmla="*/ 264 h 824"/>
                <a:gd name="T78" fmla="*/ 156 w 1087"/>
                <a:gd name="T79" fmla="*/ 269 h 824"/>
                <a:gd name="T80" fmla="*/ 115 w 1087"/>
                <a:gd name="T81" fmla="*/ 216 h 824"/>
                <a:gd name="T82" fmla="*/ 92 w 1087"/>
                <a:gd name="T83" fmla="*/ 207 h 824"/>
                <a:gd name="T84" fmla="*/ 93 w 1087"/>
                <a:gd name="T85" fmla="*/ 193 h 824"/>
                <a:gd name="T86" fmla="*/ 71 w 1087"/>
                <a:gd name="T87" fmla="*/ 193 h 824"/>
                <a:gd name="T88" fmla="*/ 54 w 1087"/>
                <a:gd name="T89" fmla="*/ 167 h 824"/>
                <a:gd name="T90" fmla="*/ 49 w 1087"/>
                <a:gd name="T91" fmla="*/ 118 h 824"/>
                <a:gd name="T92" fmla="*/ 48 w 1087"/>
                <a:gd name="T93" fmla="*/ 92 h 824"/>
                <a:gd name="T94" fmla="*/ 0 w 1087"/>
                <a:gd name="T95" fmla="*/ 46 h 824"/>
                <a:gd name="T96" fmla="*/ 7 w 1087"/>
                <a:gd name="T97" fmla="*/ 33 h 824"/>
                <a:gd name="T98" fmla="*/ 69 w 1087"/>
                <a:gd name="T99" fmla="*/ 33 h 824"/>
                <a:gd name="T100" fmla="*/ 91 w 1087"/>
                <a:gd name="T101" fmla="*/ 37 h 824"/>
                <a:gd name="T102" fmla="*/ 123 w 1087"/>
                <a:gd name="T103" fmla="*/ 51 h 824"/>
                <a:gd name="T104" fmla="*/ 127 w 1087"/>
                <a:gd name="T105" fmla="*/ 36 h 824"/>
                <a:gd name="T106" fmla="*/ 147 w 1087"/>
                <a:gd name="T107" fmla="*/ 38 h 824"/>
                <a:gd name="T108" fmla="*/ 167 w 1087"/>
                <a:gd name="T109" fmla="*/ 34 h 8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7" h="824">
                  <a:moveTo>
                    <a:pt x="410" y="102"/>
                  </a:moveTo>
                  <a:lnTo>
                    <a:pt x="425" y="72"/>
                  </a:lnTo>
                  <a:lnTo>
                    <a:pt x="410" y="54"/>
                  </a:lnTo>
                  <a:lnTo>
                    <a:pt x="407" y="24"/>
                  </a:lnTo>
                  <a:lnTo>
                    <a:pt x="464" y="0"/>
                  </a:lnTo>
                  <a:lnTo>
                    <a:pt x="476" y="0"/>
                  </a:lnTo>
                  <a:lnTo>
                    <a:pt x="485" y="21"/>
                  </a:lnTo>
                  <a:lnTo>
                    <a:pt x="488" y="48"/>
                  </a:lnTo>
                  <a:lnTo>
                    <a:pt x="515" y="66"/>
                  </a:lnTo>
                  <a:lnTo>
                    <a:pt x="551" y="102"/>
                  </a:lnTo>
                  <a:lnTo>
                    <a:pt x="572" y="90"/>
                  </a:lnTo>
                  <a:lnTo>
                    <a:pt x="587" y="102"/>
                  </a:lnTo>
                  <a:lnTo>
                    <a:pt x="590" y="138"/>
                  </a:lnTo>
                  <a:lnTo>
                    <a:pt x="614" y="156"/>
                  </a:lnTo>
                  <a:lnTo>
                    <a:pt x="674" y="159"/>
                  </a:lnTo>
                  <a:lnTo>
                    <a:pt x="683" y="150"/>
                  </a:lnTo>
                  <a:lnTo>
                    <a:pt x="680" y="132"/>
                  </a:lnTo>
                  <a:lnTo>
                    <a:pt x="713" y="123"/>
                  </a:lnTo>
                  <a:lnTo>
                    <a:pt x="731" y="129"/>
                  </a:lnTo>
                  <a:lnTo>
                    <a:pt x="734" y="150"/>
                  </a:lnTo>
                  <a:lnTo>
                    <a:pt x="749" y="150"/>
                  </a:lnTo>
                  <a:lnTo>
                    <a:pt x="808" y="138"/>
                  </a:lnTo>
                  <a:lnTo>
                    <a:pt x="820" y="144"/>
                  </a:lnTo>
                  <a:lnTo>
                    <a:pt x="823" y="159"/>
                  </a:lnTo>
                  <a:lnTo>
                    <a:pt x="847" y="168"/>
                  </a:lnTo>
                  <a:lnTo>
                    <a:pt x="898" y="192"/>
                  </a:lnTo>
                  <a:lnTo>
                    <a:pt x="928" y="180"/>
                  </a:lnTo>
                  <a:lnTo>
                    <a:pt x="994" y="204"/>
                  </a:lnTo>
                  <a:lnTo>
                    <a:pt x="1006" y="222"/>
                  </a:lnTo>
                  <a:lnTo>
                    <a:pt x="1039" y="216"/>
                  </a:lnTo>
                  <a:lnTo>
                    <a:pt x="1057" y="216"/>
                  </a:lnTo>
                  <a:lnTo>
                    <a:pt x="1078" y="243"/>
                  </a:lnTo>
                  <a:lnTo>
                    <a:pt x="1087" y="297"/>
                  </a:lnTo>
                  <a:lnTo>
                    <a:pt x="1081" y="315"/>
                  </a:lnTo>
                  <a:lnTo>
                    <a:pt x="1069" y="309"/>
                  </a:lnTo>
                  <a:lnTo>
                    <a:pt x="1030" y="339"/>
                  </a:lnTo>
                  <a:lnTo>
                    <a:pt x="964" y="351"/>
                  </a:lnTo>
                  <a:lnTo>
                    <a:pt x="946" y="369"/>
                  </a:lnTo>
                  <a:lnTo>
                    <a:pt x="958" y="387"/>
                  </a:lnTo>
                  <a:lnTo>
                    <a:pt x="961" y="426"/>
                  </a:lnTo>
                  <a:lnTo>
                    <a:pt x="979" y="432"/>
                  </a:lnTo>
                  <a:lnTo>
                    <a:pt x="1024" y="488"/>
                  </a:lnTo>
                  <a:lnTo>
                    <a:pt x="1027" y="563"/>
                  </a:lnTo>
                  <a:lnTo>
                    <a:pt x="997" y="584"/>
                  </a:lnTo>
                  <a:lnTo>
                    <a:pt x="970" y="557"/>
                  </a:lnTo>
                  <a:lnTo>
                    <a:pt x="946" y="524"/>
                  </a:lnTo>
                  <a:lnTo>
                    <a:pt x="943" y="503"/>
                  </a:lnTo>
                  <a:lnTo>
                    <a:pt x="925" y="497"/>
                  </a:lnTo>
                  <a:lnTo>
                    <a:pt x="904" y="506"/>
                  </a:lnTo>
                  <a:lnTo>
                    <a:pt x="871" y="488"/>
                  </a:lnTo>
                  <a:lnTo>
                    <a:pt x="853" y="527"/>
                  </a:lnTo>
                  <a:lnTo>
                    <a:pt x="823" y="530"/>
                  </a:lnTo>
                  <a:lnTo>
                    <a:pt x="802" y="563"/>
                  </a:lnTo>
                  <a:lnTo>
                    <a:pt x="791" y="554"/>
                  </a:lnTo>
                  <a:lnTo>
                    <a:pt x="770" y="563"/>
                  </a:lnTo>
                  <a:lnTo>
                    <a:pt x="740" y="545"/>
                  </a:lnTo>
                  <a:lnTo>
                    <a:pt x="713" y="572"/>
                  </a:lnTo>
                  <a:lnTo>
                    <a:pt x="713" y="587"/>
                  </a:lnTo>
                  <a:lnTo>
                    <a:pt x="764" y="614"/>
                  </a:lnTo>
                  <a:lnTo>
                    <a:pt x="776" y="635"/>
                  </a:lnTo>
                  <a:lnTo>
                    <a:pt x="740" y="647"/>
                  </a:lnTo>
                  <a:lnTo>
                    <a:pt x="683" y="647"/>
                  </a:lnTo>
                  <a:lnTo>
                    <a:pt x="677" y="623"/>
                  </a:lnTo>
                  <a:lnTo>
                    <a:pt x="656" y="617"/>
                  </a:lnTo>
                  <a:lnTo>
                    <a:pt x="623" y="635"/>
                  </a:lnTo>
                  <a:lnTo>
                    <a:pt x="599" y="626"/>
                  </a:lnTo>
                  <a:lnTo>
                    <a:pt x="599" y="596"/>
                  </a:lnTo>
                  <a:lnTo>
                    <a:pt x="587" y="581"/>
                  </a:lnTo>
                  <a:lnTo>
                    <a:pt x="587" y="566"/>
                  </a:lnTo>
                  <a:lnTo>
                    <a:pt x="554" y="560"/>
                  </a:lnTo>
                  <a:lnTo>
                    <a:pt x="545" y="569"/>
                  </a:lnTo>
                  <a:lnTo>
                    <a:pt x="551" y="590"/>
                  </a:lnTo>
                  <a:lnTo>
                    <a:pt x="524" y="602"/>
                  </a:lnTo>
                  <a:lnTo>
                    <a:pt x="518" y="617"/>
                  </a:lnTo>
                  <a:lnTo>
                    <a:pt x="524" y="638"/>
                  </a:lnTo>
                  <a:lnTo>
                    <a:pt x="467" y="704"/>
                  </a:lnTo>
                  <a:lnTo>
                    <a:pt x="476" y="782"/>
                  </a:lnTo>
                  <a:lnTo>
                    <a:pt x="449" y="806"/>
                  </a:lnTo>
                  <a:lnTo>
                    <a:pt x="437" y="791"/>
                  </a:lnTo>
                  <a:lnTo>
                    <a:pt x="383" y="824"/>
                  </a:lnTo>
                  <a:lnTo>
                    <a:pt x="362" y="812"/>
                  </a:lnTo>
                  <a:lnTo>
                    <a:pt x="281" y="659"/>
                  </a:lnTo>
                  <a:lnTo>
                    <a:pt x="251" y="635"/>
                  </a:lnTo>
                  <a:lnTo>
                    <a:pt x="224" y="629"/>
                  </a:lnTo>
                  <a:lnTo>
                    <a:pt x="212" y="608"/>
                  </a:lnTo>
                  <a:lnTo>
                    <a:pt x="227" y="587"/>
                  </a:lnTo>
                  <a:lnTo>
                    <a:pt x="206" y="569"/>
                  </a:lnTo>
                  <a:lnTo>
                    <a:pt x="176" y="590"/>
                  </a:lnTo>
                  <a:lnTo>
                    <a:pt x="149" y="596"/>
                  </a:lnTo>
                  <a:lnTo>
                    <a:pt x="131" y="512"/>
                  </a:lnTo>
                  <a:lnTo>
                    <a:pt x="128" y="494"/>
                  </a:lnTo>
                  <a:lnTo>
                    <a:pt x="122" y="363"/>
                  </a:lnTo>
                  <a:lnTo>
                    <a:pt x="98" y="297"/>
                  </a:lnTo>
                  <a:lnTo>
                    <a:pt x="116" y="282"/>
                  </a:lnTo>
                  <a:lnTo>
                    <a:pt x="65" y="186"/>
                  </a:lnTo>
                  <a:lnTo>
                    <a:pt x="0" y="138"/>
                  </a:lnTo>
                  <a:lnTo>
                    <a:pt x="9" y="108"/>
                  </a:lnTo>
                  <a:lnTo>
                    <a:pt x="18" y="99"/>
                  </a:lnTo>
                  <a:lnTo>
                    <a:pt x="110" y="84"/>
                  </a:lnTo>
                  <a:lnTo>
                    <a:pt x="170" y="102"/>
                  </a:lnTo>
                  <a:lnTo>
                    <a:pt x="206" y="93"/>
                  </a:lnTo>
                  <a:lnTo>
                    <a:pt x="221" y="114"/>
                  </a:lnTo>
                  <a:lnTo>
                    <a:pt x="266" y="159"/>
                  </a:lnTo>
                  <a:lnTo>
                    <a:pt x="302" y="153"/>
                  </a:lnTo>
                  <a:lnTo>
                    <a:pt x="302" y="126"/>
                  </a:lnTo>
                  <a:lnTo>
                    <a:pt x="311" y="108"/>
                  </a:lnTo>
                  <a:lnTo>
                    <a:pt x="347" y="93"/>
                  </a:lnTo>
                  <a:lnTo>
                    <a:pt x="362" y="117"/>
                  </a:lnTo>
                  <a:lnTo>
                    <a:pt x="383" y="102"/>
                  </a:lnTo>
                  <a:lnTo>
                    <a:pt x="410" y="105"/>
                  </a:lnTo>
                  <a:lnTo>
                    <a:pt x="410" y="10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5" name="Freeform 19"/>
            <p:cNvSpPr>
              <a:spLocks/>
            </p:cNvSpPr>
            <p:nvPr/>
          </p:nvSpPr>
          <p:spPr bwMode="auto">
            <a:xfrm>
              <a:off x="687636" y="3590950"/>
              <a:ext cx="2403475" cy="1289050"/>
            </a:xfrm>
            <a:custGeom>
              <a:avLst/>
              <a:gdLst>
                <a:gd name="T0" fmla="*/ 427 w 1713"/>
                <a:gd name="T1" fmla="*/ 290 h 928"/>
                <a:gd name="T2" fmla="*/ 439 w 1713"/>
                <a:gd name="T3" fmla="*/ 301 h 928"/>
                <a:gd name="T4" fmla="*/ 475 w 1713"/>
                <a:gd name="T5" fmla="*/ 290 h 928"/>
                <a:gd name="T6" fmla="*/ 497 w 1713"/>
                <a:gd name="T7" fmla="*/ 276 h 928"/>
                <a:gd name="T8" fmla="*/ 524 w 1713"/>
                <a:gd name="T9" fmla="*/ 269 h 928"/>
                <a:gd name="T10" fmla="*/ 553 w 1713"/>
                <a:gd name="T11" fmla="*/ 262 h 928"/>
                <a:gd name="T12" fmla="*/ 597 w 1713"/>
                <a:gd name="T13" fmla="*/ 254 h 928"/>
                <a:gd name="T14" fmla="*/ 598 w 1713"/>
                <a:gd name="T15" fmla="*/ 269 h 928"/>
                <a:gd name="T16" fmla="*/ 613 w 1713"/>
                <a:gd name="T17" fmla="*/ 270 h 928"/>
                <a:gd name="T18" fmla="*/ 604 w 1713"/>
                <a:gd name="T19" fmla="*/ 288 h 928"/>
                <a:gd name="T20" fmla="*/ 613 w 1713"/>
                <a:gd name="T21" fmla="*/ 290 h 928"/>
                <a:gd name="T22" fmla="*/ 651 w 1713"/>
                <a:gd name="T23" fmla="*/ 288 h 928"/>
                <a:gd name="T24" fmla="*/ 675 w 1713"/>
                <a:gd name="T25" fmla="*/ 294 h 928"/>
                <a:gd name="T26" fmla="*/ 684 w 1713"/>
                <a:gd name="T27" fmla="*/ 299 h 928"/>
                <a:gd name="T28" fmla="*/ 687 w 1713"/>
                <a:gd name="T29" fmla="*/ 276 h 928"/>
                <a:gd name="T30" fmla="*/ 703 w 1713"/>
                <a:gd name="T31" fmla="*/ 263 h 928"/>
                <a:gd name="T32" fmla="*/ 692 w 1713"/>
                <a:gd name="T33" fmla="*/ 200 h 928"/>
                <a:gd name="T34" fmla="*/ 677 w 1713"/>
                <a:gd name="T35" fmla="*/ 163 h 928"/>
                <a:gd name="T36" fmla="*/ 643 w 1713"/>
                <a:gd name="T37" fmla="*/ 150 h 928"/>
                <a:gd name="T38" fmla="*/ 622 w 1713"/>
                <a:gd name="T39" fmla="*/ 184 h 928"/>
                <a:gd name="T40" fmla="*/ 582 w 1713"/>
                <a:gd name="T41" fmla="*/ 166 h 928"/>
                <a:gd name="T42" fmla="*/ 506 w 1713"/>
                <a:gd name="T43" fmla="*/ 146 h 928"/>
                <a:gd name="T44" fmla="*/ 477 w 1713"/>
                <a:gd name="T45" fmla="*/ 140 h 928"/>
                <a:gd name="T46" fmla="*/ 417 w 1713"/>
                <a:gd name="T47" fmla="*/ 120 h 928"/>
                <a:gd name="T48" fmla="*/ 388 w 1713"/>
                <a:gd name="T49" fmla="*/ 64 h 928"/>
                <a:gd name="T50" fmla="*/ 400 w 1713"/>
                <a:gd name="T51" fmla="*/ 48 h 928"/>
                <a:gd name="T52" fmla="*/ 398 w 1713"/>
                <a:gd name="T53" fmla="*/ 24 h 928"/>
                <a:gd name="T54" fmla="*/ 402 w 1713"/>
                <a:gd name="T55" fmla="*/ 13 h 928"/>
                <a:gd name="T56" fmla="*/ 349 w 1713"/>
                <a:gd name="T57" fmla="*/ 0 h 928"/>
                <a:gd name="T58" fmla="*/ 312 w 1713"/>
                <a:gd name="T59" fmla="*/ 4 h 928"/>
                <a:gd name="T60" fmla="*/ 265 w 1713"/>
                <a:gd name="T61" fmla="*/ 17 h 928"/>
                <a:gd name="T62" fmla="*/ 219 w 1713"/>
                <a:gd name="T63" fmla="*/ 21 h 928"/>
                <a:gd name="T64" fmla="*/ 187 w 1713"/>
                <a:gd name="T65" fmla="*/ 8 h 928"/>
                <a:gd name="T66" fmla="*/ 135 w 1713"/>
                <a:gd name="T67" fmla="*/ 15 h 928"/>
                <a:gd name="T68" fmla="*/ 115 w 1713"/>
                <a:gd name="T69" fmla="*/ 6 h 928"/>
                <a:gd name="T70" fmla="*/ 76 w 1713"/>
                <a:gd name="T71" fmla="*/ 10 h 928"/>
                <a:gd name="T72" fmla="*/ 59 w 1713"/>
                <a:gd name="T73" fmla="*/ 30 h 928"/>
                <a:gd name="T74" fmla="*/ 47 w 1713"/>
                <a:gd name="T75" fmla="*/ 39 h 928"/>
                <a:gd name="T76" fmla="*/ 35 w 1713"/>
                <a:gd name="T77" fmla="*/ 46 h 928"/>
                <a:gd name="T78" fmla="*/ 28 w 1713"/>
                <a:gd name="T79" fmla="*/ 52 h 928"/>
                <a:gd name="T80" fmla="*/ 38 w 1713"/>
                <a:gd name="T81" fmla="*/ 71 h 928"/>
                <a:gd name="T82" fmla="*/ 36 w 1713"/>
                <a:gd name="T83" fmla="*/ 89 h 928"/>
                <a:gd name="T84" fmla="*/ 12 w 1713"/>
                <a:gd name="T85" fmla="*/ 81 h 928"/>
                <a:gd name="T86" fmla="*/ 0 w 1713"/>
                <a:gd name="T87" fmla="*/ 89 h 928"/>
                <a:gd name="T88" fmla="*/ 5 w 1713"/>
                <a:gd name="T89" fmla="*/ 105 h 928"/>
                <a:gd name="T90" fmla="*/ 5 w 1713"/>
                <a:gd name="T91" fmla="*/ 120 h 928"/>
                <a:gd name="T92" fmla="*/ 16 w 1713"/>
                <a:gd name="T93" fmla="*/ 126 h 928"/>
                <a:gd name="T94" fmla="*/ 47 w 1713"/>
                <a:gd name="T95" fmla="*/ 149 h 928"/>
                <a:gd name="T96" fmla="*/ 65 w 1713"/>
                <a:gd name="T97" fmla="*/ 172 h 928"/>
                <a:gd name="T98" fmla="*/ 78 w 1713"/>
                <a:gd name="T99" fmla="*/ 179 h 928"/>
                <a:gd name="T100" fmla="*/ 100 w 1713"/>
                <a:gd name="T101" fmla="*/ 178 h 928"/>
                <a:gd name="T102" fmla="*/ 150 w 1713"/>
                <a:gd name="T103" fmla="*/ 222 h 928"/>
                <a:gd name="T104" fmla="*/ 165 w 1713"/>
                <a:gd name="T105" fmla="*/ 216 h 928"/>
                <a:gd name="T106" fmla="*/ 168 w 1713"/>
                <a:gd name="T107" fmla="*/ 233 h 928"/>
                <a:gd name="T108" fmla="*/ 199 w 1713"/>
                <a:gd name="T109" fmla="*/ 246 h 928"/>
                <a:gd name="T110" fmla="*/ 224 w 1713"/>
                <a:gd name="T111" fmla="*/ 265 h 928"/>
                <a:gd name="T112" fmla="*/ 230 w 1713"/>
                <a:gd name="T113" fmla="*/ 275 h 928"/>
                <a:gd name="T114" fmla="*/ 258 w 1713"/>
                <a:gd name="T115" fmla="*/ 275 h 928"/>
                <a:gd name="T116" fmla="*/ 308 w 1713"/>
                <a:gd name="T117" fmla="*/ 281 h 928"/>
                <a:gd name="T118" fmla="*/ 329 w 1713"/>
                <a:gd name="T119" fmla="*/ 286 h 928"/>
                <a:gd name="T120" fmla="*/ 329 w 1713"/>
                <a:gd name="T121" fmla="*/ 304 h 928"/>
                <a:gd name="T122" fmla="*/ 372 w 1713"/>
                <a:gd name="T123" fmla="*/ 277 h 928"/>
                <a:gd name="T124" fmla="*/ 406 w 1713"/>
                <a:gd name="T125" fmla="*/ 288 h 9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713" h="928">
                  <a:moveTo>
                    <a:pt x="988" y="880"/>
                  </a:moveTo>
                  <a:lnTo>
                    <a:pt x="1042" y="886"/>
                  </a:lnTo>
                  <a:lnTo>
                    <a:pt x="1060" y="910"/>
                  </a:lnTo>
                  <a:lnTo>
                    <a:pt x="1069" y="916"/>
                  </a:lnTo>
                  <a:lnTo>
                    <a:pt x="1150" y="901"/>
                  </a:lnTo>
                  <a:lnTo>
                    <a:pt x="1156" y="886"/>
                  </a:lnTo>
                  <a:lnTo>
                    <a:pt x="1171" y="877"/>
                  </a:lnTo>
                  <a:lnTo>
                    <a:pt x="1210" y="844"/>
                  </a:lnTo>
                  <a:lnTo>
                    <a:pt x="1246" y="841"/>
                  </a:lnTo>
                  <a:lnTo>
                    <a:pt x="1276" y="820"/>
                  </a:lnTo>
                  <a:lnTo>
                    <a:pt x="1339" y="788"/>
                  </a:lnTo>
                  <a:lnTo>
                    <a:pt x="1345" y="799"/>
                  </a:lnTo>
                  <a:lnTo>
                    <a:pt x="1390" y="814"/>
                  </a:lnTo>
                  <a:lnTo>
                    <a:pt x="1456" y="779"/>
                  </a:lnTo>
                  <a:lnTo>
                    <a:pt x="1477" y="794"/>
                  </a:lnTo>
                  <a:lnTo>
                    <a:pt x="1459" y="820"/>
                  </a:lnTo>
                  <a:lnTo>
                    <a:pt x="1465" y="826"/>
                  </a:lnTo>
                  <a:lnTo>
                    <a:pt x="1492" y="826"/>
                  </a:lnTo>
                  <a:lnTo>
                    <a:pt x="1495" y="838"/>
                  </a:lnTo>
                  <a:lnTo>
                    <a:pt x="1471" y="880"/>
                  </a:lnTo>
                  <a:lnTo>
                    <a:pt x="1480" y="886"/>
                  </a:lnTo>
                  <a:lnTo>
                    <a:pt x="1492" y="886"/>
                  </a:lnTo>
                  <a:lnTo>
                    <a:pt x="1558" y="904"/>
                  </a:lnTo>
                  <a:lnTo>
                    <a:pt x="1588" y="880"/>
                  </a:lnTo>
                  <a:lnTo>
                    <a:pt x="1630" y="913"/>
                  </a:lnTo>
                  <a:lnTo>
                    <a:pt x="1644" y="898"/>
                  </a:lnTo>
                  <a:lnTo>
                    <a:pt x="1656" y="910"/>
                  </a:lnTo>
                  <a:lnTo>
                    <a:pt x="1668" y="910"/>
                  </a:lnTo>
                  <a:lnTo>
                    <a:pt x="1677" y="898"/>
                  </a:lnTo>
                  <a:lnTo>
                    <a:pt x="1674" y="844"/>
                  </a:lnTo>
                  <a:lnTo>
                    <a:pt x="1683" y="838"/>
                  </a:lnTo>
                  <a:lnTo>
                    <a:pt x="1713" y="805"/>
                  </a:lnTo>
                  <a:lnTo>
                    <a:pt x="1707" y="674"/>
                  </a:lnTo>
                  <a:lnTo>
                    <a:pt x="1683" y="608"/>
                  </a:lnTo>
                  <a:lnTo>
                    <a:pt x="1701" y="593"/>
                  </a:lnTo>
                  <a:lnTo>
                    <a:pt x="1650" y="497"/>
                  </a:lnTo>
                  <a:lnTo>
                    <a:pt x="1585" y="449"/>
                  </a:lnTo>
                  <a:lnTo>
                    <a:pt x="1567" y="461"/>
                  </a:lnTo>
                  <a:lnTo>
                    <a:pt x="1570" y="488"/>
                  </a:lnTo>
                  <a:lnTo>
                    <a:pt x="1516" y="560"/>
                  </a:lnTo>
                  <a:lnTo>
                    <a:pt x="1423" y="542"/>
                  </a:lnTo>
                  <a:lnTo>
                    <a:pt x="1417" y="506"/>
                  </a:lnTo>
                  <a:lnTo>
                    <a:pt x="1360" y="461"/>
                  </a:lnTo>
                  <a:lnTo>
                    <a:pt x="1234" y="443"/>
                  </a:lnTo>
                  <a:lnTo>
                    <a:pt x="1180" y="431"/>
                  </a:lnTo>
                  <a:lnTo>
                    <a:pt x="1162" y="431"/>
                  </a:lnTo>
                  <a:lnTo>
                    <a:pt x="1114" y="392"/>
                  </a:lnTo>
                  <a:lnTo>
                    <a:pt x="1015" y="368"/>
                  </a:lnTo>
                  <a:lnTo>
                    <a:pt x="946" y="236"/>
                  </a:lnTo>
                  <a:lnTo>
                    <a:pt x="946" y="200"/>
                  </a:lnTo>
                  <a:lnTo>
                    <a:pt x="973" y="188"/>
                  </a:lnTo>
                  <a:lnTo>
                    <a:pt x="973" y="146"/>
                  </a:lnTo>
                  <a:lnTo>
                    <a:pt x="991" y="95"/>
                  </a:lnTo>
                  <a:lnTo>
                    <a:pt x="970" y="74"/>
                  </a:lnTo>
                  <a:lnTo>
                    <a:pt x="1000" y="48"/>
                  </a:lnTo>
                  <a:lnTo>
                    <a:pt x="982" y="39"/>
                  </a:lnTo>
                  <a:lnTo>
                    <a:pt x="934" y="39"/>
                  </a:lnTo>
                  <a:lnTo>
                    <a:pt x="854" y="0"/>
                  </a:lnTo>
                  <a:lnTo>
                    <a:pt x="803" y="0"/>
                  </a:lnTo>
                  <a:lnTo>
                    <a:pt x="761" y="12"/>
                  </a:lnTo>
                  <a:lnTo>
                    <a:pt x="716" y="12"/>
                  </a:lnTo>
                  <a:lnTo>
                    <a:pt x="644" y="51"/>
                  </a:lnTo>
                  <a:lnTo>
                    <a:pt x="587" y="45"/>
                  </a:lnTo>
                  <a:lnTo>
                    <a:pt x="533" y="65"/>
                  </a:lnTo>
                  <a:lnTo>
                    <a:pt x="485" y="48"/>
                  </a:lnTo>
                  <a:lnTo>
                    <a:pt x="455" y="24"/>
                  </a:lnTo>
                  <a:lnTo>
                    <a:pt x="380" y="12"/>
                  </a:lnTo>
                  <a:lnTo>
                    <a:pt x="329" y="48"/>
                  </a:lnTo>
                  <a:lnTo>
                    <a:pt x="302" y="36"/>
                  </a:lnTo>
                  <a:lnTo>
                    <a:pt x="281" y="18"/>
                  </a:lnTo>
                  <a:lnTo>
                    <a:pt x="224" y="3"/>
                  </a:lnTo>
                  <a:lnTo>
                    <a:pt x="185" y="30"/>
                  </a:lnTo>
                  <a:lnTo>
                    <a:pt x="170" y="71"/>
                  </a:lnTo>
                  <a:lnTo>
                    <a:pt x="141" y="89"/>
                  </a:lnTo>
                  <a:lnTo>
                    <a:pt x="135" y="113"/>
                  </a:lnTo>
                  <a:lnTo>
                    <a:pt x="114" y="119"/>
                  </a:lnTo>
                  <a:lnTo>
                    <a:pt x="93" y="119"/>
                  </a:lnTo>
                  <a:lnTo>
                    <a:pt x="84" y="137"/>
                  </a:lnTo>
                  <a:lnTo>
                    <a:pt x="78" y="161"/>
                  </a:lnTo>
                  <a:lnTo>
                    <a:pt x="69" y="161"/>
                  </a:lnTo>
                  <a:lnTo>
                    <a:pt x="66" y="188"/>
                  </a:lnTo>
                  <a:lnTo>
                    <a:pt x="93" y="215"/>
                  </a:lnTo>
                  <a:lnTo>
                    <a:pt x="96" y="254"/>
                  </a:lnTo>
                  <a:lnTo>
                    <a:pt x="87" y="269"/>
                  </a:lnTo>
                  <a:lnTo>
                    <a:pt x="48" y="272"/>
                  </a:lnTo>
                  <a:lnTo>
                    <a:pt x="27" y="251"/>
                  </a:lnTo>
                  <a:lnTo>
                    <a:pt x="6" y="254"/>
                  </a:lnTo>
                  <a:lnTo>
                    <a:pt x="0" y="272"/>
                  </a:lnTo>
                  <a:lnTo>
                    <a:pt x="12" y="299"/>
                  </a:lnTo>
                  <a:lnTo>
                    <a:pt x="15" y="320"/>
                  </a:lnTo>
                  <a:lnTo>
                    <a:pt x="15" y="347"/>
                  </a:lnTo>
                  <a:lnTo>
                    <a:pt x="9" y="368"/>
                  </a:lnTo>
                  <a:lnTo>
                    <a:pt x="12" y="383"/>
                  </a:lnTo>
                  <a:lnTo>
                    <a:pt x="39" y="386"/>
                  </a:lnTo>
                  <a:lnTo>
                    <a:pt x="54" y="410"/>
                  </a:lnTo>
                  <a:lnTo>
                    <a:pt x="114" y="458"/>
                  </a:lnTo>
                  <a:lnTo>
                    <a:pt x="114" y="473"/>
                  </a:lnTo>
                  <a:lnTo>
                    <a:pt x="158" y="524"/>
                  </a:lnTo>
                  <a:lnTo>
                    <a:pt x="173" y="542"/>
                  </a:lnTo>
                  <a:lnTo>
                    <a:pt x="188" y="545"/>
                  </a:lnTo>
                  <a:lnTo>
                    <a:pt x="215" y="518"/>
                  </a:lnTo>
                  <a:lnTo>
                    <a:pt x="242" y="542"/>
                  </a:lnTo>
                  <a:lnTo>
                    <a:pt x="344" y="629"/>
                  </a:lnTo>
                  <a:lnTo>
                    <a:pt x="365" y="677"/>
                  </a:lnTo>
                  <a:lnTo>
                    <a:pt x="386" y="677"/>
                  </a:lnTo>
                  <a:lnTo>
                    <a:pt x="401" y="662"/>
                  </a:lnTo>
                  <a:lnTo>
                    <a:pt x="410" y="674"/>
                  </a:lnTo>
                  <a:lnTo>
                    <a:pt x="410" y="713"/>
                  </a:lnTo>
                  <a:lnTo>
                    <a:pt x="473" y="749"/>
                  </a:lnTo>
                  <a:lnTo>
                    <a:pt x="485" y="746"/>
                  </a:lnTo>
                  <a:lnTo>
                    <a:pt x="497" y="779"/>
                  </a:lnTo>
                  <a:lnTo>
                    <a:pt x="548" y="808"/>
                  </a:lnTo>
                  <a:lnTo>
                    <a:pt x="551" y="829"/>
                  </a:lnTo>
                  <a:lnTo>
                    <a:pt x="560" y="835"/>
                  </a:lnTo>
                  <a:lnTo>
                    <a:pt x="605" y="835"/>
                  </a:lnTo>
                  <a:lnTo>
                    <a:pt x="629" y="835"/>
                  </a:lnTo>
                  <a:lnTo>
                    <a:pt x="665" y="862"/>
                  </a:lnTo>
                  <a:lnTo>
                    <a:pt x="749" y="859"/>
                  </a:lnTo>
                  <a:lnTo>
                    <a:pt x="791" y="856"/>
                  </a:lnTo>
                  <a:lnTo>
                    <a:pt x="803" y="874"/>
                  </a:lnTo>
                  <a:lnTo>
                    <a:pt x="794" y="913"/>
                  </a:lnTo>
                  <a:lnTo>
                    <a:pt x="803" y="928"/>
                  </a:lnTo>
                  <a:lnTo>
                    <a:pt x="851" y="889"/>
                  </a:lnTo>
                  <a:lnTo>
                    <a:pt x="907" y="847"/>
                  </a:lnTo>
                  <a:lnTo>
                    <a:pt x="946" y="856"/>
                  </a:lnTo>
                  <a:lnTo>
                    <a:pt x="988" y="880"/>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6" name="Freeform 20"/>
            <p:cNvSpPr>
              <a:spLocks/>
            </p:cNvSpPr>
            <p:nvPr/>
          </p:nvSpPr>
          <p:spPr bwMode="auto">
            <a:xfrm>
              <a:off x="2013199" y="3267100"/>
              <a:ext cx="1552575" cy="1101725"/>
            </a:xfrm>
            <a:custGeom>
              <a:avLst/>
              <a:gdLst>
                <a:gd name="T0" fmla="*/ 37 w 1106"/>
                <a:gd name="T1" fmla="*/ 97 h 794"/>
                <a:gd name="T2" fmla="*/ 59 w 1106"/>
                <a:gd name="T3" fmla="*/ 87 h 794"/>
                <a:gd name="T4" fmla="*/ 49 w 1106"/>
                <a:gd name="T5" fmla="*/ 80 h 794"/>
                <a:gd name="T6" fmla="*/ 63 w 1106"/>
                <a:gd name="T7" fmla="*/ 72 h 794"/>
                <a:gd name="T8" fmla="*/ 45 w 1106"/>
                <a:gd name="T9" fmla="*/ 44 h 794"/>
                <a:gd name="T10" fmla="*/ 57 w 1106"/>
                <a:gd name="T11" fmla="*/ 17 h 794"/>
                <a:gd name="T12" fmla="*/ 148 w 1106"/>
                <a:gd name="T13" fmla="*/ 0 h 794"/>
                <a:gd name="T14" fmla="*/ 205 w 1106"/>
                <a:gd name="T15" fmla="*/ 10 h 794"/>
                <a:gd name="T16" fmla="*/ 235 w 1106"/>
                <a:gd name="T17" fmla="*/ 24 h 794"/>
                <a:gd name="T18" fmla="*/ 267 w 1106"/>
                <a:gd name="T19" fmla="*/ 15 h 794"/>
                <a:gd name="T20" fmla="*/ 307 w 1106"/>
                <a:gd name="T21" fmla="*/ 12 h 794"/>
                <a:gd name="T22" fmla="*/ 357 w 1106"/>
                <a:gd name="T23" fmla="*/ 22 h 794"/>
                <a:gd name="T24" fmla="*/ 390 w 1106"/>
                <a:gd name="T25" fmla="*/ 51 h 794"/>
                <a:gd name="T26" fmla="*/ 419 w 1106"/>
                <a:gd name="T27" fmla="*/ 60 h 794"/>
                <a:gd name="T28" fmla="*/ 447 w 1106"/>
                <a:gd name="T29" fmla="*/ 99 h 794"/>
                <a:gd name="T30" fmla="*/ 452 w 1106"/>
                <a:gd name="T31" fmla="*/ 128 h 794"/>
                <a:gd name="T32" fmla="*/ 437 w 1106"/>
                <a:gd name="T33" fmla="*/ 148 h 794"/>
                <a:gd name="T34" fmla="*/ 419 w 1106"/>
                <a:gd name="T35" fmla="*/ 159 h 794"/>
                <a:gd name="T36" fmla="*/ 411 w 1106"/>
                <a:gd name="T37" fmla="*/ 178 h 794"/>
                <a:gd name="T38" fmla="*/ 392 w 1106"/>
                <a:gd name="T39" fmla="*/ 168 h 794"/>
                <a:gd name="T40" fmla="*/ 393 w 1106"/>
                <a:gd name="T41" fmla="*/ 184 h 794"/>
                <a:gd name="T42" fmla="*/ 424 w 1106"/>
                <a:gd name="T43" fmla="*/ 196 h 794"/>
                <a:gd name="T44" fmla="*/ 438 w 1106"/>
                <a:gd name="T45" fmla="*/ 202 h 794"/>
                <a:gd name="T46" fmla="*/ 432 w 1106"/>
                <a:gd name="T47" fmla="*/ 213 h 794"/>
                <a:gd name="T48" fmla="*/ 411 w 1106"/>
                <a:gd name="T49" fmla="*/ 216 h 794"/>
                <a:gd name="T50" fmla="*/ 390 w 1106"/>
                <a:gd name="T51" fmla="*/ 214 h 794"/>
                <a:gd name="T52" fmla="*/ 388 w 1106"/>
                <a:gd name="T53" fmla="*/ 228 h 794"/>
                <a:gd name="T54" fmla="*/ 354 w 1106"/>
                <a:gd name="T55" fmla="*/ 215 h 794"/>
                <a:gd name="T56" fmla="*/ 332 w 1106"/>
                <a:gd name="T57" fmla="*/ 212 h 794"/>
                <a:gd name="T58" fmla="*/ 270 w 1106"/>
                <a:gd name="T59" fmla="*/ 210 h 794"/>
                <a:gd name="T60" fmla="*/ 263 w 1106"/>
                <a:gd name="T61" fmla="*/ 223 h 794"/>
                <a:gd name="T62" fmla="*/ 257 w 1106"/>
                <a:gd name="T63" fmla="*/ 236 h 794"/>
                <a:gd name="T64" fmla="*/ 196 w 1106"/>
                <a:gd name="T65" fmla="*/ 253 h 794"/>
                <a:gd name="T66" fmla="*/ 170 w 1106"/>
                <a:gd name="T67" fmla="*/ 226 h 794"/>
                <a:gd name="T68" fmla="*/ 95 w 1106"/>
                <a:gd name="T69" fmla="*/ 218 h 794"/>
                <a:gd name="T70" fmla="*/ 70 w 1106"/>
                <a:gd name="T71" fmla="*/ 206 h 794"/>
                <a:gd name="T72" fmla="*/ 0 w 1106"/>
                <a:gd name="T73" fmla="*/ 154 h 794"/>
                <a:gd name="T74" fmla="*/ 12 w 1106"/>
                <a:gd name="T75" fmla="*/ 139 h 794"/>
                <a:gd name="T76" fmla="*/ 19 w 1106"/>
                <a:gd name="T77" fmla="*/ 107 h 794"/>
                <a:gd name="T78" fmla="*/ 23 w 1106"/>
                <a:gd name="T79" fmla="*/ 92 h 79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06" h="794">
                  <a:moveTo>
                    <a:pt x="54" y="282"/>
                  </a:moveTo>
                  <a:lnTo>
                    <a:pt x="90" y="296"/>
                  </a:lnTo>
                  <a:lnTo>
                    <a:pt x="150" y="276"/>
                  </a:lnTo>
                  <a:lnTo>
                    <a:pt x="141" y="264"/>
                  </a:lnTo>
                  <a:lnTo>
                    <a:pt x="126" y="264"/>
                  </a:lnTo>
                  <a:lnTo>
                    <a:pt x="120" y="246"/>
                  </a:lnTo>
                  <a:lnTo>
                    <a:pt x="123" y="231"/>
                  </a:lnTo>
                  <a:lnTo>
                    <a:pt x="153" y="216"/>
                  </a:lnTo>
                  <a:lnTo>
                    <a:pt x="174" y="183"/>
                  </a:lnTo>
                  <a:lnTo>
                    <a:pt x="111" y="132"/>
                  </a:lnTo>
                  <a:lnTo>
                    <a:pt x="108" y="75"/>
                  </a:lnTo>
                  <a:lnTo>
                    <a:pt x="138" y="54"/>
                  </a:lnTo>
                  <a:lnTo>
                    <a:pt x="345" y="12"/>
                  </a:lnTo>
                  <a:lnTo>
                    <a:pt x="360" y="0"/>
                  </a:lnTo>
                  <a:lnTo>
                    <a:pt x="393" y="6"/>
                  </a:lnTo>
                  <a:lnTo>
                    <a:pt x="498" y="30"/>
                  </a:lnTo>
                  <a:lnTo>
                    <a:pt x="528" y="48"/>
                  </a:lnTo>
                  <a:lnTo>
                    <a:pt x="573" y="75"/>
                  </a:lnTo>
                  <a:lnTo>
                    <a:pt x="603" y="75"/>
                  </a:lnTo>
                  <a:lnTo>
                    <a:pt x="648" y="48"/>
                  </a:lnTo>
                  <a:lnTo>
                    <a:pt x="707" y="57"/>
                  </a:lnTo>
                  <a:lnTo>
                    <a:pt x="746" y="36"/>
                  </a:lnTo>
                  <a:lnTo>
                    <a:pt x="827" y="84"/>
                  </a:lnTo>
                  <a:lnTo>
                    <a:pt x="869" y="69"/>
                  </a:lnTo>
                  <a:lnTo>
                    <a:pt x="890" y="123"/>
                  </a:lnTo>
                  <a:lnTo>
                    <a:pt x="947" y="159"/>
                  </a:lnTo>
                  <a:lnTo>
                    <a:pt x="986" y="195"/>
                  </a:lnTo>
                  <a:lnTo>
                    <a:pt x="1016" y="183"/>
                  </a:lnTo>
                  <a:lnTo>
                    <a:pt x="1073" y="258"/>
                  </a:lnTo>
                  <a:lnTo>
                    <a:pt x="1085" y="305"/>
                  </a:lnTo>
                  <a:lnTo>
                    <a:pt x="1106" y="335"/>
                  </a:lnTo>
                  <a:lnTo>
                    <a:pt x="1097" y="392"/>
                  </a:lnTo>
                  <a:lnTo>
                    <a:pt x="1052" y="428"/>
                  </a:lnTo>
                  <a:lnTo>
                    <a:pt x="1061" y="449"/>
                  </a:lnTo>
                  <a:lnTo>
                    <a:pt x="1043" y="467"/>
                  </a:lnTo>
                  <a:lnTo>
                    <a:pt x="1022" y="488"/>
                  </a:lnTo>
                  <a:lnTo>
                    <a:pt x="1022" y="527"/>
                  </a:lnTo>
                  <a:lnTo>
                    <a:pt x="1001" y="545"/>
                  </a:lnTo>
                  <a:lnTo>
                    <a:pt x="974" y="536"/>
                  </a:lnTo>
                  <a:lnTo>
                    <a:pt x="953" y="515"/>
                  </a:lnTo>
                  <a:lnTo>
                    <a:pt x="944" y="539"/>
                  </a:lnTo>
                  <a:lnTo>
                    <a:pt x="956" y="560"/>
                  </a:lnTo>
                  <a:lnTo>
                    <a:pt x="992" y="563"/>
                  </a:lnTo>
                  <a:lnTo>
                    <a:pt x="1028" y="599"/>
                  </a:lnTo>
                  <a:lnTo>
                    <a:pt x="1049" y="599"/>
                  </a:lnTo>
                  <a:lnTo>
                    <a:pt x="1064" y="617"/>
                  </a:lnTo>
                  <a:lnTo>
                    <a:pt x="1049" y="647"/>
                  </a:lnTo>
                  <a:lnTo>
                    <a:pt x="1049" y="650"/>
                  </a:lnTo>
                  <a:lnTo>
                    <a:pt x="1022" y="647"/>
                  </a:lnTo>
                  <a:lnTo>
                    <a:pt x="1001" y="662"/>
                  </a:lnTo>
                  <a:lnTo>
                    <a:pt x="986" y="638"/>
                  </a:lnTo>
                  <a:lnTo>
                    <a:pt x="950" y="653"/>
                  </a:lnTo>
                  <a:lnTo>
                    <a:pt x="941" y="671"/>
                  </a:lnTo>
                  <a:lnTo>
                    <a:pt x="941" y="698"/>
                  </a:lnTo>
                  <a:lnTo>
                    <a:pt x="905" y="704"/>
                  </a:lnTo>
                  <a:lnTo>
                    <a:pt x="860" y="659"/>
                  </a:lnTo>
                  <a:lnTo>
                    <a:pt x="845" y="638"/>
                  </a:lnTo>
                  <a:lnTo>
                    <a:pt x="809" y="647"/>
                  </a:lnTo>
                  <a:lnTo>
                    <a:pt x="749" y="629"/>
                  </a:lnTo>
                  <a:lnTo>
                    <a:pt x="657" y="644"/>
                  </a:lnTo>
                  <a:lnTo>
                    <a:pt x="648" y="653"/>
                  </a:lnTo>
                  <a:lnTo>
                    <a:pt x="639" y="683"/>
                  </a:lnTo>
                  <a:lnTo>
                    <a:pt x="621" y="695"/>
                  </a:lnTo>
                  <a:lnTo>
                    <a:pt x="624" y="722"/>
                  </a:lnTo>
                  <a:lnTo>
                    <a:pt x="570" y="794"/>
                  </a:lnTo>
                  <a:lnTo>
                    <a:pt x="477" y="776"/>
                  </a:lnTo>
                  <a:lnTo>
                    <a:pt x="471" y="740"/>
                  </a:lnTo>
                  <a:lnTo>
                    <a:pt x="414" y="695"/>
                  </a:lnTo>
                  <a:lnTo>
                    <a:pt x="288" y="677"/>
                  </a:lnTo>
                  <a:lnTo>
                    <a:pt x="234" y="665"/>
                  </a:lnTo>
                  <a:lnTo>
                    <a:pt x="216" y="665"/>
                  </a:lnTo>
                  <a:lnTo>
                    <a:pt x="168" y="626"/>
                  </a:lnTo>
                  <a:lnTo>
                    <a:pt x="69" y="602"/>
                  </a:lnTo>
                  <a:lnTo>
                    <a:pt x="0" y="470"/>
                  </a:lnTo>
                  <a:lnTo>
                    <a:pt x="0" y="434"/>
                  </a:lnTo>
                  <a:lnTo>
                    <a:pt x="27" y="422"/>
                  </a:lnTo>
                  <a:lnTo>
                    <a:pt x="27" y="380"/>
                  </a:lnTo>
                  <a:lnTo>
                    <a:pt x="45" y="329"/>
                  </a:lnTo>
                  <a:lnTo>
                    <a:pt x="24" y="308"/>
                  </a:lnTo>
                  <a:lnTo>
                    <a:pt x="54" y="28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7" name="Freeform 21"/>
            <p:cNvSpPr>
              <a:spLocks/>
            </p:cNvSpPr>
            <p:nvPr/>
          </p:nvSpPr>
          <p:spPr bwMode="auto">
            <a:xfrm>
              <a:off x="2549774" y="2825775"/>
              <a:ext cx="1676400" cy="1419225"/>
            </a:xfrm>
            <a:custGeom>
              <a:avLst/>
              <a:gdLst>
                <a:gd name="T0" fmla="*/ 0 w 1195"/>
                <a:gd name="T1" fmla="*/ 63 h 1022"/>
                <a:gd name="T2" fmla="*/ 19 w 1195"/>
                <a:gd name="T3" fmla="*/ 48 h 1022"/>
                <a:gd name="T4" fmla="*/ 75 w 1195"/>
                <a:gd name="T5" fmla="*/ 21 h 1022"/>
                <a:gd name="T6" fmla="*/ 90 w 1195"/>
                <a:gd name="T7" fmla="*/ 6 h 1022"/>
                <a:gd name="T8" fmla="*/ 103 w 1195"/>
                <a:gd name="T9" fmla="*/ 3 h 1022"/>
                <a:gd name="T10" fmla="*/ 123 w 1195"/>
                <a:gd name="T11" fmla="*/ 12 h 1022"/>
                <a:gd name="T12" fmla="*/ 125 w 1195"/>
                <a:gd name="T13" fmla="*/ 45 h 1022"/>
                <a:gd name="T14" fmla="*/ 154 w 1195"/>
                <a:gd name="T15" fmla="*/ 73 h 1022"/>
                <a:gd name="T16" fmla="*/ 204 w 1195"/>
                <a:gd name="T17" fmla="*/ 64 h 1022"/>
                <a:gd name="T18" fmla="*/ 218 w 1195"/>
                <a:gd name="T19" fmla="*/ 72 h 1022"/>
                <a:gd name="T20" fmla="*/ 195 w 1195"/>
                <a:gd name="T21" fmla="*/ 91 h 1022"/>
                <a:gd name="T22" fmla="*/ 219 w 1195"/>
                <a:gd name="T23" fmla="*/ 110 h 1022"/>
                <a:gd name="T24" fmla="*/ 229 w 1195"/>
                <a:gd name="T25" fmla="*/ 113 h 1022"/>
                <a:gd name="T26" fmla="*/ 241 w 1195"/>
                <a:gd name="T27" fmla="*/ 125 h 1022"/>
                <a:gd name="T28" fmla="*/ 285 w 1195"/>
                <a:gd name="T29" fmla="*/ 126 h 1022"/>
                <a:gd name="T30" fmla="*/ 328 w 1195"/>
                <a:gd name="T31" fmla="*/ 114 h 1022"/>
                <a:gd name="T32" fmla="*/ 332 w 1195"/>
                <a:gd name="T33" fmla="*/ 134 h 1022"/>
                <a:gd name="T34" fmla="*/ 319 w 1195"/>
                <a:gd name="T35" fmla="*/ 148 h 1022"/>
                <a:gd name="T36" fmla="*/ 317 w 1195"/>
                <a:gd name="T37" fmla="*/ 165 h 1022"/>
                <a:gd name="T38" fmla="*/ 348 w 1195"/>
                <a:gd name="T39" fmla="*/ 175 h 1022"/>
                <a:gd name="T40" fmla="*/ 379 w 1195"/>
                <a:gd name="T41" fmla="*/ 218 h 1022"/>
                <a:gd name="T42" fmla="*/ 393 w 1195"/>
                <a:gd name="T43" fmla="*/ 234 h 1022"/>
                <a:gd name="T44" fmla="*/ 408 w 1195"/>
                <a:gd name="T45" fmla="*/ 243 h 1022"/>
                <a:gd name="T46" fmla="*/ 414 w 1195"/>
                <a:gd name="T47" fmla="*/ 233 h 1022"/>
                <a:gd name="T48" fmla="*/ 429 w 1195"/>
                <a:gd name="T49" fmla="*/ 219 h 1022"/>
                <a:gd name="T50" fmla="*/ 414 w 1195"/>
                <a:gd name="T51" fmla="*/ 208 h 1022"/>
                <a:gd name="T52" fmla="*/ 423 w 1195"/>
                <a:gd name="T53" fmla="*/ 182 h 1022"/>
                <a:gd name="T54" fmla="*/ 438 w 1195"/>
                <a:gd name="T55" fmla="*/ 185 h 1022"/>
                <a:gd name="T56" fmla="*/ 471 w 1195"/>
                <a:gd name="T57" fmla="*/ 200 h 1022"/>
                <a:gd name="T58" fmla="*/ 490 w 1195"/>
                <a:gd name="T59" fmla="*/ 216 h 1022"/>
                <a:gd name="T60" fmla="*/ 486 w 1195"/>
                <a:gd name="T61" fmla="*/ 236 h 1022"/>
                <a:gd name="T62" fmla="*/ 462 w 1195"/>
                <a:gd name="T63" fmla="*/ 243 h 1022"/>
                <a:gd name="T64" fmla="*/ 457 w 1195"/>
                <a:gd name="T65" fmla="*/ 250 h 1022"/>
                <a:gd name="T66" fmla="*/ 440 w 1195"/>
                <a:gd name="T67" fmla="*/ 254 h 1022"/>
                <a:gd name="T68" fmla="*/ 421 w 1195"/>
                <a:gd name="T69" fmla="*/ 251 h 1022"/>
                <a:gd name="T70" fmla="*/ 421 w 1195"/>
                <a:gd name="T71" fmla="*/ 258 h 1022"/>
                <a:gd name="T72" fmla="*/ 411 w 1195"/>
                <a:gd name="T73" fmla="*/ 269 h 1022"/>
                <a:gd name="T74" fmla="*/ 416 w 1195"/>
                <a:gd name="T75" fmla="*/ 290 h 1022"/>
                <a:gd name="T76" fmla="*/ 416 w 1195"/>
                <a:gd name="T77" fmla="*/ 300 h 1022"/>
                <a:gd name="T78" fmla="*/ 396 w 1195"/>
                <a:gd name="T79" fmla="*/ 304 h 1022"/>
                <a:gd name="T80" fmla="*/ 398 w 1195"/>
                <a:gd name="T81" fmla="*/ 322 h 1022"/>
                <a:gd name="T82" fmla="*/ 387 w 1195"/>
                <a:gd name="T83" fmla="*/ 331 h 1022"/>
                <a:gd name="T84" fmla="*/ 358 w 1195"/>
                <a:gd name="T85" fmla="*/ 334 h 1022"/>
                <a:gd name="T86" fmla="*/ 347 w 1195"/>
                <a:gd name="T87" fmla="*/ 316 h 1022"/>
                <a:gd name="T88" fmla="*/ 332 w 1195"/>
                <a:gd name="T89" fmla="*/ 316 h 1022"/>
                <a:gd name="T90" fmla="*/ 305 w 1195"/>
                <a:gd name="T91" fmla="*/ 299 h 1022"/>
                <a:gd name="T92" fmla="*/ 300 w 1195"/>
                <a:gd name="T93" fmla="*/ 283 h 1022"/>
                <a:gd name="T94" fmla="*/ 273 w 1195"/>
                <a:gd name="T95" fmla="*/ 290 h 1022"/>
                <a:gd name="T96" fmla="*/ 265 w 1195"/>
                <a:gd name="T97" fmla="*/ 300 h 1022"/>
                <a:gd name="T98" fmla="*/ 236 w 1195"/>
                <a:gd name="T99" fmla="*/ 288 h 1022"/>
                <a:gd name="T100" fmla="*/ 234 w 1195"/>
                <a:gd name="T101" fmla="*/ 274 h 1022"/>
                <a:gd name="T102" fmla="*/ 254 w 1195"/>
                <a:gd name="T103" fmla="*/ 283 h 1022"/>
                <a:gd name="T104" fmla="*/ 263 w 1195"/>
                <a:gd name="T105" fmla="*/ 263 h 1022"/>
                <a:gd name="T106" fmla="*/ 279 w 1195"/>
                <a:gd name="T107" fmla="*/ 251 h 1022"/>
                <a:gd name="T108" fmla="*/ 293 w 1195"/>
                <a:gd name="T109" fmla="*/ 233 h 1022"/>
                <a:gd name="T110" fmla="*/ 289 w 1195"/>
                <a:gd name="T111" fmla="*/ 203 h 1022"/>
                <a:gd name="T112" fmla="*/ 260 w 1195"/>
                <a:gd name="T113" fmla="*/ 165 h 1022"/>
                <a:gd name="T114" fmla="*/ 232 w 1195"/>
                <a:gd name="T115" fmla="*/ 157 h 1022"/>
                <a:gd name="T116" fmla="*/ 200 w 1195"/>
                <a:gd name="T117" fmla="*/ 126 h 1022"/>
                <a:gd name="T118" fmla="*/ 149 w 1195"/>
                <a:gd name="T119" fmla="*/ 117 h 1022"/>
                <a:gd name="T120" fmla="*/ 110 w 1195"/>
                <a:gd name="T121" fmla="*/ 118 h 1022"/>
                <a:gd name="T122" fmla="*/ 79 w 1195"/>
                <a:gd name="T123" fmla="*/ 128 h 1022"/>
                <a:gd name="T124" fmla="*/ 48 w 1195"/>
                <a:gd name="T125" fmla="*/ 114 h 10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95" h="1022">
                  <a:moveTo>
                    <a:pt x="12" y="324"/>
                  </a:moveTo>
                  <a:lnTo>
                    <a:pt x="0" y="192"/>
                  </a:lnTo>
                  <a:lnTo>
                    <a:pt x="6" y="165"/>
                  </a:lnTo>
                  <a:lnTo>
                    <a:pt x="45" y="147"/>
                  </a:lnTo>
                  <a:lnTo>
                    <a:pt x="99" y="102"/>
                  </a:lnTo>
                  <a:lnTo>
                    <a:pt x="183" y="66"/>
                  </a:lnTo>
                  <a:lnTo>
                    <a:pt x="219" y="51"/>
                  </a:lnTo>
                  <a:lnTo>
                    <a:pt x="219" y="18"/>
                  </a:lnTo>
                  <a:lnTo>
                    <a:pt x="234" y="0"/>
                  </a:lnTo>
                  <a:lnTo>
                    <a:pt x="249" y="3"/>
                  </a:lnTo>
                  <a:lnTo>
                    <a:pt x="303" y="12"/>
                  </a:lnTo>
                  <a:lnTo>
                    <a:pt x="303" y="36"/>
                  </a:lnTo>
                  <a:lnTo>
                    <a:pt x="311" y="75"/>
                  </a:lnTo>
                  <a:lnTo>
                    <a:pt x="306" y="138"/>
                  </a:lnTo>
                  <a:lnTo>
                    <a:pt x="353" y="210"/>
                  </a:lnTo>
                  <a:lnTo>
                    <a:pt x="377" y="225"/>
                  </a:lnTo>
                  <a:lnTo>
                    <a:pt x="416" y="195"/>
                  </a:lnTo>
                  <a:lnTo>
                    <a:pt x="500" y="195"/>
                  </a:lnTo>
                  <a:lnTo>
                    <a:pt x="518" y="204"/>
                  </a:lnTo>
                  <a:lnTo>
                    <a:pt x="530" y="222"/>
                  </a:lnTo>
                  <a:lnTo>
                    <a:pt x="521" y="240"/>
                  </a:lnTo>
                  <a:lnTo>
                    <a:pt x="476" y="279"/>
                  </a:lnTo>
                  <a:lnTo>
                    <a:pt x="482" y="297"/>
                  </a:lnTo>
                  <a:lnTo>
                    <a:pt x="533" y="336"/>
                  </a:lnTo>
                  <a:lnTo>
                    <a:pt x="554" y="336"/>
                  </a:lnTo>
                  <a:lnTo>
                    <a:pt x="560" y="345"/>
                  </a:lnTo>
                  <a:lnTo>
                    <a:pt x="554" y="360"/>
                  </a:lnTo>
                  <a:lnTo>
                    <a:pt x="587" y="384"/>
                  </a:lnTo>
                  <a:lnTo>
                    <a:pt x="662" y="396"/>
                  </a:lnTo>
                  <a:lnTo>
                    <a:pt x="698" y="387"/>
                  </a:lnTo>
                  <a:lnTo>
                    <a:pt x="743" y="342"/>
                  </a:lnTo>
                  <a:lnTo>
                    <a:pt x="800" y="348"/>
                  </a:lnTo>
                  <a:lnTo>
                    <a:pt x="821" y="381"/>
                  </a:lnTo>
                  <a:lnTo>
                    <a:pt x="809" y="411"/>
                  </a:lnTo>
                  <a:lnTo>
                    <a:pt x="812" y="432"/>
                  </a:lnTo>
                  <a:lnTo>
                    <a:pt x="782" y="450"/>
                  </a:lnTo>
                  <a:lnTo>
                    <a:pt x="770" y="465"/>
                  </a:lnTo>
                  <a:lnTo>
                    <a:pt x="773" y="504"/>
                  </a:lnTo>
                  <a:lnTo>
                    <a:pt x="827" y="540"/>
                  </a:lnTo>
                  <a:lnTo>
                    <a:pt x="848" y="534"/>
                  </a:lnTo>
                  <a:lnTo>
                    <a:pt x="911" y="608"/>
                  </a:lnTo>
                  <a:lnTo>
                    <a:pt x="923" y="665"/>
                  </a:lnTo>
                  <a:lnTo>
                    <a:pt x="917" y="692"/>
                  </a:lnTo>
                  <a:lnTo>
                    <a:pt x="959" y="716"/>
                  </a:lnTo>
                  <a:lnTo>
                    <a:pt x="959" y="734"/>
                  </a:lnTo>
                  <a:lnTo>
                    <a:pt x="998" y="743"/>
                  </a:lnTo>
                  <a:lnTo>
                    <a:pt x="1010" y="743"/>
                  </a:lnTo>
                  <a:lnTo>
                    <a:pt x="1010" y="710"/>
                  </a:lnTo>
                  <a:lnTo>
                    <a:pt x="1040" y="707"/>
                  </a:lnTo>
                  <a:lnTo>
                    <a:pt x="1046" y="668"/>
                  </a:lnTo>
                  <a:lnTo>
                    <a:pt x="1025" y="653"/>
                  </a:lnTo>
                  <a:lnTo>
                    <a:pt x="1010" y="635"/>
                  </a:lnTo>
                  <a:lnTo>
                    <a:pt x="1016" y="564"/>
                  </a:lnTo>
                  <a:lnTo>
                    <a:pt x="1034" y="555"/>
                  </a:lnTo>
                  <a:lnTo>
                    <a:pt x="1060" y="567"/>
                  </a:lnTo>
                  <a:lnTo>
                    <a:pt x="1072" y="564"/>
                  </a:lnTo>
                  <a:lnTo>
                    <a:pt x="1078" y="576"/>
                  </a:lnTo>
                  <a:lnTo>
                    <a:pt x="1150" y="611"/>
                  </a:lnTo>
                  <a:lnTo>
                    <a:pt x="1189" y="635"/>
                  </a:lnTo>
                  <a:lnTo>
                    <a:pt x="1195" y="659"/>
                  </a:lnTo>
                  <a:lnTo>
                    <a:pt x="1174" y="689"/>
                  </a:lnTo>
                  <a:lnTo>
                    <a:pt x="1186" y="722"/>
                  </a:lnTo>
                  <a:lnTo>
                    <a:pt x="1180" y="740"/>
                  </a:lnTo>
                  <a:lnTo>
                    <a:pt x="1126" y="743"/>
                  </a:lnTo>
                  <a:lnTo>
                    <a:pt x="1114" y="749"/>
                  </a:lnTo>
                  <a:lnTo>
                    <a:pt x="1117" y="761"/>
                  </a:lnTo>
                  <a:lnTo>
                    <a:pt x="1117" y="776"/>
                  </a:lnTo>
                  <a:lnTo>
                    <a:pt x="1075" y="779"/>
                  </a:lnTo>
                  <a:lnTo>
                    <a:pt x="1054" y="767"/>
                  </a:lnTo>
                  <a:lnTo>
                    <a:pt x="1025" y="767"/>
                  </a:lnTo>
                  <a:lnTo>
                    <a:pt x="1019" y="776"/>
                  </a:lnTo>
                  <a:lnTo>
                    <a:pt x="1025" y="791"/>
                  </a:lnTo>
                  <a:lnTo>
                    <a:pt x="1010" y="806"/>
                  </a:lnTo>
                  <a:lnTo>
                    <a:pt x="1004" y="824"/>
                  </a:lnTo>
                  <a:lnTo>
                    <a:pt x="1034" y="848"/>
                  </a:lnTo>
                  <a:lnTo>
                    <a:pt x="1013" y="887"/>
                  </a:lnTo>
                  <a:lnTo>
                    <a:pt x="1022" y="908"/>
                  </a:lnTo>
                  <a:lnTo>
                    <a:pt x="1019" y="920"/>
                  </a:lnTo>
                  <a:lnTo>
                    <a:pt x="989" y="920"/>
                  </a:lnTo>
                  <a:lnTo>
                    <a:pt x="965" y="929"/>
                  </a:lnTo>
                  <a:lnTo>
                    <a:pt x="983" y="956"/>
                  </a:lnTo>
                  <a:lnTo>
                    <a:pt x="971" y="986"/>
                  </a:lnTo>
                  <a:lnTo>
                    <a:pt x="938" y="995"/>
                  </a:lnTo>
                  <a:lnTo>
                    <a:pt x="941" y="1013"/>
                  </a:lnTo>
                  <a:lnTo>
                    <a:pt x="932" y="1022"/>
                  </a:lnTo>
                  <a:lnTo>
                    <a:pt x="872" y="1019"/>
                  </a:lnTo>
                  <a:lnTo>
                    <a:pt x="848" y="1001"/>
                  </a:lnTo>
                  <a:lnTo>
                    <a:pt x="845" y="965"/>
                  </a:lnTo>
                  <a:lnTo>
                    <a:pt x="830" y="953"/>
                  </a:lnTo>
                  <a:lnTo>
                    <a:pt x="809" y="965"/>
                  </a:lnTo>
                  <a:lnTo>
                    <a:pt x="773" y="929"/>
                  </a:lnTo>
                  <a:lnTo>
                    <a:pt x="746" y="911"/>
                  </a:lnTo>
                  <a:lnTo>
                    <a:pt x="743" y="884"/>
                  </a:lnTo>
                  <a:lnTo>
                    <a:pt x="734" y="863"/>
                  </a:lnTo>
                  <a:lnTo>
                    <a:pt x="722" y="863"/>
                  </a:lnTo>
                  <a:lnTo>
                    <a:pt x="665" y="887"/>
                  </a:lnTo>
                  <a:lnTo>
                    <a:pt x="668" y="917"/>
                  </a:lnTo>
                  <a:lnTo>
                    <a:pt x="647" y="917"/>
                  </a:lnTo>
                  <a:lnTo>
                    <a:pt x="611" y="881"/>
                  </a:lnTo>
                  <a:lnTo>
                    <a:pt x="575" y="878"/>
                  </a:lnTo>
                  <a:lnTo>
                    <a:pt x="563" y="857"/>
                  </a:lnTo>
                  <a:lnTo>
                    <a:pt x="572" y="833"/>
                  </a:lnTo>
                  <a:lnTo>
                    <a:pt x="593" y="854"/>
                  </a:lnTo>
                  <a:lnTo>
                    <a:pt x="620" y="863"/>
                  </a:lnTo>
                  <a:lnTo>
                    <a:pt x="641" y="845"/>
                  </a:lnTo>
                  <a:lnTo>
                    <a:pt x="641" y="806"/>
                  </a:lnTo>
                  <a:lnTo>
                    <a:pt x="662" y="785"/>
                  </a:lnTo>
                  <a:lnTo>
                    <a:pt x="680" y="767"/>
                  </a:lnTo>
                  <a:lnTo>
                    <a:pt x="671" y="746"/>
                  </a:lnTo>
                  <a:lnTo>
                    <a:pt x="716" y="710"/>
                  </a:lnTo>
                  <a:lnTo>
                    <a:pt x="725" y="653"/>
                  </a:lnTo>
                  <a:lnTo>
                    <a:pt x="704" y="623"/>
                  </a:lnTo>
                  <a:lnTo>
                    <a:pt x="692" y="576"/>
                  </a:lnTo>
                  <a:lnTo>
                    <a:pt x="635" y="501"/>
                  </a:lnTo>
                  <a:lnTo>
                    <a:pt x="605" y="513"/>
                  </a:lnTo>
                  <a:lnTo>
                    <a:pt x="566" y="477"/>
                  </a:lnTo>
                  <a:lnTo>
                    <a:pt x="509" y="441"/>
                  </a:lnTo>
                  <a:lnTo>
                    <a:pt x="488" y="387"/>
                  </a:lnTo>
                  <a:lnTo>
                    <a:pt x="446" y="402"/>
                  </a:lnTo>
                  <a:lnTo>
                    <a:pt x="365" y="354"/>
                  </a:lnTo>
                  <a:lnTo>
                    <a:pt x="326" y="375"/>
                  </a:lnTo>
                  <a:lnTo>
                    <a:pt x="267" y="366"/>
                  </a:lnTo>
                  <a:lnTo>
                    <a:pt x="222" y="393"/>
                  </a:lnTo>
                  <a:lnTo>
                    <a:pt x="192" y="393"/>
                  </a:lnTo>
                  <a:lnTo>
                    <a:pt x="147" y="366"/>
                  </a:lnTo>
                  <a:lnTo>
                    <a:pt x="117" y="348"/>
                  </a:lnTo>
                  <a:lnTo>
                    <a:pt x="12" y="324"/>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8" name="Freeform 22"/>
            <p:cNvSpPr>
              <a:spLocks/>
            </p:cNvSpPr>
            <p:nvPr/>
          </p:nvSpPr>
          <p:spPr bwMode="auto">
            <a:xfrm>
              <a:off x="395536" y="1820887"/>
              <a:ext cx="2481263" cy="1860550"/>
            </a:xfrm>
            <a:custGeom>
              <a:avLst/>
              <a:gdLst>
                <a:gd name="T0" fmla="*/ 501 w 1768"/>
                <a:gd name="T1" fmla="*/ 15 h 1342"/>
                <a:gd name="T2" fmla="*/ 523 w 1768"/>
                <a:gd name="T3" fmla="*/ 37 h 1342"/>
                <a:gd name="T4" fmla="*/ 556 w 1768"/>
                <a:gd name="T5" fmla="*/ 53 h 1342"/>
                <a:gd name="T6" fmla="*/ 581 w 1768"/>
                <a:gd name="T7" fmla="*/ 96 h 1342"/>
                <a:gd name="T8" fmla="*/ 566 w 1768"/>
                <a:gd name="T9" fmla="*/ 129 h 1342"/>
                <a:gd name="T10" fmla="*/ 646 w 1768"/>
                <a:gd name="T11" fmla="*/ 155 h 1342"/>
                <a:gd name="T12" fmla="*/ 700 w 1768"/>
                <a:gd name="T13" fmla="*/ 189 h 1342"/>
                <a:gd name="T14" fmla="*/ 728 w 1768"/>
                <a:gd name="T15" fmla="*/ 236 h 1342"/>
                <a:gd name="T16" fmla="*/ 707 w 1768"/>
                <a:gd name="T17" fmla="*/ 257 h 1342"/>
                <a:gd name="T18" fmla="*/ 634 w 1768"/>
                <a:gd name="T19" fmla="*/ 289 h 1342"/>
                <a:gd name="T20" fmla="*/ 624 w 1768"/>
                <a:gd name="T21" fmla="*/ 338 h 1342"/>
                <a:gd name="T22" fmla="*/ 519 w 1768"/>
                <a:gd name="T23" fmla="*/ 363 h 1342"/>
                <a:gd name="T24" fmla="*/ 538 w 1768"/>
                <a:gd name="T25" fmla="*/ 408 h 1342"/>
                <a:gd name="T26" fmla="*/ 527 w 1768"/>
                <a:gd name="T27" fmla="*/ 424 h 1342"/>
                <a:gd name="T28" fmla="*/ 512 w 1768"/>
                <a:gd name="T29" fmla="*/ 433 h 1342"/>
                <a:gd name="T30" fmla="*/ 469 w 1768"/>
                <a:gd name="T31" fmla="*/ 427 h 1342"/>
                <a:gd name="T32" fmla="*/ 399 w 1768"/>
                <a:gd name="T33" fmla="*/ 418 h 1342"/>
                <a:gd name="T34" fmla="*/ 328 w 1768"/>
                <a:gd name="T35" fmla="*/ 429 h 1342"/>
                <a:gd name="T36" fmla="*/ 274 w 1768"/>
                <a:gd name="T37" fmla="*/ 422 h 1342"/>
                <a:gd name="T38" fmla="*/ 210 w 1768"/>
                <a:gd name="T39" fmla="*/ 424 h 1342"/>
                <a:gd name="T40" fmla="*/ 174 w 1768"/>
                <a:gd name="T41" fmla="*/ 412 h 1342"/>
                <a:gd name="T42" fmla="*/ 136 w 1768"/>
                <a:gd name="T43" fmla="*/ 392 h 1342"/>
                <a:gd name="T44" fmla="*/ 55 w 1768"/>
                <a:gd name="T45" fmla="*/ 379 h 1342"/>
                <a:gd name="T46" fmla="*/ 45 w 1768"/>
                <a:gd name="T47" fmla="*/ 356 h 1342"/>
                <a:gd name="T48" fmla="*/ 29 w 1768"/>
                <a:gd name="T49" fmla="*/ 338 h 1342"/>
                <a:gd name="T50" fmla="*/ 16 w 1768"/>
                <a:gd name="T51" fmla="*/ 321 h 1342"/>
                <a:gd name="T52" fmla="*/ 27 w 1768"/>
                <a:gd name="T53" fmla="*/ 302 h 1342"/>
                <a:gd name="T54" fmla="*/ 5 w 1768"/>
                <a:gd name="T55" fmla="*/ 277 h 1342"/>
                <a:gd name="T56" fmla="*/ 5 w 1768"/>
                <a:gd name="T57" fmla="*/ 251 h 1342"/>
                <a:gd name="T58" fmla="*/ 17 w 1768"/>
                <a:gd name="T59" fmla="*/ 234 h 1342"/>
                <a:gd name="T60" fmla="*/ 59 w 1768"/>
                <a:gd name="T61" fmla="*/ 222 h 1342"/>
                <a:gd name="T62" fmla="*/ 78 w 1768"/>
                <a:gd name="T63" fmla="*/ 224 h 1342"/>
                <a:gd name="T64" fmla="*/ 102 w 1768"/>
                <a:gd name="T65" fmla="*/ 232 h 1342"/>
                <a:gd name="T66" fmla="*/ 174 w 1768"/>
                <a:gd name="T67" fmla="*/ 214 h 1342"/>
                <a:gd name="T68" fmla="*/ 237 w 1768"/>
                <a:gd name="T69" fmla="*/ 182 h 1342"/>
                <a:gd name="T70" fmla="*/ 257 w 1768"/>
                <a:gd name="T71" fmla="*/ 168 h 1342"/>
                <a:gd name="T72" fmla="*/ 246 w 1768"/>
                <a:gd name="T73" fmla="*/ 114 h 1342"/>
                <a:gd name="T74" fmla="*/ 301 w 1768"/>
                <a:gd name="T75" fmla="*/ 105 h 1342"/>
                <a:gd name="T76" fmla="*/ 325 w 1768"/>
                <a:gd name="T77" fmla="*/ 114 h 1342"/>
                <a:gd name="T78" fmla="*/ 351 w 1768"/>
                <a:gd name="T79" fmla="*/ 55 h 1342"/>
                <a:gd name="T80" fmla="*/ 397 w 1768"/>
                <a:gd name="T81" fmla="*/ 63 h 1342"/>
                <a:gd name="T82" fmla="*/ 436 w 1768"/>
                <a:gd name="T83" fmla="*/ 27 h 1342"/>
                <a:gd name="T84" fmla="*/ 469 w 1768"/>
                <a:gd name="T85" fmla="*/ 13 h 1342"/>
                <a:gd name="T86" fmla="*/ 498 w 1768"/>
                <a:gd name="T87" fmla="*/ 4 h 13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68" h="1342">
                  <a:moveTo>
                    <a:pt x="1207" y="12"/>
                  </a:moveTo>
                  <a:lnTo>
                    <a:pt x="1225" y="12"/>
                  </a:lnTo>
                  <a:lnTo>
                    <a:pt x="1213" y="48"/>
                  </a:lnTo>
                  <a:lnTo>
                    <a:pt x="1228" y="66"/>
                  </a:lnTo>
                  <a:lnTo>
                    <a:pt x="1231" y="78"/>
                  </a:lnTo>
                  <a:lnTo>
                    <a:pt x="1267" y="114"/>
                  </a:lnTo>
                  <a:lnTo>
                    <a:pt x="1276" y="141"/>
                  </a:lnTo>
                  <a:lnTo>
                    <a:pt x="1324" y="144"/>
                  </a:lnTo>
                  <a:lnTo>
                    <a:pt x="1345" y="162"/>
                  </a:lnTo>
                  <a:lnTo>
                    <a:pt x="1357" y="162"/>
                  </a:lnTo>
                  <a:lnTo>
                    <a:pt x="1384" y="222"/>
                  </a:lnTo>
                  <a:lnTo>
                    <a:pt x="1411" y="294"/>
                  </a:lnTo>
                  <a:lnTo>
                    <a:pt x="1396" y="336"/>
                  </a:lnTo>
                  <a:lnTo>
                    <a:pt x="1399" y="351"/>
                  </a:lnTo>
                  <a:lnTo>
                    <a:pt x="1375" y="396"/>
                  </a:lnTo>
                  <a:lnTo>
                    <a:pt x="1381" y="429"/>
                  </a:lnTo>
                  <a:lnTo>
                    <a:pt x="1471" y="468"/>
                  </a:lnTo>
                  <a:lnTo>
                    <a:pt x="1567" y="480"/>
                  </a:lnTo>
                  <a:lnTo>
                    <a:pt x="1666" y="549"/>
                  </a:lnTo>
                  <a:lnTo>
                    <a:pt x="1696" y="561"/>
                  </a:lnTo>
                  <a:lnTo>
                    <a:pt x="1699" y="579"/>
                  </a:lnTo>
                  <a:lnTo>
                    <a:pt x="1720" y="623"/>
                  </a:lnTo>
                  <a:lnTo>
                    <a:pt x="1741" y="677"/>
                  </a:lnTo>
                  <a:lnTo>
                    <a:pt x="1768" y="725"/>
                  </a:lnTo>
                  <a:lnTo>
                    <a:pt x="1753" y="743"/>
                  </a:lnTo>
                  <a:lnTo>
                    <a:pt x="1753" y="776"/>
                  </a:lnTo>
                  <a:lnTo>
                    <a:pt x="1717" y="791"/>
                  </a:lnTo>
                  <a:lnTo>
                    <a:pt x="1633" y="827"/>
                  </a:lnTo>
                  <a:lnTo>
                    <a:pt x="1579" y="872"/>
                  </a:lnTo>
                  <a:lnTo>
                    <a:pt x="1540" y="890"/>
                  </a:lnTo>
                  <a:lnTo>
                    <a:pt x="1534" y="917"/>
                  </a:lnTo>
                  <a:lnTo>
                    <a:pt x="1546" y="1049"/>
                  </a:lnTo>
                  <a:lnTo>
                    <a:pt x="1513" y="1043"/>
                  </a:lnTo>
                  <a:lnTo>
                    <a:pt x="1498" y="1055"/>
                  </a:lnTo>
                  <a:lnTo>
                    <a:pt x="1291" y="1097"/>
                  </a:lnTo>
                  <a:lnTo>
                    <a:pt x="1261" y="1118"/>
                  </a:lnTo>
                  <a:lnTo>
                    <a:pt x="1264" y="1175"/>
                  </a:lnTo>
                  <a:lnTo>
                    <a:pt x="1327" y="1226"/>
                  </a:lnTo>
                  <a:lnTo>
                    <a:pt x="1306" y="1259"/>
                  </a:lnTo>
                  <a:lnTo>
                    <a:pt x="1276" y="1274"/>
                  </a:lnTo>
                  <a:lnTo>
                    <a:pt x="1273" y="1289"/>
                  </a:lnTo>
                  <a:lnTo>
                    <a:pt x="1279" y="1307"/>
                  </a:lnTo>
                  <a:lnTo>
                    <a:pt x="1294" y="1307"/>
                  </a:lnTo>
                  <a:lnTo>
                    <a:pt x="1303" y="1319"/>
                  </a:lnTo>
                  <a:lnTo>
                    <a:pt x="1243" y="1339"/>
                  </a:lnTo>
                  <a:lnTo>
                    <a:pt x="1207" y="1325"/>
                  </a:lnTo>
                  <a:lnTo>
                    <a:pt x="1189" y="1316"/>
                  </a:lnTo>
                  <a:lnTo>
                    <a:pt x="1141" y="1316"/>
                  </a:lnTo>
                  <a:lnTo>
                    <a:pt x="1061" y="1277"/>
                  </a:lnTo>
                  <a:lnTo>
                    <a:pt x="1010" y="1277"/>
                  </a:lnTo>
                  <a:lnTo>
                    <a:pt x="968" y="1289"/>
                  </a:lnTo>
                  <a:lnTo>
                    <a:pt x="923" y="1289"/>
                  </a:lnTo>
                  <a:lnTo>
                    <a:pt x="851" y="1328"/>
                  </a:lnTo>
                  <a:lnTo>
                    <a:pt x="794" y="1322"/>
                  </a:lnTo>
                  <a:lnTo>
                    <a:pt x="740" y="1342"/>
                  </a:lnTo>
                  <a:lnTo>
                    <a:pt x="692" y="1325"/>
                  </a:lnTo>
                  <a:lnTo>
                    <a:pt x="662" y="1301"/>
                  </a:lnTo>
                  <a:lnTo>
                    <a:pt x="587" y="1289"/>
                  </a:lnTo>
                  <a:lnTo>
                    <a:pt x="536" y="1325"/>
                  </a:lnTo>
                  <a:lnTo>
                    <a:pt x="509" y="1313"/>
                  </a:lnTo>
                  <a:lnTo>
                    <a:pt x="488" y="1295"/>
                  </a:lnTo>
                  <a:lnTo>
                    <a:pt x="431" y="1280"/>
                  </a:lnTo>
                  <a:lnTo>
                    <a:pt x="422" y="1271"/>
                  </a:lnTo>
                  <a:lnTo>
                    <a:pt x="401" y="1271"/>
                  </a:lnTo>
                  <a:lnTo>
                    <a:pt x="365" y="1217"/>
                  </a:lnTo>
                  <a:lnTo>
                    <a:pt x="333" y="1208"/>
                  </a:lnTo>
                  <a:lnTo>
                    <a:pt x="246" y="1235"/>
                  </a:lnTo>
                  <a:lnTo>
                    <a:pt x="210" y="1226"/>
                  </a:lnTo>
                  <a:lnTo>
                    <a:pt x="135" y="1172"/>
                  </a:lnTo>
                  <a:lnTo>
                    <a:pt x="114" y="1169"/>
                  </a:lnTo>
                  <a:lnTo>
                    <a:pt x="99" y="1133"/>
                  </a:lnTo>
                  <a:lnTo>
                    <a:pt x="111" y="1097"/>
                  </a:lnTo>
                  <a:lnTo>
                    <a:pt x="105" y="1079"/>
                  </a:lnTo>
                  <a:lnTo>
                    <a:pt x="78" y="1061"/>
                  </a:lnTo>
                  <a:lnTo>
                    <a:pt x="69" y="1043"/>
                  </a:lnTo>
                  <a:lnTo>
                    <a:pt x="12" y="1010"/>
                  </a:lnTo>
                  <a:lnTo>
                    <a:pt x="12" y="1001"/>
                  </a:lnTo>
                  <a:lnTo>
                    <a:pt x="39" y="989"/>
                  </a:lnTo>
                  <a:lnTo>
                    <a:pt x="57" y="998"/>
                  </a:lnTo>
                  <a:lnTo>
                    <a:pt x="72" y="983"/>
                  </a:lnTo>
                  <a:lnTo>
                    <a:pt x="66" y="929"/>
                  </a:lnTo>
                  <a:lnTo>
                    <a:pt x="72" y="884"/>
                  </a:lnTo>
                  <a:lnTo>
                    <a:pt x="36" y="845"/>
                  </a:lnTo>
                  <a:lnTo>
                    <a:pt x="9" y="854"/>
                  </a:lnTo>
                  <a:lnTo>
                    <a:pt x="0" y="827"/>
                  </a:lnTo>
                  <a:lnTo>
                    <a:pt x="15" y="800"/>
                  </a:lnTo>
                  <a:lnTo>
                    <a:pt x="6" y="773"/>
                  </a:lnTo>
                  <a:lnTo>
                    <a:pt x="30" y="752"/>
                  </a:lnTo>
                  <a:lnTo>
                    <a:pt x="42" y="743"/>
                  </a:lnTo>
                  <a:lnTo>
                    <a:pt x="42" y="722"/>
                  </a:lnTo>
                  <a:lnTo>
                    <a:pt x="75" y="704"/>
                  </a:lnTo>
                  <a:lnTo>
                    <a:pt x="111" y="698"/>
                  </a:lnTo>
                  <a:lnTo>
                    <a:pt x="141" y="686"/>
                  </a:lnTo>
                  <a:lnTo>
                    <a:pt x="165" y="695"/>
                  </a:lnTo>
                  <a:lnTo>
                    <a:pt x="183" y="686"/>
                  </a:lnTo>
                  <a:lnTo>
                    <a:pt x="189" y="692"/>
                  </a:lnTo>
                  <a:lnTo>
                    <a:pt x="192" y="713"/>
                  </a:lnTo>
                  <a:lnTo>
                    <a:pt x="207" y="722"/>
                  </a:lnTo>
                  <a:lnTo>
                    <a:pt x="246" y="719"/>
                  </a:lnTo>
                  <a:lnTo>
                    <a:pt x="291" y="671"/>
                  </a:lnTo>
                  <a:lnTo>
                    <a:pt x="377" y="689"/>
                  </a:lnTo>
                  <a:lnTo>
                    <a:pt x="422" y="659"/>
                  </a:lnTo>
                  <a:lnTo>
                    <a:pt x="554" y="629"/>
                  </a:lnTo>
                  <a:lnTo>
                    <a:pt x="563" y="611"/>
                  </a:lnTo>
                  <a:lnTo>
                    <a:pt x="575" y="561"/>
                  </a:lnTo>
                  <a:lnTo>
                    <a:pt x="611" y="531"/>
                  </a:lnTo>
                  <a:lnTo>
                    <a:pt x="623" y="531"/>
                  </a:lnTo>
                  <a:lnTo>
                    <a:pt x="623" y="516"/>
                  </a:lnTo>
                  <a:lnTo>
                    <a:pt x="626" y="390"/>
                  </a:lnTo>
                  <a:lnTo>
                    <a:pt x="632" y="366"/>
                  </a:lnTo>
                  <a:lnTo>
                    <a:pt x="596" y="351"/>
                  </a:lnTo>
                  <a:lnTo>
                    <a:pt x="593" y="342"/>
                  </a:lnTo>
                  <a:lnTo>
                    <a:pt x="632" y="330"/>
                  </a:lnTo>
                  <a:lnTo>
                    <a:pt x="731" y="321"/>
                  </a:lnTo>
                  <a:lnTo>
                    <a:pt x="746" y="342"/>
                  </a:lnTo>
                  <a:lnTo>
                    <a:pt x="779" y="351"/>
                  </a:lnTo>
                  <a:lnTo>
                    <a:pt x="788" y="351"/>
                  </a:lnTo>
                  <a:lnTo>
                    <a:pt x="803" y="333"/>
                  </a:lnTo>
                  <a:lnTo>
                    <a:pt x="785" y="315"/>
                  </a:lnTo>
                  <a:lnTo>
                    <a:pt x="857" y="168"/>
                  </a:lnTo>
                  <a:lnTo>
                    <a:pt x="869" y="159"/>
                  </a:lnTo>
                  <a:lnTo>
                    <a:pt x="935" y="192"/>
                  </a:lnTo>
                  <a:lnTo>
                    <a:pt x="965" y="192"/>
                  </a:lnTo>
                  <a:lnTo>
                    <a:pt x="977" y="210"/>
                  </a:lnTo>
                  <a:lnTo>
                    <a:pt x="1040" y="192"/>
                  </a:lnTo>
                  <a:lnTo>
                    <a:pt x="1058" y="84"/>
                  </a:lnTo>
                  <a:lnTo>
                    <a:pt x="1085" y="66"/>
                  </a:lnTo>
                  <a:lnTo>
                    <a:pt x="1117" y="66"/>
                  </a:lnTo>
                  <a:lnTo>
                    <a:pt x="1138" y="39"/>
                  </a:lnTo>
                  <a:lnTo>
                    <a:pt x="1147" y="12"/>
                  </a:lnTo>
                  <a:lnTo>
                    <a:pt x="1165" y="0"/>
                  </a:lnTo>
                  <a:lnTo>
                    <a:pt x="1207" y="1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9" name="Freeform 23"/>
            <p:cNvSpPr>
              <a:spLocks/>
            </p:cNvSpPr>
            <p:nvPr/>
          </p:nvSpPr>
          <p:spPr bwMode="auto">
            <a:xfrm>
              <a:off x="3903911" y="3241700"/>
              <a:ext cx="608013" cy="1090612"/>
            </a:xfrm>
            <a:custGeom>
              <a:avLst/>
              <a:gdLst>
                <a:gd name="T0" fmla="*/ 148 w 434"/>
                <a:gd name="T1" fmla="*/ 153 h 785"/>
                <a:gd name="T2" fmla="*/ 144 w 434"/>
                <a:gd name="T3" fmla="*/ 87 h 785"/>
                <a:gd name="T4" fmla="*/ 156 w 434"/>
                <a:gd name="T5" fmla="*/ 64 h 785"/>
                <a:gd name="T6" fmla="*/ 156 w 434"/>
                <a:gd name="T7" fmla="*/ 34 h 785"/>
                <a:gd name="T8" fmla="*/ 163 w 434"/>
                <a:gd name="T9" fmla="*/ 13 h 785"/>
                <a:gd name="T10" fmla="*/ 157 w 434"/>
                <a:gd name="T11" fmla="*/ 0 h 785"/>
                <a:gd name="T12" fmla="*/ 130 w 434"/>
                <a:gd name="T13" fmla="*/ 8 h 785"/>
                <a:gd name="T14" fmla="*/ 121 w 434"/>
                <a:gd name="T15" fmla="*/ 27 h 785"/>
                <a:gd name="T16" fmla="*/ 111 w 434"/>
                <a:gd name="T17" fmla="*/ 33 h 785"/>
                <a:gd name="T18" fmla="*/ 76 w 434"/>
                <a:gd name="T19" fmla="*/ 65 h 785"/>
                <a:gd name="T20" fmla="*/ 49 w 434"/>
                <a:gd name="T21" fmla="*/ 64 h 785"/>
                <a:gd name="T22" fmla="*/ 44 w 434"/>
                <a:gd name="T23" fmla="*/ 87 h 785"/>
                <a:gd name="T24" fmla="*/ 76 w 434"/>
                <a:gd name="T25" fmla="*/ 102 h 785"/>
                <a:gd name="T26" fmla="*/ 94 w 434"/>
                <a:gd name="T27" fmla="*/ 118 h 785"/>
                <a:gd name="T28" fmla="*/ 91 w 434"/>
                <a:gd name="T29" fmla="*/ 139 h 785"/>
                <a:gd name="T30" fmla="*/ 66 w 434"/>
                <a:gd name="T31" fmla="*/ 145 h 785"/>
                <a:gd name="T32" fmla="*/ 62 w 434"/>
                <a:gd name="T33" fmla="*/ 150 h 785"/>
                <a:gd name="T34" fmla="*/ 45 w 434"/>
                <a:gd name="T35" fmla="*/ 157 h 785"/>
                <a:gd name="T36" fmla="*/ 25 w 434"/>
                <a:gd name="T37" fmla="*/ 153 h 785"/>
                <a:gd name="T38" fmla="*/ 25 w 434"/>
                <a:gd name="T39" fmla="*/ 160 h 785"/>
                <a:gd name="T40" fmla="*/ 16 w 434"/>
                <a:gd name="T41" fmla="*/ 172 h 785"/>
                <a:gd name="T42" fmla="*/ 20 w 434"/>
                <a:gd name="T43" fmla="*/ 192 h 785"/>
                <a:gd name="T44" fmla="*/ 23 w 434"/>
                <a:gd name="T45" fmla="*/ 202 h 785"/>
                <a:gd name="T46" fmla="*/ 0 w 434"/>
                <a:gd name="T47" fmla="*/ 206 h 785"/>
                <a:gd name="T48" fmla="*/ 5 w 434"/>
                <a:gd name="T49" fmla="*/ 224 h 785"/>
                <a:gd name="T50" fmla="*/ 12 w 434"/>
                <a:gd name="T51" fmla="*/ 233 h 785"/>
                <a:gd name="T52" fmla="*/ 41 w 434"/>
                <a:gd name="T53" fmla="*/ 230 h 785"/>
                <a:gd name="T54" fmla="*/ 48 w 434"/>
                <a:gd name="T55" fmla="*/ 236 h 785"/>
                <a:gd name="T56" fmla="*/ 79 w 434"/>
                <a:gd name="T57" fmla="*/ 247 h 785"/>
                <a:gd name="T58" fmla="*/ 118 w 434"/>
                <a:gd name="T59" fmla="*/ 251 h 785"/>
                <a:gd name="T60" fmla="*/ 135 w 434"/>
                <a:gd name="T61" fmla="*/ 254 h 785"/>
                <a:gd name="T62" fmla="*/ 132 w 434"/>
                <a:gd name="T63" fmla="*/ 240 h 785"/>
                <a:gd name="T64" fmla="*/ 148 w 434"/>
                <a:gd name="T65" fmla="*/ 226 h 785"/>
                <a:gd name="T66" fmla="*/ 144 w 434"/>
                <a:gd name="T67" fmla="*/ 220 h 785"/>
                <a:gd name="T68" fmla="*/ 127 w 434"/>
                <a:gd name="T69" fmla="*/ 210 h 785"/>
                <a:gd name="T70" fmla="*/ 160 w 434"/>
                <a:gd name="T71" fmla="*/ 208 h 785"/>
                <a:gd name="T72" fmla="*/ 169 w 434"/>
                <a:gd name="T73" fmla="*/ 210 h 785"/>
                <a:gd name="T74" fmla="*/ 177 w 434"/>
                <a:gd name="T75" fmla="*/ 197 h 785"/>
                <a:gd name="T76" fmla="*/ 152 w 434"/>
                <a:gd name="T77" fmla="*/ 162 h 7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4" h="785">
                  <a:moveTo>
                    <a:pt x="371" y="497"/>
                  </a:moveTo>
                  <a:lnTo>
                    <a:pt x="362" y="467"/>
                  </a:lnTo>
                  <a:lnTo>
                    <a:pt x="380" y="398"/>
                  </a:lnTo>
                  <a:lnTo>
                    <a:pt x="350" y="264"/>
                  </a:lnTo>
                  <a:lnTo>
                    <a:pt x="371" y="231"/>
                  </a:lnTo>
                  <a:lnTo>
                    <a:pt x="380" y="198"/>
                  </a:lnTo>
                  <a:lnTo>
                    <a:pt x="353" y="144"/>
                  </a:lnTo>
                  <a:lnTo>
                    <a:pt x="380" y="105"/>
                  </a:lnTo>
                  <a:lnTo>
                    <a:pt x="383" y="69"/>
                  </a:lnTo>
                  <a:lnTo>
                    <a:pt x="398" y="42"/>
                  </a:lnTo>
                  <a:lnTo>
                    <a:pt x="395" y="9"/>
                  </a:lnTo>
                  <a:lnTo>
                    <a:pt x="383" y="0"/>
                  </a:lnTo>
                  <a:lnTo>
                    <a:pt x="365" y="21"/>
                  </a:lnTo>
                  <a:lnTo>
                    <a:pt x="317" y="24"/>
                  </a:lnTo>
                  <a:lnTo>
                    <a:pt x="293" y="60"/>
                  </a:lnTo>
                  <a:lnTo>
                    <a:pt x="293" y="81"/>
                  </a:lnTo>
                  <a:lnTo>
                    <a:pt x="290" y="93"/>
                  </a:lnTo>
                  <a:lnTo>
                    <a:pt x="269" y="102"/>
                  </a:lnTo>
                  <a:lnTo>
                    <a:pt x="194" y="207"/>
                  </a:lnTo>
                  <a:lnTo>
                    <a:pt x="185" y="201"/>
                  </a:lnTo>
                  <a:lnTo>
                    <a:pt x="164" y="195"/>
                  </a:lnTo>
                  <a:lnTo>
                    <a:pt x="122" y="198"/>
                  </a:lnTo>
                  <a:lnTo>
                    <a:pt x="107" y="219"/>
                  </a:lnTo>
                  <a:lnTo>
                    <a:pt x="107" y="264"/>
                  </a:lnTo>
                  <a:lnTo>
                    <a:pt x="113" y="276"/>
                  </a:lnTo>
                  <a:lnTo>
                    <a:pt x="185" y="311"/>
                  </a:lnTo>
                  <a:lnTo>
                    <a:pt x="224" y="335"/>
                  </a:lnTo>
                  <a:lnTo>
                    <a:pt x="230" y="359"/>
                  </a:lnTo>
                  <a:lnTo>
                    <a:pt x="209" y="389"/>
                  </a:lnTo>
                  <a:lnTo>
                    <a:pt x="221" y="422"/>
                  </a:lnTo>
                  <a:lnTo>
                    <a:pt x="215" y="440"/>
                  </a:lnTo>
                  <a:lnTo>
                    <a:pt x="161" y="443"/>
                  </a:lnTo>
                  <a:lnTo>
                    <a:pt x="149" y="449"/>
                  </a:lnTo>
                  <a:lnTo>
                    <a:pt x="152" y="461"/>
                  </a:lnTo>
                  <a:lnTo>
                    <a:pt x="152" y="476"/>
                  </a:lnTo>
                  <a:lnTo>
                    <a:pt x="110" y="479"/>
                  </a:lnTo>
                  <a:lnTo>
                    <a:pt x="89" y="467"/>
                  </a:lnTo>
                  <a:lnTo>
                    <a:pt x="60" y="467"/>
                  </a:lnTo>
                  <a:lnTo>
                    <a:pt x="54" y="476"/>
                  </a:lnTo>
                  <a:lnTo>
                    <a:pt x="60" y="491"/>
                  </a:lnTo>
                  <a:lnTo>
                    <a:pt x="45" y="506"/>
                  </a:lnTo>
                  <a:lnTo>
                    <a:pt x="39" y="524"/>
                  </a:lnTo>
                  <a:lnTo>
                    <a:pt x="69" y="548"/>
                  </a:lnTo>
                  <a:lnTo>
                    <a:pt x="48" y="587"/>
                  </a:lnTo>
                  <a:lnTo>
                    <a:pt x="57" y="608"/>
                  </a:lnTo>
                  <a:lnTo>
                    <a:pt x="54" y="620"/>
                  </a:lnTo>
                  <a:lnTo>
                    <a:pt x="24" y="620"/>
                  </a:lnTo>
                  <a:lnTo>
                    <a:pt x="0" y="629"/>
                  </a:lnTo>
                  <a:lnTo>
                    <a:pt x="18" y="656"/>
                  </a:lnTo>
                  <a:lnTo>
                    <a:pt x="6" y="686"/>
                  </a:lnTo>
                  <a:lnTo>
                    <a:pt x="24" y="692"/>
                  </a:lnTo>
                  <a:lnTo>
                    <a:pt x="27" y="713"/>
                  </a:lnTo>
                  <a:lnTo>
                    <a:pt x="42" y="713"/>
                  </a:lnTo>
                  <a:lnTo>
                    <a:pt x="101" y="701"/>
                  </a:lnTo>
                  <a:lnTo>
                    <a:pt x="113" y="707"/>
                  </a:lnTo>
                  <a:lnTo>
                    <a:pt x="116" y="722"/>
                  </a:lnTo>
                  <a:lnTo>
                    <a:pt x="140" y="731"/>
                  </a:lnTo>
                  <a:lnTo>
                    <a:pt x="191" y="755"/>
                  </a:lnTo>
                  <a:lnTo>
                    <a:pt x="221" y="743"/>
                  </a:lnTo>
                  <a:lnTo>
                    <a:pt x="287" y="767"/>
                  </a:lnTo>
                  <a:lnTo>
                    <a:pt x="299" y="785"/>
                  </a:lnTo>
                  <a:lnTo>
                    <a:pt x="332" y="779"/>
                  </a:lnTo>
                  <a:lnTo>
                    <a:pt x="326" y="743"/>
                  </a:lnTo>
                  <a:lnTo>
                    <a:pt x="320" y="734"/>
                  </a:lnTo>
                  <a:lnTo>
                    <a:pt x="326" y="707"/>
                  </a:lnTo>
                  <a:lnTo>
                    <a:pt x="362" y="692"/>
                  </a:lnTo>
                  <a:lnTo>
                    <a:pt x="368" y="677"/>
                  </a:lnTo>
                  <a:lnTo>
                    <a:pt x="350" y="671"/>
                  </a:lnTo>
                  <a:lnTo>
                    <a:pt x="332" y="665"/>
                  </a:lnTo>
                  <a:lnTo>
                    <a:pt x="311" y="644"/>
                  </a:lnTo>
                  <a:lnTo>
                    <a:pt x="320" y="638"/>
                  </a:lnTo>
                  <a:lnTo>
                    <a:pt x="389" y="638"/>
                  </a:lnTo>
                  <a:lnTo>
                    <a:pt x="404" y="638"/>
                  </a:lnTo>
                  <a:lnTo>
                    <a:pt x="413" y="644"/>
                  </a:lnTo>
                  <a:lnTo>
                    <a:pt x="434" y="626"/>
                  </a:lnTo>
                  <a:lnTo>
                    <a:pt x="434" y="599"/>
                  </a:lnTo>
                  <a:lnTo>
                    <a:pt x="371" y="506"/>
                  </a:lnTo>
                  <a:lnTo>
                    <a:pt x="371" y="497"/>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0" name="Freeform 24"/>
            <p:cNvSpPr>
              <a:spLocks/>
            </p:cNvSpPr>
            <p:nvPr/>
          </p:nvSpPr>
          <p:spPr bwMode="auto">
            <a:xfrm>
              <a:off x="4423024" y="3659212"/>
              <a:ext cx="736600" cy="650875"/>
            </a:xfrm>
            <a:custGeom>
              <a:avLst/>
              <a:gdLst>
                <a:gd name="T0" fmla="*/ 27 w 524"/>
                <a:gd name="T1" fmla="*/ 105 h 470"/>
                <a:gd name="T2" fmla="*/ 57 w 524"/>
                <a:gd name="T3" fmla="*/ 128 h 470"/>
                <a:gd name="T4" fmla="*/ 82 w 524"/>
                <a:gd name="T5" fmla="*/ 131 h 470"/>
                <a:gd name="T6" fmla="*/ 105 w 524"/>
                <a:gd name="T7" fmla="*/ 130 h 470"/>
                <a:gd name="T8" fmla="*/ 114 w 524"/>
                <a:gd name="T9" fmla="*/ 131 h 470"/>
                <a:gd name="T10" fmla="*/ 122 w 524"/>
                <a:gd name="T11" fmla="*/ 128 h 470"/>
                <a:gd name="T12" fmla="*/ 128 w 524"/>
                <a:gd name="T13" fmla="*/ 132 h 470"/>
                <a:gd name="T14" fmla="*/ 132 w 524"/>
                <a:gd name="T15" fmla="*/ 139 h 470"/>
                <a:gd name="T16" fmla="*/ 142 w 524"/>
                <a:gd name="T17" fmla="*/ 147 h 470"/>
                <a:gd name="T18" fmla="*/ 158 w 524"/>
                <a:gd name="T19" fmla="*/ 147 h 470"/>
                <a:gd name="T20" fmla="*/ 169 w 524"/>
                <a:gd name="T21" fmla="*/ 153 h 470"/>
                <a:gd name="T22" fmla="*/ 179 w 524"/>
                <a:gd name="T23" fmla="*/ 147 h 470"/>
                <a:gd name="T24" fmla="*/ 187 w 524"/>
                <a:gd name="T25" fmla="*/ 153 h 470"/>
                <a:gd name="T26" fmla="*/ 193 w 524"/>
                <a:gd name="T27" fmla="*/ 143 h 470"/>
                <a:gd name="T28" fmla="*/ 202 w 524"/>
                <a:gd name="T29" fmla="*/ 139 h 470"/>
                <a:gd name="T30" fmla="*/ 204 w 524"/>
                <a:gd name="T31" fmla="*/ 131 h 470"/>
                <a:gd name="T32" fmla="*/ 201 w 524"/>
                <a:gd name="T33" fmla="*/ 116 h 470"/>
                <a:gd name="T34" fmla="*/ 199 w 524"/>
                <a:gd name="T35" fmla="*/ 114 h 470"/>
                <a:gd name="T36" fmla="*/ 190 w 524"/>
                <a:gd name="T37" fmla="*/ 122 h 470"/>
                <a:gd name="T38" fmla="*/ 176 w 524"/>
                <a:gd name="T39" fmla="*/ 113 h 470"/>
                <a:gd name="T40" fmla="*/ 165 w 524"/>
                <a:gd name="T41" fmla="*/ 104 h 470"/>
                <a:gd name="T42" fmla="*/ 176 w 524"/>
                <a:gd name="T43" fmla="*/ 97 h 470"/>
                <a:gd name="T44" fmla="*/ 179 w 524"/>
                <a:gd name="T45" fmla="*/ 87 h 470"/>
                <a:gd name="T46" fmla="*/ 185 w 524"/>
                <a:gd name="T47" fmla="*/ 83 h 470"/>
                <a:gd name="T48" fmla="*/ 184 w 524"/>
                <a:gd name="T49" fmla="*/ 70 h 470"/>
                <a:gd name="T50" fmla="*/ 188 w 524"/>
                <a:gd name="T51" fmla="*/ 66 h 470"/>
                <a:gd name="T52" fmla="*/ 197 w 524"/>
                <a:gd name="T53" fmla="*/ 71 h 470"/>
                <a:gd name="T54" fmla="*/ 202 w 524"/>
                <a:gd name="T55" fmla="*/ 75 h 470"/>
                <a:gd name="T56" fmla="*/ 215 w 524"/>
                <a:gd name="T57" fmla="*/ 71 h 470"/>
                <a:gd name="T58" fmla="*/ 218 w 524"/>
                <a:gd name="T59" fmla="*/ 67 h 470"/>
                <a:gd name="T60" fmla="*/ 215 w 524"/>
                <a:gd name="T61" fmla="*/ 60 h 470"/>
                <a:gd name="T62" fmla="*/ 202 w 524"/>
                <a:gd name="T63" fmla="*/ 55 h 470"/>
                <a:gd name="T64" fmla="*/ 199 w 524"/>
                <a:gd name="T65" fmla="*/ 47 h 470"/>
                <a:gd name="T66" fmla="*/ 176 w 524"/>
                <a:gd name="T67" fmla="*/ 50 h 470"/>
                <a:gd name="T68" fmla="*/ 161 w 524"/>
                <a:gd name="T69" fmla="*/ 40 h 470"/>
                <a:gd name="T70" fmla="*/ 155 w 524"/>
                <a:gd name="T71" fmla="*/ 38 h 470"/>
                <a:gd name="T72" fmla="*/ 155 w 524"/>
                <a:gd name="T73" fmla="*/ 31 h 470"/>
                <a:gd name="T74" fmla="*/ 187 w 524"/>
                <a:gd name="T75" fmla="*/ 4 h 470"/>
                <a:gd name="T76" fmla="*/ 176 w 524"/>
                <a:gd name="T77" fmla="*/ 4 h 470"/>
                <a:gd name="T78" fmla="*/ 169 w 524"/>
                <a:gd name="T79" fmla="*/ 9 h 470"/>
                <a:gd name="T80" fmla="*/ 165 w 524"/>
                <a:gd name="T81" fmla="*/ 5 h 470"/>
                <a:gd name="T82" fmla="*/ 165 w 524"/>
                <a:gd name="T83" fmla="*/ 3 h 470"/>
                <a:gd name="T84" fmla="*/ 159 w 524"/>
                <a:gd name="T85" fmla="*/ 0 h 470"/>
                <a:gd name="T86" fmla="*/ 145 w 524"/>
                <a:gd name="T87" fmla="*/ 4 h 470"/>
                <a:gd name="T88" fmla="*/ 105 w 524"/>
                <a:gd name="T89" fmla="*/ 0 h 470"/>
                <a:gd name="T90" fmla="*/ 105 w 524"/>
                <a:gd name="T91" fmla="*/ 24 h 470"/>
                <a:gd name="T92" fmla="*/ 87 w 524"/>
                <a:gd name="T93" fmla="*/ 36 h 470"/>
                <a:gd name="T94" fmla="*/ 62 w 524"/>
                <a:gd name="T95" fmla="*/ 40 h 470"/>
                <a:gd name="T96" fmla="*/ 27 w 524"/>
                <a:gd name="T97" fmla="*/ 57 h 470"/>
                <a:gd name="T98" fmla="*/ 0 w 524"/>
                <a:gd name="T99" fmla="*/ 63 h 470"/>
                <a:gd name="T100" fmla="*/ 0 w 524"/>
                <a:gd name="T101" fmla="*/ 67 h 470"/>
                <a:gd name="T102" fmla="*/ 27 w 524"/>
                <a:gd name="T103" fmla="*/ 97 h 470"/>
                <a:gd name="T104" fmla="*/ 27 w 524"/>
                <a:gd name="T105" fmla="*/ 105 h 4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24" h="470">
                  <a:moveTo>
                    <a:pt x="63" y="326"/>
                  </a:moveTo>
                  <a:lnTo>
                    <a:pt x="138" y="395"/>
                  </a:lnTo>
                  <a:lnTo>
                    <a:pt x="198" y="407"/>
                  </a:lnTo>
                  <a:lnTo>
                    <a:pt x="255" y="398"/>
                  </a:lnTo>
                  <a:lnTo>
                    <a:pt x="273" y="407"/>
                  </a:lnTo>
                  <a:lnTo>
                    <a:pt x="294" y="395"/>
                  </a:lnTo>
                  <a:lnTo>
                    <a:pt x="309" y="410"/>
                  </a:lnTo>
                  <a:lnTo>
                    <a:pt x="315" y="431"/>
                  </a:lnTo>
                  <a:lnTo>
                    <a:pt x="342" y="449"/>
                  </a:lnTo>
                  <a:lnTo>
                    <a:pt x="378" y="449"/>
                  </a:lnTo>
                  <a:lnTo>
                    <a:pt x="405" y="470"/>
                  </a:lnTo>
                  <a:lnTo>
                    <a:pt x="429" y="458"/>
                  </a:lnTo>
                  <a:lnTo>
                    <a:pt x="450" y="470"/>
                  </a:lnTo>
                  <a:lnTo>
                    <a:pt x="464" y="440"/>
                  </a:lnTo>
                  <a:lnTo>
                    <a:pt x="485" y="428"/>
                  </a:lnTo>
                  <a:lnTo>
                    <a:pt x="491" y="401"/>
                  </a:lnTo>
                  <a:lnTo>
                    <a:pt x="482" y="356"/>
                  </a:lnTo>
                  <a:lnTo>
                    <a:pt x="479" y="353"/>
                  </a:lnTo>
                  <a:lnTo>
                    <a:pt x="456" y="377"/>
                  </a:lnTo>
                  <a:lnTo>
                    <a:pt x="423" y="347"/>
                  </a:lnTo>
                  <a:lnTo>
                    <a:pt x="396" y="317"/>
                  </a:lnTo>
                  <a:lnTo>
                    <a:pt x="423" y="299"/>
                  </a:lnTo>
                  <a:lnTo>
                    <a:pt x="429" y="266"/>
                  </a:lnTo>
                  <a:lnTo>
                    <a:pt x="444" y="254"/>
                  </a:lnTo>
                  <a:lnTo>
                    <a:pt x="441" y="212"/>
                  </a:lnTo>
                  <a:lnTo>
                    <a:pt x="453" y="203"/>
                  </a:lnTo>
                  <a:lnTo>
                    <a:pt x="473" y="215"/>
                  </a:lnTo>
                  <a:lnTo>
                    <a:pt x="485" y="233"/>
                  </a:lnTo>
                  <a:lnTo>
                    <a:pt x="515" y="215"/>
                  </a:lnTo>
                  <a:lnTo>
                    <a:pt x="524" y="206"/>
                  </a:lnTo>
                  <a:lnTo>
                    <a:pt x="518" y="185"/>
                  </a:lnTo>
                  <a:lnTo>
                    <a:pt x="485" y="167"/>
                  </a:lnTo>
                  <a:lnTo>
                    <a:pt x="479" y="146"/>
                  </a:lnTo>
                  <a:lnTo>
                    <a:pt x="423" y="152"/>
                  </a:lnTo>
                  <a:lnTo>
                    <a:pt x="387" y="122"/>
                  </a:lnTo>
                  <a:lnTo>
                    <a:pt x="372" y="116"/>
                  </a:lnTo>
                  <a:lnTo>
                    <a:pt x="372" y="95"/>
                  </a:lnTo>
                  <a:lnTo>
                    <a:pt x="450" y="8"/>
                  </a:lnTo>
                  <a:lnTo>
                    <a:pt x="423" y="14"/>
                  </a:lnTo>
                  <a:lnTo>
                    <a:pt x="405" y="26"/>
                  </a:lnTo>
                  <a:lnTo>
                    <a:pt x="396" y="17"/>
                  </a:lnTo>
                  <a:lnTo>
                    <a:pt x="396" y="3"/>
                  </a:lnTo>
                  <a:lnTo>
                    <a:pt x="384" y="0"/>
                  </a:lnTo>
                  <a:lnTo>
                    <a:pt x="348" y="11"/>
                  </a:lnTo>
                  <a:lnTo>
                    <a:pt x="255" y="0"/>
                  </a:lnTo>
                  <a:lnTo>
                    <a:pt x="252" y="74"/>
                  </a:lnTo>
                  <a:lnTo>
                    <a:pt x="207" y="110"/>
                  </a:lnTo>
                  <a:lnTo>
                    <a:pt x="150" y="122"/>
                  </a:lnTo>
                  <a:lnTo>
                    <a:pt x="66" y="179"/>
                  </a:lnTo>
                  <a:lnTo>
                    <a:pt x="0" y="197"/>
                  </a:lnTo>
                  <a:lnTo>
                    <a:pt x="0" y="206"/>
                  </a:lnTo>
                  <a:lnTo>
                    <a:pt x="63" y="299"/>
                  </a:lnTo>
                  <a:lnTo>
                    <a:pt x="63" y="326"/>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1" name="Freeform 25"/>
            <p:cNvSpPr>
              <a:spLocks/>
            </p:cNvSpPr>
            <p:nvPr/>
          </p:nvSpPr>
          <p:spPr bwMode="auto">
            <a:xfrm>
              <a:off x="4394449" y="3067075"/>
              <a:ext cx="423862" cy="865187"/>
            </a:xfrm>
            <a:custGeom>
              <a:avLst/>
              <a:gdLst>
                <a:gd name="T0" fmla="*/ 9 w 303"/>
                <a:gd name="T1" fmla="*/ 203 h 623"/>
                <a:gd name="T2" fmla="*/ 36 w 303"/>
                <a:gd name="T3" fmla="*/ 198 h 623"/>
                <a:gd name="T4" fmla="*/ 70 w 303"/>
                <a:gd name="T5" fmla="*/ 179 h 623"/>
                <a:gd name="T6" fmla="*/ 93 w 303"/>
                <a:gd name="T7" fmla="*/ 175 h 623"/>
                <a:gd name="T8" fmla="*/ 112 w 303"/>
                <a:gd name="T9" fmla="*/ 164 h 623"/>
                <a:gd name="T10" fmla="*/ 112 w 303"/>
                <a:gd name="T11" fmla="*/ 139 h 623"/>
                <a:gd name="T12" fmla="*/ 103 w 303"/>
                <a:gd name="T13" fmla="*/ 131 h 623"/>
                <a:gd name="T14" fmla="*/ 108 w 303"/>
                <a:gd name="T15" fmla="*/ 123 h 623"/>
                <a:gd name="T16" fmla="*/ 112 w 303"/>
                <a:gd name="T17" fmla="*/ 117 h 623"/>
                <a:gd name="T18" fmla="*/ 115 w 303"/>
                <a:gd name="T19" fmla="*/ 105 h 623"/>
                <a:gd name="T20" fmla="*/ 121 w 303"/>
                <a:gd name="T21" fmla="*/ 99 h 623"/>
                <a:gd name="T22" fmla="*/ 112 w 303"/>
                <a:gd name="T23" fmla="*/ 84 h 623"/>
                <a:gd name="T24" fmla="*/ 98 w 303"/>
                <a:gd name="T25" fmla="*/ 72 h 623"/>
                <a:gd name="T26" fmla="*/ 105 w 303"/>
                <a:gd name="T27" fmla="*/ 53 h 623"/>
                <a:gd name="T28" fmla="*/ 122 w 303"/>
                <a:gd name="T29" fmla="*/ 45 h 623"/>
                <a:gd name="T30" fmla="*/ 123 w 303"/>
                <a:gd name="T31" fmla="*/ 33 h 623"/>
                <a:gd name="T32" fmla="*/ 117 w 303"/>
                <a:gd name="T33" fmla="*/ 21 h 623"/>
                <a:gd name="T34" fmla="*/ 117 w 303"/>
                <a:gd name="T35" fmla="*/ 7 h 623"/>
                <a:gd name="T36" fmla="*/ 108 w 303"/>
                <a:gd name="T37" fmla="*/ 0 h 623"/>
                <a:gd name="T38" fmla="*/ 83 w 303"/>
                <a:gd name="T39" fmla="*/ 10 h 623"/>
                <a:gd name="T40" fmla="*/ 79 w 303"/>
                <a:gd name="T41" fmla="*/ 7 h 623"/>
                <a:gd name="T42" fmla="*/ 65 w 303"/>
                <a:gd name="T43" fmla="*/ 13 h 623"/>
                <a:gd name="T44" fmla="*/ 56 w 303"/>
                <a:gd name="T45" fmla="*/ 13 h 623"/>
                <a:gd name="T46" fmla="*/ 36 w 303"/>
                <a:gd name="T47" fmla="*/ 37 h 623"/>
                <a:gd name="T48" fmla="*/ 29 w 303"/>
                <a:gd name="T49" fmla="*/ 37 h 623"/>
                <a:gd name="T50" fmla="*/ 18 w 303"/>
                <a:gd name="T51" fmla="*/ 45 h 623"/>
                <a:gd name="T52" fmla="*/ 20 w 303"/>
                <a:gd name="T53" fmla="*/ 55 h 623"/>
                <a:gd name="T54" fmla="*/ 14 w 303"/>
                <a:gd name="T55" fmla="*/ 64 h 623"/>
                <a:gd name="T56" fmla="*/ 13 w 303"/>
                <a:gd name="T57" fmla="*/ 75 h 623"/>
                <a:gd name="T58" fmla="*/ 3 w 303"/>
                <a:gd name="T59" fmla="*/ 88 h 623"/>
                <a:gd name="T60" fmla="*/ 13 w 303"/>
                <a:gd name="T61" fmla="*/ 105 h 623"/>
                <a:gd name="T62" fmla="*/ 9 w 303"/>
                <a:gd name="T63" fmla="*/ 117 h 623"/>
                <a:gd name="T64" fmla="*/ 0 w 303"/>
                <a:gd name="T65" fmla="*/ 127 h 623"/>
                <a:gd name="T66" fmla="*/ 13 w 303"/>
                <a:gd name="T67" fmla="*/ 171 h 623"/>
                <a:gd name="T68" fmla="*/ 5 w 303"/>
                <a:gd name="T69" fmla="*/ 193 h 623"/>
                <a:gd name="T70" fmla="*/ 9 w 303"/>
                <a:gd name="T71" fmla="*/ 203 h 6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03" h="623">
                  <a:moveTo>
                    <a:pt x="21" y="623"/>
                  </a:moveTo>
                  <a:lnTo>
                    <a:pt x="87" y="605"/>
                  </a:lnTo>
                  <a:lnTo>
                    <a:pt x="171" y="548"/>
                  </a:lnTo>
                  <a:lnTo>
                    <a:pt x="228" y="536"/>
                  </a:lnTo>
                  <a:lnTo>
                    <a:pt x="273" y="500"/>
                  </a:lnTo>
                  <a:lnTo>
                    <a:pt x="276" y="426"/>
                  </a:lnTo>
                  <a:lnTo>
                    <a:pt x="255" y="399"/>
                  </a:lnTo>
                  <a:lnTo>
                    <a:pt x="264" y="378"/>
                  </a:lnTo>
                  <a:lnTo>
                    <a:pt x="276" y="357"/>
                  </a:lnTo>
                  <a:lnTo>
                    <a:pt x="282" y="324"/>
                  </a:lnTo>
                  <a:lnTo>
                    <a:pt x="294" y="303"/>
                  </a:lnTo>
                  <a:lnTo>
                    <a:pt x="273" y="258"/>
                  </a:lnTo>
                  <a:lnTo>
                    <a:pt x="240" y="219"/>
                  </a:lnTo>
                  <a:lnTo>
                    <a:pt x="258" y="162"/>
                  </a:lnTo>
                  <a:lnTo>
                    <a:pt x="297" y="135"/>
                  </a:lnTo>
                  <a:lnTo>
                    <a:pt x="303" y="99"/>
                  </a:lnTo>
                  <a:lnTo>
                    <a:pt x="288" y="63"/>
                  </a:lnTo>
                  <a:lnTo>
                    <a:pt x="288" y="21"/>
                  </a:lnTo>
                  <a:lnTo>
                    <a:pt x="264" y="0"/>
                  </a:lnTo>
                  <a:lnTo>
                    <a:pt x="204" y="30"/>
                  </a:lnTo>
                  <a:lnTo>
                    <a:pt x="195" y="21"/>
                  </a:lnTo>
                  <a:lnTo>
                    <a:pt x="162" y="42"/>
                  </a:lnTo>
                  <a:lnTo>
                    <a:pt x="138" y="42"/>
                  </a:lnTo>
                  <a:lnTo>
                    <a:pt x="87" y="114"/>
                  </a:lnTo>
                  <a:lnTo>
                    <a:pt x="72" y="114"/>
                  </a:lnTo>
                  <a:lnTo>
                    <a:pt x="45" y="135"/>
                  </a:lnTo>
                  <a:lnTo>
                    <a:pt x="48" y="168"/>
                  </a:lnTo>
                  <a:lnTo>
                    <a:pt x="33" y="195"/>
                  </a:lnTo>
                  <a:lnTo>
                    <a:pt x="30" y="231"/>
                  </a:lnTo>
                  <a:lnTo>
                    <a:pt x="3" y="270"/>
                  </a:lnTo>
                  <a:lnTo>
                    <a:pt x="30" y="324"/>
                  </a:lnTo>
                  <a:lnTo>
                    <a:pt x="21" y="357"/>
                  </a:lnTo>
                  <a:lnTo>
                    <a:pt x="0" y="390"/>
                  </a:lnTo>
                  <a:lnTo>
                    <a:pt x="30" y="524"/>
                  </a:lnTo>
                  <a:lnTo>
                    <a:pt x="12" y="593"/>
                  </a:lnTo>
                  <a:lnTo>
                    <a:pt x="21" y="623"/>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2" name="Freeform 26"/>
            <p:cNvSpPr>
              <a:spLocks/>
            </p:cNvSpPr>
            <p:nvPr/>
          </p:nvSpPr>
          <p:spPr bwMode="auto">
            <a:xfrm>
              <a:off x="4946899" y="3333775"/>
              <a:ext cx="792162" cy="536575"/>
            </a:xfrm>
            <a:custGeom>
              <a:avLst/>
              <a:gdLst>
                <a:gd name="T0" fmla="*/ 50 w 566"/>
                <a:gd name="T1" fmla="*/ 122 h 386"/>
                <a:gd name="T2" fmla="*/ 53 w 566"/>
                <a:gd name="T3" fmla="*/ 115 h 386"/>
                <a:gd name="T4" fmla="*/ 60 w 566"/>
                <a:gd name="T5" fmla="*/ 111 h 386"/>
                <a:gd name="T6" fmla="*/ 75 w 566"/>
                <a:gd name="T7" fmla="*/ 122 h 386"/>
                <a:gd name="T8" fmla="*/ 79 w 566"/>
                <a:gd name="T9" fmla="*/ 122 h 386"/>
                <a:gd name="T10" fmla="*/ 92 w 566"/>
                <a:gd name="T11" fmla="*/ 121 h 386"/>
                <a:gd name="T12" fmla="*/ 101 w 566"/>
                <a:gd name="T13" fmla="*/ 116 h 386"/>
                <a:gd name="T14" fmla="*/ 112 w 566"/>
                <a:gd name="T15" fmla="*/ 123 h 386"/>
                <a:gd name="T16" fmla="*/ 118 w 566"/>
                <a:gd name="T17" fmla="*/ 116 h 386"/>
                <a:gd name="T18" fmla="*/ 119 w 566"/>
                <a:gd name="T19" fmla="*/ 111 h 386"/>
                <a:gd name="T20" fmla="*/ 127 w 566"/>
                <a:gd name="T21" fmla="*/ 108 h 386"/>
                <a:gd name="T22" fmla="*/ 131 w 566"/>
                <a:gd name="T23" fmla="*/ 99 h 386"/>
                <a:gd name="T24" fmla="*/ 139 w 566"/>
                <a:gd name="T25" fmla="*/ 97 h 386"/>
                <a:gd name="T26" fmla="*/ 164 w 566"/>
                <a:gd name="T27" fmla="*/ 63 h 386"/>
                <a:gd name="T28" fmla="*/ 159 w 566"/>
                <a:gd name="T29" fmla="*/ 57 h 386"/>
                <a:gd name="T30" fmla="*/ 164 w 566"/>
                <a:gd name="T31" fmla="*/ 54 h 386"/>
                <a:gd name="T32" fmla="*/ 172 w 566"/>
                <a:gd name="T33" fmla="*/ 55 h 386"/>
                <a:gd name="T34" fmla="*/ 180 w 566"/>
                <a:gd name="T35" fmla="*/ 51 h 386"/>
                <a:gd name="T36" fmla="*/ 182 w 566"/>
                <a:gd name="T37" fmla="*/ 43 h 386"/>
                <a:gd name="T38" fmla="*/ 206 w 566"/>
                <a:gd name="T39" fmla="*/ 27 h 386"/>
                <a:gd name="T40" fmla="*/ 221 w 566"/>
                <a:gd name="T41" fmla="*/ 23 h 386"/>
                <a:gd name="T42" fmla="*/ 229 w 566"/>
                <a:gd name="T43" fmla="*/ 17 h 386"/>
                <a:gd name="T44" fmla="*/ 227 w 566"/>
                <a:gd name="T45" fmla="*/ 4 h 386"/>
                <a:gd name="T46" fmla="*/ 216 w 566"/>
                <a:gd name="T47" fmla="*/ 4 h 386"/>
                <a:gd name="T48" fmla="*/ 189 w 566"/>
                <a:gd name="T49" fmla="*/ 6 h 386"/>
                <a:gd name="T50" fmla="*/ 173 w 566"/>
                <a:gd name="T51" fmla="*/ 0 h 386"/>
                <a:gd name="T52" fmla="*/ 164 w 566"/>
                <a:gd name="T53" fmla="*/ 3 h 386"/>
                <a:gd name="T54" fmla="*/ 137 w 566"/>
                <a:gd name="T55" fmla="*/ 27 h 386"/>
                <a:gd name="T56" fmla="*/ 131 w 566"/>
                <a:gd name="T57" fmla="*/ 31 h 386"/>
                <a:gd name="T58" fmla="*/ 114 w 566"/>
                <a:gd name="T59" fmla="*/ 26 h 386"/>
                <a:gd name="T60" fmla="*/ 112 w 566"/>
                <a:gd name="T61" fmla="*/ 19 h 386"/>
                <a:gd name="T62" fmla="*/ 110 w 566"/>
                <a:gd name="T63" fmla="*/ 7 h 386"/>
                <a:gd name="T64" fmla="*/ 101 w 566"/>
                <a:gd name="T65" fmla="*/ 4 h 386"/>
                <a:gd name="T66" fmla="*/ 84 w 566"/>
                <a:gd name="T67" fmla="*/ 6 h 386"/>
                <a:gd name="T68" fmla="*/ 76 w 566"/>
                <a:gd name="T69" fmla="*/ 0 h 386"/>
                <a:gd name="T70" fmla="*/ 62 w 566"/>
                <a:gd name="T71" fmla="*/ 15 h 386"/>
                <a:gd name="T72" fmla="*/ 47 w 566"/>
                <a:gd name="T73" fmla="*/ 17 h 386"/>
                <a:gd name="T74" fmla="*/ 28 w 566"/>
                <a:gd name="T75" fmla="*/ 32 h 386"/>
                <a:gd name="T76" fmla="*/ 5 w 566"/>
                <a:gd name="T77" fmla="*/ 64 h 386"/>
                <a:gd name="T78" fmla="*/ 12 w 566"/>
                <a:gd name="T79" fmla="*/ 73 h 386"/>
                <a:gd name="T80" fmla="*/ 10 w 566"/>
                <a:gd name="T81" fmla="*/ 78 h 386"/>
                <a:gd name="T82" fmla="*/ 10 w 566"/>
                <a:gd name="T83" fmla="*/ 81 h 386"/>
                <a:gd name="T84" fmla="*/ 14 w 566"/>
                <a:gd name="T85" fmla="*/ 84 h 386"/>
                <a:gd name="T86" fmla="*/ 21 w 566"/>
                <a:gd name="T87" fmla="*/ 80 h 386"/>
                <a:gd name="T88" fmla="*/ 31 w 566"/>
                <a:gd name="T89" fmla="*/ 79 h 386"/>
                <a:gd name="T90" fmla="*/ 0 w 566"/>
                <a:gd name="T91" fmla="*/ 107 h 386"/>
                <a:gd name="T92" fmla="*/ 0 w 566"/>
                <a:gd name="T93" fmla="*/ 114 h 386"/>
                <a:gd name="T94" fmla="*/ 5 w 566"/>
                <a:gd name="T95" fmla="*/ 116 h 386"/>
                <a:gd name="T96" fmla="*/ 21 w 566"/>
                <a:gd name="T97" fmla="*/ 125 h 386"/>
                <a:gd name="T98" fmla="*/ 44 w 566"/>
                <a:gd name="T99" fmla="*/ 124 h 386"/>
                <a:gd name="T100" fmla="*/ 50 w 566"/>
                <a:gd name="T101" fmla="*/ 122 h 3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66" h="386">
                  <a:moveTo>
                    <a:pt x="125" y="374"/>
                  </a:moveTo>
                  <a:lnTo>
                    <a:pt x="128" y="353"/>
                  </a:lnTo>
                  <a:lnTo>
                    <a:pt x="149" y="344"/>
                  </a:lnTo>
                  <a:lnTo>
                    <a:pt x="185" y="374"/>
                  </a:lnTo>
                  <a:lnTo>
                    <a:pt x="197" y="374"/>
                  </a:lnTo>
                  <a:lnTo>
                    <a:pt x="230" y="371"/>
                  </a:lnTo>
                  <a:lnTo>
                    <a:pt x="251" y="356"/>
                  </a:lnTo>
                  <a:lnTo>
                    <a:pt x="278" y="377"/>
                  </a:lnTo>
                  <a:lnTo>
                    <a:pt x="290" y="356"/>
                  </a:lnTo>
                  <a:lnTo>
                    <a:pt x="293" y="344"/>
                  </a:lnTo>
                  <a:lnTo>
                    <a:pt x="314" y="332"/>
                  </a:lnTo>
                  <a:lnTo>
                    <a:pt x="323" y="305"/>
                  </a:lnTo>
                  <a:lnTo>
                    <a:pt x="344" y="299"/>
                  </a:lnTo>
                  <a:lnTo>
                    <a:pt x="407" y="195"/>
                  </a:lnTo>
                  <a:lnTo>
                    <a:pt x="395" y="177"/>
                  </a:lnTo>
                  <a:lnTo>
                    <a:pt x="407" y="165"/>
                  </a:lnTo>
                  <a:lnTo>
                    <a:pt x="422" y="168"/>
                  </a:lnTo>
                  <a:lnTo>
                    <a:pt x="443" y="159"/>
                  </a:lnTo>
                  <a:lnTo>
                    <a:pt x="452" y="132"/>
                  </a:lnTo>
                  <a:lnTo>
                    <a:pt x="506" y="84"/>
                  </a:lnTo>
                  <a:lnTo>
                    <a:pt x="545" y="72"/>
                  </a:lnTo>
                  <a:lnTo>
                    <a:pt x="566" y="54"/>
                  </a:lnTo>
                  <a:lnTo>
                    <a:pt x="560" y="15"/>
                  </a:lnTo>
                  <a:lnTo>
                    <a:pt x="533" y="12"/>
                  </a:lnTo>
                  <a:lnTo>
                    <a:pt x="470" y="18"/>
                  </a:lnTo>
                  <a:lnTo>
                    <a:pt x="428" y="0"/>
                  </a:lnTo>
                  <a:lnTo>
                    <a:pt x="404" y="3"/>
                  </a:lnTo>
                  <a:lnTo>
                    <a:pt x="341" y="84"/>
                  </a:lnTo>
                  <a:lnTo>
                    <a:pt x="323" y="96"/>
                  </a:lnTo>
                  <a:lnTo>
                    <a:pt x="281" y="78"/>
                  </a:lnTo>
                  <a:lnTo>
                    <a:pt x="278" y="57"/>
                  </a:lnTo>
                  <a:lnTo>
                    <a:pt x="269" y="21"/>
                  </a:lnTo>
                  <a:lnTo>
                    <a:pt x="248" y="9"/>
                  </a:lnTo>
                  <a:lnTo>
                    <a:pt x="209" y="18"/>
                  </a:lnTo>
                  <a:lnTo>
                    <a:pt x="188" y="0"/>
                  </a:lnTo>
                  <a:lnTo>
                    <a:pt x="152" y="45"/>
                  </a:lnTo>
                  <a:lnTo>
                    <a:pt x="116" y="54"/>
                  </a:lnTo>
                  <a:lnTo>
                    <a:pt x="69" y="99"/>
                  </a:lnTo>
                  <a:lnTo>
                    <a:pt x="12" y="198"/>
                  </a:lnTo>
                  <a:lnTo>
                    <a:pt x="27" y="225"/>
                  </a:lnTo>
                  <a:lnTo>
                    <a:pt x="24" y="237"/>
                  </a:lnTo>
                  <a:lnTo>
                    <a:pt x="24" y="251"/>
                  </a:lnTo>
                  <a:lnTo>
                    <a:pt x="33" y="260"/>
                  </a:lnTo>
                  <a:lnTo>
                    <a:pt x="51" y="248"/>
                  </a:lnTo>
                  <a:lnTo>
                    <a:pt x="78" y="242"/>
                  </a:lnTo>
                  <a:lnTo>
                    <a:pt x="0" y="329"/>
                  </a:lnTo>
                  <a:lnTo>
                    <a:pt x="0" y="350"/>
                  </a:lnTo>
                  <a:lnTo>
                    <a:pt x="15" y="356"/>
                  </a:lnTo>
                  <a:lnTo>
                    <a:pt x="51" y="386"/>
                  </a:lnTo>
                  <a:lnTo>
                    <a:pt x="107" y="380"/>
                  </a:lnTo>
                  <a:lnTo>
                    <a:pt x="125" y="374"/>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3" name="Freeform 27"/>
            <p:cNvSpPr>
              <a:spLocks/>
            </p:cNvSpPr>
            <p:nvPr/>
          </p:nvSpPr>
          <p:spPr bwMode="auto">
            <a:xfrm>
              <a:off x="4723061" y="2735287"/>
              <a:ext cx="658813" cy="938213"/>
            </a:xfrm>
            <a:custGeom>
              <a:avLst/>
              <a:gdLst>
                <a:gd name="T0" fmla="*/ 77 w 470"/>
                <a:gd name="T1" fmla="*/ 213 h 677"/>
                <a:gd name="T2" fmla="*/ 94 w 470"/>
                <a:gd name="T3" fmla="*/ 172 h 677"/>
                <a:gd name="T4" fmla="*/ 128 w 470"/>
                <a:gd name="T5" fmla="*/ 155 h 677"/>
                <a:gd name="T6" fmla="*/ 135 w 470"/>
                <a:gd name="T7" fmla="*/ 138 h 677"/>
                <a:gd name="T8" fmla="*/ 121 w 470"/>
                <a:gd name="T9" fmla="*/ 131 h 677"/>
                <a:gd name="T10" fmla="*/ 102 w 470"/>
                <a:gd name="T11" fmla="*/ 124 h 677"/>
                <a:gd name="T12" fmla="*/ 93 w 470"/>
                <a:gd name="T13" fmla="*/ 104 h 677"/>
                <a:gd name="T14" fmla="*/ 74 w 470"/>
                <a:gd name="T15" fmla="*/ 105 h 677"/>
                <a:gd name="T16" fmla="*/ 55 w 470"/>
                <a:gd name="T17" fmla="*/ 100 h 677"/>
                <a:gd name="T18" fmla="*/ 70 w 470"/>
                <a:gd name="T19" fmla="*/ 79 h 677"/>
                <a:gd name="T20" fmla="*/ 85 w 470"/>
                <a:gd name="T21" fmla="*/ 56 h 677"/>
                <a:gd name="T22" fmla="*/ 113 w 470"/>
                <a:gd name="T23" fmla="*/ 65 h 677"/>
                <a:gd name="T24" fmla="*/ 122 w 470"/>
                <a:gd name="T25" fmla="*/ 80 h 677"/>
                <a:gd name="T26" fmla="*/ 124 w 470"/>
                <a:gd name="T27" fmla="*/ 94 h 677"/>
                <a:gd name="T28" fmla="*/ 140 w 470"/>
                <a:gd name="T29" fmla="*/ 105 h 677"/>
                <a:gd name="T30" fmla="*/ 177 w 470"/>
                <a:gd name="T31" fmla="*/ 98 h 677"/>
                <a:gd name="T32" fmla="*/ 193 w 470"/>
                <a:gd name="T33" fmla="*/ 73 h 677"/>
                <a:gd name="T34" fmla="*/ 174 w 470"/>
                <a:gd name="T35" fmla="*/ 60 h 677"/>
                <a:gd name="T36" fmla="*/ 162 w 470"/>
                <a:gd name="T37" fmla="*/ 39 h 677"/>
                <a:gd name="T38" fmla="*/ 128 w 470"/>
                <a:gd name="T39" fmla="*/ 24 h 677"/>
                <a:gd name="T40" fmla="*/ 110 w 470"/>
                <a:gd name="T41" fmla="*/ 0 h 677"/>
                <a:gd name="T42" fmla="*/ 85 w 470"/>
                <a:gd name="T43" fmla="*/ 15 h 677"/>
                <a:gd name="T44" fmla="*/ 86 w 470"/>
                <a:gd name="T45" fmla="*/ 26 h 677"/>
                <a:gd name="T46" fmla="*/ 63 w 470"/>
                <a:gd name="T47" fmla="*/ 31 h 677"/>
                <a:gd name="T48" fmla="*/ 49 w 470"/>
                <a:gd name="T49" fmla="*/ 34 h 677"/>
                <a:gd name="T50" fmla="*/ 28 w 470"/>
                <a:gd name="T51" fmla="*/ 40 h 677"/>
                <a:gd name="T52" fmla="*/ 23 w 470"/>
                <a:gd name="T53" fmla="*/ 26 h 677"/>
                <a:gd name="T54" fmla="*/ 5 w 470"/>
                <a:gd name="T55" fmla="*/ 45 h 677"/>
                <a:gd name="T56" fmla="*/ 13 w 470"/>
                <a:gd name="T57" fmla="*/ 78 h 677"/>
                <a:gd name="T58" fmla="*/ 23 w 470"/>
                <a:gd name="T59" fmla="*/ 98 h 677"/>
                <a:gd name="T60" fmla="*/ 26 w 470"/>
                <a:gd name="T61" fmla="*/ 122 h 677"/>
                <a:gd name="T62" fmla="*/ 5 w 470"/>
                <a:gd name="T63" fmla="*/ 148 h 677"/>
                <a:gd name="T64" fmla="*/ 25 w 470"/>
                <a:gd name="T65" fmla="*/ 176 h 677"/>
                <a:gd name="T66" fmla="*/ 17 w 470"/>
                <a:gd name="T67" fmla="*/ 194 h 677"/>
                <a:gd name="T68" fmla="*/ 9 w 470"/>
                <a:gd name="T69" fmla="*/ 207 h 677"/>
                <a:gd name="T70" fmla="*/ 55 w 470"/>
                <a:gd name="T71" fmla="*/ 220 h 677"/>
                <a:gd name="T72" fmla="*/ 75 w 470"/>
                <a:gd name="T73" fmla="*/ 217 h 6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70" h="677">
                  <a:moveTo>
                    <a:pt x="183" y="669"/>
                  </a:moveTo>
                  <a:lnTo>
                    <a:pt x="186" y="657"/>
                  </a:lnTo>
                  <a:lnTo>
                    <a:pt x="171" y="630"/>
                  </a:lnTo>
                  <a:lnTo>
                    <a:pt x="228" y="531"/>
                  </a:lnTo>
                  <a:lnTo>
                    <a:pt x="275" y="486"/>
                  </a:lnTo>
                  <a:lnTo>
                    <a:pt x="311" y="477"/>
                  </a:lnTo>
                  <a:lnTo>
                    <a:pt x="347" y="432"/>
                  </a:lnTo>
                  <a:lnTo>
                    <a:pt x="332" y="423"/>
                  </a:lnTo>
                  <a:lnTo>
                    <a:pt x="320" y="393"/>
                  </a:lnTo>
                  <a:lnTo>
                    <a:pt x="293" y="402"/>
                  </a:lnTo>
                  <a:lnTo>
                    <a:pt x="251" y="393"/>
                  </a:lnTo>
                  <a:lnTo>
                    <a:pt x="248" y="381"/>
                  </a:lnTo>
                  <a:lnTo>
                    <a:pt x="248" y="306"/>
                  </a:lnTo>
                  <a:lnTo>
                    <a:pt x="225" y="318"/>
                  </a:lnTo>
                  <a:lnTo>
                    <a:pt x="210" y="330"/>
                  </a:lnTo>
                  <a:lnTo>
                    <a:pt x="180" y="321"/>
                  </a:lnTo>
                  <a:lnTo>
                    <a:pt x="141" y="327"/>
                  </a:lnTo>
                  <a:lnTo>
                    <a:pt x="135" y="309"/>
                  </a:lnTo>
                  <a:lnTo>
                    <a:pt x="141" y="276"/>
                  </a:lnTo>
                  <a:lnTo>
                    <a:pt x="171" y="243"/>
                  </a:lnTo>
                  <a:lnTo>
                    <a:pt x="177" y="204"/>
                  </a:lnTo>
                  <a:lnTo>
                    <a:pt x="207" y="174"/>
                  </a:lnTo>
                  <a:lnTo>
                    <a:pt x="257" y="201"/>
                  </a:lnTo>
                  <a:lnTo>
                    <a:pt x="272" y="201"/>
                  </a:lnTo>
                  <a:lnTo>
                    <a:pt x="281" y="240"/>
                  </a:lnTo>
                  <a:lnTo>
                    <a:pt x="296" y="246"/>
                  </a:lnTo>
                  <a:lnTo>
                    <a:pt x="302" y="270"/>
                  </a:lnTo>
                  <a:lnTo>
                    <a:pt x="302" y="288"/>
                  </a:lnTo>
                  <a:lnTo>
                    <a:pt x="332" y="309"/>
                  </a:lnTo>
                  <a:lnTo>
                    <a:pt x="338" y="327"/>
                  </a:lnTo>
                  <a:lnTo>
                    <a:pt x="365" y="339"/>
                  </a:lnTo>
                  <a:lnTo>
                    <a:pt x="431" y="303"/>
                  </a:lnTo>
                  <a:lnTo>
                    <a:pt x="431" y="282"/>
                  </a:lnTo>
                  <a:lnTo>
                    <a:pt x="470" y="225"/>
                  </a:lnTo>
                  <a:lnTo>
                    <a:pt x="443" y="186"/>
                  </a:lnTo>
                  <a:lnTo>
                    <a:pt x="422" y="186"/>
                  </a:lnTo>
                  <a:lnTo>
                    <a:pt x="383" y="159"/>
                  </a:lnTo>
                  <a:lnTo>
                    <a:pt x="395" y="120"/>
                  </a:lnTo>
                  <a:lnTo>
                    <a:pt x="338" y="114"/>
                  </a:lnTo>
                  <a:lnTo>
                    <a:pt x="311" y="75"/>
                  </a:lnTo>
                  <a:lnTo>
                    <a:pt x="314" y="54"/>
                  </a:lnTo>
                  <a:lnTo>
                    <a:pt x="266" y="0"/>
                  </a:lnTo>
                  <a:lnTo>
                    <a:pt x="234" y="18"/>
                  </a:lnTo>
                  <a:lnTo>
                    <a:pt x="207" y="45"/>
                  </a:lnTo>
                  <a:lnTo>
                    <a:pt x="216" y="66"/>
                  </a:lnTo>
                  <a:lnTo>
                    <a:pt x="210" y="78"/>
                  </a:lnTo>
                  <a:lnTo>
                    <a:pt x="171" y="81"/>
                  </a:lnTo>
                  <a:lnTo>
                    <a:pt x="153" y="96"/>
                  </a:lnTo>
                  <a:lnTo>
                    <a:pt x="135" y="90"/>
                  </a:lnTo>
                  <a:lnTo>
                    <a:pt x="120" y="105"/>
                  </a:lnTo>
                  <a:lnTo>
                    <a:pt x="84" y="132"/>
                  </a:lnTo>
                  <a:lnTo>
                    <a:pt x="69" y="123"/>
                  </a:lnTo>
                  <a:lnTo>
                    <a:pt x="69" y="84"/>
                  </a:lnTo>
                  <a:lnTo>
                    <a:pt x="54" y="78"/>
                  </a:lnTo>
                  <a:lnTo>
                    <a:pt x="33" y="87"/>
                  </a:lnTo>
                  <a:lnTo>
                    <a:pt x="9" y="141"/>
                  </a:lnTo>
                  <a:lnTo>
                    <a:pt x="0" y="189"/>
                  </a:lnTo>
                  <a:lnTo>
                    <a:pt x="30" y="240"/>
                  </a:lnTo>
                  <a:lnTo>
                    <a:pt x="54" y="261"/>
                  </a:lnTo>
                  <a:lnTo>
                    <a:pt x="54" y="303"/>
                  </a:lnTo>
                  <a:lnTo>
                    <a:pt x="69" y="339"/>
                  </a:lnTo>
                  <a:lnTo>
                    <a:pt x="63" y="375"/>
                  </a:lnTo>
                  <a:lnTo>
                    <a:pt x="24" y="402"/>
                  </a:lnTo>
                  <a:lnTo>
                    <a:pt x="6" y="459"/>
                  </a:lnTo>
                  <a:lnTo>
                    <a:pt x="39" y="498"/>
                  </a:lnTo>
                  <a:lnTo>
                    <a:pt x="60" y="543"/>
                  </a:lnTo>
                  <a:lnTo>
                    <a:pt x="48" y="564"/>
                  </a:lnTo>
                  <a:lnTo>
                    <a:pt x="42" y="597"/>
                  </a:lnTo>
                  <a:lnTo>
                    <a:pt x="30" y="618"/>
                  </a:lnTo>
                  <a:lnTo>
                    <a:pt x="21" y="639"/>
                  </a:lnTo>
                  <a:lnTo>
                    <a:pt x="42" y="666"/>
                  </a:lnTo>
                  <a:lnTo>
                    <a:pt x="135" y="677"/>
                  </a:lnTo>
                  <a:lnTo>
                    <a:pt x="171" y="666"/>
                  </a:lnTo>
                  <a:lnTo>
                    <a:pt x="183" y="669"/>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4" name="Freeform 28"/>
            <p:cNvSpPr>
              <a:spLocks/>
            </p:cNvSpPr>
            <p:nvPr/>
          </p:nvSpPr>
          <p:spPr bwMode="auto">
            <a:xfrm>
              <a:off x="5070724" y="3067075"/>
              <a:ext cx="125412" cy="225425"/>
            </a:xfrm>
            <a:custGeom>
              <a:avLst/>
              <a:gdLst>
                <a:gd name="T0" fmla="*/ 29 w 90"/>
                <a:gd name="T1" fmla="*/ 51 h 162"/>
                <a:gd name="T2" fmla="*/ 18 w 90"/>
                <a:gd name="T3" fmla="*/ 53 h 162"/>
                <a:gd name="T4" fmla="*/ 3 w 90"/>
                <a:gd name="T5" fmla="*/ 51 h 162"/>
                <a:gd name="T6" fmla="*/ 0 w 90"/>
                <a:gd name="T7" fmla="*/ 47 h 162"/>
                <a:gd name="T8" fmla="*/ 0 w 90"/>
                <a:gd name="T9" fmla="*/ 21 h 162"/>
                <a:gd name="T10" fmla="*/ 11 w 90"/>
                <a:gd name="T11" fmla="*/ 17 h 162"/>
                <a:gd name="T12" fmla="*/ 10 w 90"/>
                <a:gd name="T13" fmla="*/ 13 h 162"/>
                <a:gd name="T14" fmla="*/ 12 w 90"/>
                <a:gd name="T15" fmla="*/ 4 h 162"/>
                <a:gd name="T16" fmla="*/ 13 w 90"/>
                <a:gd name="T17" fmla="*/ 0 h 162"/>
                <a:gd name="T18" fmla="*/ 19 w 90"/>
                <a:gd name="T19" fmla="*/ 4 h 162"/>
                <a:gd name="T20" fmla="*/ 22 w 90"/>
                <a:gd name="T21" fmla="*/ 10 h 162"/>
                <a:gd name="T22" fmla="*/ 22 w 90"/>
                <a:gd name="T23" fmla="*/ 15 h 162"/>
                <a:gd name="T24" fmla="*/ 33 w 90"/>
                <a:gd name="T25" fmla="*/ 22 h 162"/>
                <a:gd name="T26" fmla="*/ 35 w 90"/>
                <a:gd name="T27" fmla="*/ 29 h 162"/>
                <a:gd name="T28" fmla="*/ 29 w 90"/>
                <a:gd name="T29" fmla="*/ 34 h 162"/>
                <a:gd name="T30" fmla="*/ 25 w 90"/>
                <a:gd name="T31" fmla="*/ 44 h 162"/>
                <a:gd name="T32" fmla="*/ 29 w 90"/>
                <a:gd name="T33" fmla="*/ 51 h 1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162">
                  <a:moveTo>
                    <a:pt x="72" y="153"/>
                  </a:moveTo>
                  <a:lnTo>
                    <a:pt x="45" y="162"/>
                  </a:lnTo>
                  <a:lnTo>
                    <a:pt x="3" y="153"/>
                  </a:lnTo>
                  <a:lnTo>
                    <a:pt x="0" y="141"/>
                  </a:lnTo>
                  <a:lnTo>
                    <a:pt x="0" y="66"/>
                  </a:lnTo>
                  <a:lnTo>
                    <a:pt x="27" y="54"/>
                  </a:lnTo>
                  <a:lnTo>
                    <a:pt x="24" y="42"/>
                  </a:lnTo>
                  <a:lnTo>
                    <a:pt x="30" y="12"/>
                  </a:lnTo>
                  <a:lnTo>
                    <a:pt x="33" y="0"/>
                  </a:lnTo>
                  <a:lnTo>
                    <a:pt x="48" y="6"/>
                  </a:lnTo>
                  <a:lnTo>
                    <a:pt x="54" y="30"/>
                  </a:lnTo>
                  <a:lnTo>
                    <a:pt x="54" y="48"/>
                  </a:lnTo>
                  <a:lnTo>
                    <a:pt x="84" y="69"/>
                  </a:lnTo>
                  <a:lnTo>
                    <a:pt x="90" y="87"/>
                  </a:lnTo>
                  <a:lnTo>
                    <a:pt x="72" y="102"/>
                  </a:lnTo>
                  <a:lnTo>
                    <a:pt x="63" y="132"/>
                  </a:lnTo>
                  <a:lnTo>
                    <a:pt x="72" y="153"/>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5" name="Freeform 29"/>
            <p:cNvSpPr>
              <a:spLocks/>
            </p:cNvSpPr>
            <p:nvPr/>
          </p:nvSpPr>
          <p:spPr bwMode="auto">
            <a:xfrm>
              <a:off x="4911974" y="2975000"/>
              <a:ext cx="204787" cy="217487"/>
            </a:xfrm>
            <a:custGeom>
              <a:avLst/>
              <a:gdLst>
                <a:gd name="T0" fmla="*/ 45 w 146"/>
                <a:gd name="T1" fmla="*/ 44 h 156"/>
                <a:gd name="T2" fmla="*/ 43 w 146"/>
                <a:gd name="T3" fmla="*/ 39 h 156"/>
                <a:gd name="T4" fmla="*/ 40 w 146"/>
                <a:gd name="T5" fmla="*/ 32 h 156"/>
                <a:gd name="T6" fmla="*/ 56 w 146"/>
                <a:gd name="T7" fmla="*/ 27 h 156"/>
                <a:gd name="T8" fmla="*/ 57 w 146"/>
                <a:gd name="T9" fmla="*/ 22 h 156"/>
                <a:gd name="T10" fmla="*/ 55 w 146"/>
                <a:gd name="T11" fmla="*/ 10 h 156"/>
                <a:gd name="T12" fmla="*/ 48 w 146"/>
                <a:gd name="T13" fmla="*/ 10 h 156"/>
                <a:gd name="T14" fmla="*/ 29 w 146"/>
                <a:gd name="T15" fmla="*/ 0 h 156"/>
                <a:gd name="T16" fmla="*/ 16 w 146"/>
                <a:gd name="T17" fmla="*/ 11 h 156"/>
                <a:gd name="T18" fmla="*/ 14 w 146"/>
                <a:gd name="T19" fmla="*/ 23 h 156"/>
                <a:gd name="T20" fmla="*/ 5 w 146"/>
                <a:gd name="T21" fmla="*/ 35 h 156"/>
                <a:gd name="T22" fmla="*/ 0 w 146"/>
                <a:gd name="T23" fmla="*/ 46 h 156"/>
                <a:gd name="T24" fmla="*/ 5 w 146"/>
                <a:gd name="T25" fmla="*/ 52 h 156"/>
                <a:gd name="T26" fmla="*/ 18 w 146"/>
                <a:gd name="T27" fmla="*/ 49 h 156"/>
                <a:gd name="T28" fmla="*/ 29 w 146"/>
                <a:gd name="T29" fmla="*/ 53 h 156"/>
                <a:gd name="T30" fmla="*/ 35 w 146"/>
                <a:gd name="T31" fmla="*/ 48 h 156"/>
                <a:gd name="T32" fmla="*/ 45 w 146"/>
                <a:gd name="T33" fmla="*/ 44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6" h="156">
                  <a:moveTo>
                    <a:pt x="113" y="132"/>
                  </a:moveTo>
                  <a:lnTo>
                    <a:pt x="110" y="111"/>
                  </a:lnTo>
                  <a:lnTo>
                    <a:pt x="102" y="96"/>
                  </a:lnTo>
                  <a:lnTo>
                    <a:pt x="143" y="78"/>
                  </a:lnTo>
                  <a:lnTo>
                    <a:pt x="146" y="66"/>
                  </a:lnTo>
                  <a:lnTo>
                    <a:pt x="137" y="27"/>
                  </a:lnTo>
                  <a:lnTo>
                    <a:pt x="122" y="27"/>
                  </a:lnTo>
                  <a:lnTo>
                    <a:pt x="72" y="0"/>
                  </a:lnTo>
                  <a:lnTo>
                    <a:pt x="42" y="30"/>
                  </a:lnTo>
                  <a:lnTo>
                    <a:pt x="36" y="69"/>
                  </a:lnTo>
                  <a:lnTo>
                    <a:pt x="6" y="102"/>
                  </a:lnTo>
                  <a:lnTo>
                    <a:pt x="0" y="135"/>
                  </a:lnTo>
                  <a:lnTo>
                    <a:pt x="6" y="153"/>
                  </a:lnTo>
                  <a:lnTo>
                    <a:pt x="45" y="147"/>
                  </a:lnTo>
                  <a:lnTo>
                    <a:pt x="75" y="156"/>
                  </a:lnTo>
                  <a:lnTo>
                    <a:pt x="90" y="144"/>
                  </a:lnTo>
                  <a:lnTo>
                    <a:pt x="113" y="13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6" name="Freeform 30"/>
            <p:cNvSpPr>
              <a:spLocks/>
            </p:cNvSpPr>
            <p:nvPr/>
          </p:nvSpPr>
          <p:spPr bwMode="auto">
            <a:xfrm>
              <a:off x="3738811" y="3289325"/>
              <a:ext cx="334963" cy="568325"/>
            </a:xfrm>
            <a:custGeom>
              <a:avLst/>
              <a:gdLst>
                <a:gd name="T0" fmla="*/ 90 w 239"/>
                <a:gd name="T1" fmla="*/ 74 h 410"/>
                <a:gd name="T2" fmla="*/ 90 w 239"/>
                <a:gd name="T3" fmla="*/ 60 h 410"/>
                <a:gd name="T4" fmla="*/ 96 w 239"/>
                <a:gd name="T5" fmla="*/ 53 h 410"/>
                <a:gd name="T6" fmla="*/ 92 w 239"/>
                <a:gd name="T7" fmla="*/ 46 h 410"/>
                <a:gd name="T8" fmla="*/ 62 w 239"/>
                <a:gd name="T9" fmla="*/ 37 h 410"/>
                <a:gd name="T10" fmla="*/ 67 w 239"/>
                <a:gd name="T11" fmla="*/ 28 h 410"/>
                <a:gd name="T12" fmla="*/ 75 w 239"/>
                <a:gd name="T13" fmla="*/ 19 h 410"/>
                <a:gd name="T14" fmla="*/ 68 w 239"/>
                <a:gd name="T15" fmla="*/ 4 h 410"/>
                <a:gd name="T16" fmla="*/ 67 w 239"/>
                <a:gd name="T17" fmla="*/ 0 h 410"/>
                <a:gd name="T18" fmla="*/ 47 w 239"/>
                <a:gd name="T19" fmla="*/ 11 h 410"/>
                <a:gd name="T20" fmla="*/ 39 w 239"/>
                <a:gd name="T21" fmla="*/ 34 h 410"/>
                <a:gd name="T22" fmla="*/ 36 w 239"/>
                <a:gd name="T23" fmla="*/ 50 h 410"/>
                <a:gd name="T24" fmla="*/ 21 w 239"/>
                <a:gd name="T25" fmla="*/ 60 h 410"/>
                <a:gd name="T26" fmla="*/ 13 w 239"/>
                <a:gd name="T27" fmla="*/ 62 h 410"/>
                <a:gd name="T28" fmla="*/ 0 w 239"/>
                <a:gd name="T29" fmla="*/ 64 h 410"/>
                <a:gd name="T30" fmla="*/ 25 w 239"/>
                <a:gd name="T31" fmla="*/ 87 h 410"/>
                <a:gd name="T32" fmla="*/ 30 w 239"/>
                <a:gd name="T33" fmla="*/ 107 h 410"/>
                <a:gd name="T34" fmla="*/ 27 w 239"/>
                <a:gd name="T35" fmla="*/ 115 h 410"/>
                <a:gd name="T36" fmla="*/ 44 w 239"/>
                <a:gd name="T37" fmla="*/ 122 h 410"/>
                <a:gd name="T38" fmla="*/ 44 w 239"/>
                <a:gd name="T39" fmla="*/ 129 h 410"/>
                <a:gd name="T40" fmla="*/ 60 w 239"/>
                <a:gd name="T41" fmla="*/ 132 h 410"/>
                <a:gd name="T42" fmla="*/ 65 w 239"/>
                <a:gd name="T43" fmla="*/ 132 h 410"/>
                <a:gd name="T44" fmla="*/ 65 w 239"/>
                <a:gd name="T45" fmla="*/ 122 h 410"/>
                <a:gd name="T46" fmla="*/ 76 w 239"/>
                <a:gd name="T47" fmla="*/ 121 h 410"/>
                <a:gd name="T48" fmla="*/ 80 w 239"/>
                <a:gd name="T49" fmla="*/ 108 h 410"/>
                <a:gd name="T50" fmla="*/ 70 w 239"/>
                <a:gd name="T51" fmla="*/ 103 h 410"/>
                <a:gd name="T52" fmla="*/ 65 w 239"/>
                <a:gd name="T53" fmla="*/ 97 h 410"/>
                <a:gd name="T54" fmla="*/ 67 w 239"/>
                <a:gd name="T55" fmla="*/ 74 h 410"/>
                <a:gd name="T56" fmla="*/ 75 w 239"/>
                <a:gd name="T57" fmla="*/ 71 h 410"/>
                <a:gd name="T58" fmla="*/ 84 w 239"/>
                <a:gd name="T59" fmla="*/ 76 h 410"/>
                <a:gd name="T60" fmla="*/ 90 w 239"/>
                <a:gd name="T61" fmla="*/ 74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9" h="410">
                  <a:moveTo>
                    <a:pt x="224" y="231"/>
                  </a:moveTo>
                  <a:lnTo>
                    <a:pt x="224" y="186"/>
                  </a:lnTo>
                  <a:lnTo>
                    <a:pt x="239" y="165"/>
                  </a:lnTo>
                  <a:lnTo>
                    <a:pt x="233" y="144"/>
                  </a:lnTo>
                  <a:lnTo>
                    <a:pt x="159" y="117"/>
                  </a:lnTo>
                  <a:lnTo>
                    <a:pt x="165" y="87"/>
                  </a:lnTo>
                  <a:lnTo>
                    <a:pt x="189" y="57"/>
                  </a:lnTo>
                  <a:lnTo>
                    <a:pt x="174" y="6"/>
                  </a:lnTo>
                  <a:lnTo>
                    <a:pt x="168" y="0"/>
                  </a:lnTo>
                  <a:lnTo>
                    <a:pt x="120" y="33"/>
                  </a:lnTo>
                  <a:lnTo>
                    <a:pt x="96" y="105"/>
                  </a:lnTo>
                  <a:lnTo>
                    <a:pt x="90" y="156"/>
                  </a:lnTo>
                  <a:lnTo>
                    <a:pt x="51" y="186"/>
                  </a:lnTo>
                  <a:lnTo>
                    <a:pt x="30" y="195"/>
                  </a:lnTo>
                  <a:lnTo>
                    <a:pt x="0" y="201"/>
                  </a:lnTo>
                  <a:lnTo>
                    <a:pt x="63" y="275"/>
                  </a:lnTo>
                  <a:lnTo>
                    <a:pt x="75" y="332"/>
                  </a:lnTo>
                  <a:lnTo>
                    <a:pt x="69" y="359"/>
                  </a:lnTo>
                  <a:lnTo>
                    <a:pt x="111" y="383"/>
                  </a:lnTo>
                  <a:lnTo>
                    <a:pt x="111" y="401"/>
                  </a:lnTo>
                  <a:lnTo>
                    <a:pt x="150" y="410"/>
                  </a:lnTo>
                  <a:lnTo>
                    <a:pt x="162" y="410"/>
                  </a:lnTo>
                  <a:lnTo>
                    <a:pt x="162" y="377"/>
                  </a:lnTo>
                  <a:lnTo>
                    <a:pt x="192" y="374"/>
                  </a:lnTo>
                  <a:lnTo>
                    <a:pt x="198" y="335"/>
                  </a:lnTo>
                  <a:lnTo>
                    <a:pt x="177" y="320"/>
                  </a:lnTo>
                  <a:lnTo>
                    <a:pt x="162" y="302"/>
                  </a:lnTo>
                  <a:lnTo>
                    <a:pt x="168" y="231"/>
                  </a:lnTo>
                  <a:lnTo>
                    <a:pt x="186" y="222"/>
                  </a:lnTo>
                  <a:lnTo>
                    <a:pt x="212" y="234"/>
                  </a:lnTo>
                  <a:lnTo>
                    <a:pt x="224" y="231"/>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7" name="Freeform 31"/>
            <p:cNvSpPr>
              <a:spLocks/>
            </p:cNvSpPr>
            <p:nvPr/>
          </p:nvSpPr>
          <p:spPr bwMode="auto">
            <a:xfrm>
              <a:off x="2973636" y="1146200"/>
              <a:ext cx="2728913" cy="2430462"/>
            </a:xfrm>
            <a:custGeom>
              <a:avLst/>
              <a:gdLst>
                <a:gd name="T0" fmla="*/ 262 w 1944"/>
                <a:gd name="T1" fmla="*/ 555 h 1750"/>
                <a:gd name="T2" fmla="*/ 296 w 1944"/>
                <a:gd name="T3" fmla="*/ 506 h 1750"/>
                <a:gd name="T4" fmla="*/ 320 w 1944"/>
                <a:gd name="T5" fmla="*/ 552 h 1750"/>
                <a:gd name="T6" fmla="*/ 351 w 1944"/>
                <a:gd name="T7" fmla="*/ 562 h 1750"/>
                <a:gd name="T8" fmla="*/ 393 w 1944"/>
                <a:gd name="T9" fmla="*/ 513 h 1750"/>
                <a:gd name="T10" fmla="*/ 435 w 1944"/>
                <a:gd name="T11" fmla="*/ 496 h 1750"/>
                <a:gd name="T12" fmla="*/ 483 w 1944"/>
                <a:gd name="T13" fmla="*/ 466 h 1750"/>
                <a:gd name="T14" fmla="*/ 512 w 1944"/>
                <a:gd name="T15" fmla="*/ 436 h 1750"/>
                <a:gd name="T16" fmla="*/ 541 w 1944"/>
                <a:gd name="T17" fmla="*/ 402 h 1750"/>
                <a:gd name="T18" fmla="*/ 569 w 1944"/>
                <a:gd name="T19" fmla="*/ 403 h 1750"/>
                <a:gd name="T20" fmla="*/ 601 w 1944"/>
                <a:gd name="T21" fmla="*/ 396 h 1750"/>
                <a:gd name="T22" fmla="*/ 642 w 1944"/>
                <a:gd name="T23" fmla="*/ 392 h 1750"/>
                <a:gd name="T24" fmla="*/ 682 w 1944"/>
                <a:gd name="T25" fmla="*/ 403 h 1750"/>
                <a:gd name="T26" fmla="*/ 703 w 1944"/>
                <a:gd name="T27" fmla="*/ 392 h 1750"/>
                <a:gd name="T28" fmla="*/ 745 w 1944"/>
                <a:gd name="T29" fmla="*/ 361 h 1750"/>
                <a:gd name="T30" fmla="*/ 780 w 1944"/>
                <a:gd name="T31" fmla="*/ 346 h 1750"/>
                <a:gd name="T32" fmla="*/ 790 w 1944"/>
                <a:gd name="T33" fmla="*/ 320 h 1750"/>
                <a:gd name="T34" fmla="*/ 745 w 1944"/>
                <a:gd name="T35" fmla="*/ 300 h 1750"/>
                <a:gd name="T36" fmla="*/ 735 w 1944"/>
                <a:gd name="T37" fmla="*/ 262 h 1750"/>
                <a:gd name="T38" fmla="*/ 749 w 1944"/>
                <a:gd name="T39" fmla="*/ 250 h 1750"/>
                <a:gd name="T40" fmla="*/ 754 w 1944"/>
                <a:gd name="T41" fmla="*/ 220 h 1750"/>
                <a:gd name="T42" fmla="*/ 754 w 1944"/>
                <a:gd name="T43" fmla="*/ 213 h 1750"/>
                <a:gd name="T44" fmla="*/ 764 w 1944"/>
                <a:gd name="T45" fmla="*/ 157 h 1750"/>
                <a:gd name="T46" fmla="*/ 779 w 1944"/>
                <a:gd name="T47" fmla="*/ 162 h 1750"/>
                <a:gd name="T48" fmla="*/ 784 w 1944"/>
                <a:gd name="T49" fmla="*/ 90 h 1750"/>
                <a:gd name="T50" fmla="*/ 735 w 1944"/>
                <a:gd name="T51" fmla="*/ 58 h 1750"/>
                <a:gd name="T52" fmla="*/ 695 w 1944"/>
                <a:gd name="T53" fmla="*/ 39 h 1750"/>
                <a:gd name="T54" fmla="*/ 656 w 1944"/>
                <a:gd name="T55" fmla="*/ 30 h 1750"/>
                <a:gd name="T56" fmla="*/ 648 w 1944"/>
                <a:gd name="T57" fmla="*/ 0 h 1750"/>
                <a:gd name="T58" fmla="*/ 633 w 1944"/>
                <a:gd name="T59" fmla="*/ 30 h 1750"/>
                <a:gd name="T60" fmla="*/ 614 w 1944"/>
                <a:gd name="T61" fmla="*/ 107 h 1750"/>
                <a:gd name="T62" fmla="*/ 561 w 1944"/>
                <a:gd name="T63" fmla="*/ 139 h 1750"/>
                <a:gd name="T64" fmla="*/ 527 w 1944"/>
                <a:gd name="T65" fmla="*/ 196 h 1750"/>
                <a:gd name="T66" fmla="*/ 581 w 1944"/>
                <a:gd name="T67" fmla="*/ 206 h 1750"/>
                <a:gd name="T68" fmla="*/ 657 w 1944"/>
                <a:gd name="T69" fmla="*/ 225 h 1750"/>
                <a:gd name="T70" fmla="*/ 604 w 1944"/>
                <a:gd name="T71" fmla="*/ 243 h 1750"/>
                <a:gd name="T72" fmla="*/ 560 w 1944"/>
                <a:gd name="T73" fmla="*/ 267 h 1750"/>
                <a:gd name="T74" fmla="*/ 501 w 1944"/>
                <a:gd name="T75" fmla="*/ 309 h 1750"/>
                <a:gd name="T76" fmla="*/ 433 w 1944"/>
                <a:gd name="T77" fmla="*/ 317 h 1750"/>
                <a:gd name="T78" fmla="*/ 417 w 1944"/>
                <a:gd name="T79" fmla="*/ 370 h 1750"/>
                <a:gd name="T80" fmla="*/ 310 w 1944"/>
                <a:gd name="T81" fmla="*/ 404 h 1750"/>
                <a:gd name="T82" fmla="*/ 221 w 1944"/>
                <a:gd name="T83" fmla="*/ 427 h 1750"/>
                <a:gd name="T84" fmla="*/ 79 w 1944"/>
                <a:gd name="T85" fmla="*/ 402 h 1750"/>
                <a:gd name="T86" fmla="*/ 5 w 1944"/>
                <a:gd name="T87" fmla="*/ 420 h 1750"/>
                <a:gd name="T88" fmla="*/ 46 w 1944"/>
                <a:gd name="T89" fmla="*/ 459 h 1750"/>
                <a:gd name="T90" fmla="*/ 90 w 1944"/>
                <a:gd name="T91" fmla="*/ 474 h 1750"/>
                <a:gd name="T92" fmla="*/ 103 w 1944"/>
                <a:gd name="T93" fmla="*/ 505 h 1750"/>
                <a:gd name="T94" fmla="*/ 148 w 1944"/>
                <a:gd name="T95" fmla="*/ 525 h 1750"/>
                <a:gd name="T96" fmla="*/ 212 w 1944"/>
                <a:gd name="T97" fmla="*/ 520 h 1750"/>
                <a:gd name="T98" fmla="*/ 193 w 1944"/>
                <a:gd name="T99" fmla="*/ 548 h 17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44" h="1750">
                  <a:moveTo>
                    <a:pt x="545" y="1744"/>
                  </a:moveTo>
                  <a:lnTo>
                    <a:pt x="575" y="1738"/>
                  </a:lnTo>
                  <a:lnTo>
                    <a:pt x="596" y="1729"/>
                  </a:lnTo>
                  <a:lnTo>
                    <a:pt x="635" y="1699"/>
                  </a:lnTo>
                  <a:lnTo>
                    <a:pt x="641" y="1648"/>
                  </a:lnTo>
                  <a:lnTo>
                    <a:pt x="665" y="1576"/>
                  </a:lnTo>
                  <a:lnTo>
                    <a:pt x="713" y="1543"/>
                  </a:lnTo>
                  <a:lnTo>
                    <a:pt x="719" y="1549"/>
                  </a:lnTo>
                  <a:lnTo>
                    <a:pt x="734" y="1600"/>
                  </a:lnTo>
                  <a:lnTo>
                    <a:pt x="710" y="1630"/>
                  </a:lnTo>
                  <a:lnTo>
                    <a:pt x="704" y="1660"/>
                  </a:lnTo>
                  <a:lnTo>
                    <a:pt x="778" y="1687"/>
                  </a:lnTo>
                  <a:lnTo>
                    <a:pt x="784" y="1708"/>
                  </a:lnTo>
                  <a:lnTo>
                    <a:pt x="826" y="1705"/>
                  </a:lnTo>
                  <a:lnTo>
                    <a:pt x="847" y="1711"/>
                  </a:lnTo>
                  <a:lnTo>
                    <a:pt x="856" y="1717"/>
                  </a:lnTo>
                  <a:lnTo>
                    <a:pt x="931" y="1612"/>
                  </a:lnTo>
                  <a:lnTo>
                    <a:pt x="952" y="1603"/>
                  </a:lnTo>
                  <a:lnTo>
                    <a:pt x="955" y="1591"/>
                  </a:lnTo>
                  <a:lnTo>
                    <a:pt x="955" y="1570"/>
                  </a:lnTo>
                  <a:lnTo>
                    <a:pt x="979" y="1534"/>
                  </a:lnTo>
                  <a:lnTo>
                    <a:pt x="1027" y="1531"/>
                  </a:lnTo>
                  <a:lnTo>
                    <a:pt x="1045" y="1510"/>
                  </a:lnTo>
                  <a:lnTo>
                    <a:pt x="1057" y="1519"/>
                  </a:lnTo>
                  <a:lnTo>
                    <a:pt x="1084" y="1498"/>
                  </a:lnTo>
                  <a:lnTo>
                    <a:pt x="1099" y="1498"/>
                  </a:lnTo>
                  <a:lnTo>
                    <a:pt x="1150" y="1426"/>
                  </a:lnTo>
                  <a:lnTo>
                    <a:pt x="1174" y="1426"/>
                  </a:lnTo>
                  <a:lnTo>
                    <a:pt x="1207" y="1405"/>
                  </a:lnTo>
                  <a:lnTo>
                    <a:pt x="1216" y="1414"/>
                  </a:lnTo>
                  <a:lnTo>
                    <a:pt x="1276" y="1384"/>
                  </a:lnTo>
                  <a:lnTo>
                    <a:pt x="1246" y="1333"/>
                  </a:lnTo>
                  <a:lnTo>
                    <a:pt x="1255" y="1285"/>
                  </a:lnTo>
                  <a:lnTo>
                    <a:pt x="1279" y="1231"/>
                  </a:lnTo>
                  <a:lnTo>
                    <a:pt x="1300" y="1222"/>
                  </a:lnTo>
                  <a:lnTo>
                    <a:pt x="1315" y="1228"/>
                  </a:lnTo>
                  <a:lnTo>
                    <a:pt x="1315" y="1267"/>
                  </a:lnTo>
                  <a:lnTo>
                    <a:pt x="1330" y="1276"/>
                  </a:lnTo>
                  <a:lnTo>
                    <a:pt x="1366" y="1249"/>
                  </a:lnTo>
                  <a:lnTo>
                    <a:pt x="1381" y="1234"/>
                  </a:lnTo>
                  <a:lnTo>
                    <a:pt x="1399" y="1240"/>
                  </a:lnTo>
                  <a:lnTo>
                    <a:pt x="1417" y="1225"/>
                  </a:lnTo>
                  <a:lnTo>
                    <a:pt x="1456" y="1222"/>
                  </a:lnTo>
                  <a:lnTo>
                    <a:pt x="1462" y="1210"/>
                  </a:lnTo>
                  <a:lnTo>
                    <a:pt x="1453" y="1189"/>
                  </a:lnTo>
                  <a:lnTo>
                    <a:pt x="1480" y="1162"/>
                  </a:lnTo>
                  <a:lnTo>
                    <a:pt x="1512" y="1144"/>
                  </a:lnTo>
                  <a:lnTo>
                    <a:pt x="1560" y="1198"/>
                  </a:lnTo>
                  <a:lnTo>
                    <a:pt x="1557" y="1219"/>
                  </a:lnTo>
                  <a:lnTo>
                    <a:pt x="1584" y="1258"/>
                  </a:lnTo>
                  <a:lnTo>
                    <a:pt x="1641" y="1264"/>
                  </a:lnTo>
                  <a:lnTo>
                    <a:pt x="1656" y="1234"/>
                  </a:lnTo>
                  <a:lnTo>
                    <a:pt x="1641" y="1156"/>
                  </a:lnTo>
                  <a:lnTo>
                    <a:pt x="1653" y="1144"/>
                  </a:lnTo>
                  <a:lnTo>
                    <a:pt x="1680" y="1162"/>
                  </a:lnTo>
                  <a:lnTo>
                    <a:pt x="1707" y="1198"/>
                  </a:lnTo>
                  <a:lnTo>
                    <a:pt x="1746" y="1138"/>
                  </a:lnTo>
                  <a:lnTo>
                    <a:pt x="1764" y="1132"/>
                  </a:lnTo>
                  <a:lnTo>
                    <a:pt x="1791" y="1105"/>
                  </a:lnTo>
                  <a:lnTo>
                    <a:pt x="1806" y="1105"/>
                  </a:lnTo>
                  <a:lnTo>
                    <a:pt x="1830" y="1078"/>
                  </a:lnTo>
                  <a:lnTo>
                    <a:pt x="1845" y="1078"/>
                  </a:lnTo>
                  <a:lnTo>
                    <a:pt x="1857" y="1058"/>
                  </a:lnTo>
                  <a:lnTo>
                    <a:pt x="1893" y="1058"/>
                  </a:lnTo>
                  <a:lnTo>
                    <a:pt x="1926" y="1025"/>
                  </a:lnTo>
                  <a:lnTo>
                    <a:pt x="1944" y="1010"/>
                  </a:lnTo>
                  <a:lnTo>
                    <a:pt x="1944" y="992"/>
                  </a:lnTo>
                  <a:lnTo>
                    <a:pt x="1917" y="977"/>
                  </a:lnTo>
                  <a:lnTo>
                    <a:pt x="1917" y="944"/>
                  </a:lnTo>
                  <a:lnTo>
                    <a:pt x="1869" y="884"/>
                  </a:lnTo>
                  <a:lnTo>
                    <a:pt x="1824" y="929"/>
                  </a:lnTo>
                  <a:lnTo>
                    <a:pt x="1812" y="917"/>
                  </a:lnTo>
                  <a:lnTo>
                    <a:pt x="1809" y="893"/>
                  </a:lnTo>
                  <a:lnTo>
                    <a:pt x="1791" y="866"/>
                  </a:lnTo>
                  <a:lnTo>
                    <a:pt x="1785" y="836"/>
                  </a:lnTo>
                  <a:lnTo>
                    <a:pt x="1785" y="803"/>
                  </a:lnTo>
                  <a:lnTo>
                    <a:pt x="1755" y="779"/>
                  </a:lnTo>
                  <a:lnTo>
                    <a:pt x="1749" y="767"/>
                  </a:lnTo>
                  <a:lnTo>
                    <a:pt x="1758" y="749"/>
                  </a:lnTo>
                  <a:lnTo>
                    <a:pt x="1818" y="764"/>
                  </a:lnTo>
                  <a:lnTo>
                    <a:pt x="1818" y="737"/>
                  </a:lnTo>
                  <a:lnTo>
                    <a:pt x="1839" y="713"/>
                  </a:lnTo>
                  <a:lnTo>
                    <a:pt x="1827" y="698"/>
                  </a:lnTo>
                  <a:lnTo>
                    <a:pt x="1830" y="674"/>
                  </a:lnTo>
                  <a:lnTo>
                    <a:pt x="1857" y="659"/>
                  </a:lnTo>
                  <a:lnTo>
                    <a:pt x="1866" y="650"/>
                  </a:lnTo>
                  <a:lnTo>
                    <a:pt x="1860" y="641"/>
                  </a:lnTo>
                  <a:lnTo>
                    <a:pt x="1830" y="650"/>
                  </a:lnTo>
                  <a:lnTo>
                    <a:pt x="1773" y="611"/>
                  </a:lnTo>
                  <a:lnTo>
                    <a:pt x="1770" y="599"/>
                  </a:lnTo>
                  <a:lnTo>
                    <a:pt x="1797" y="563"/>
                  </a:lnTo>
                  <a:lnTo>
                    <a:pt x="1854" y="479"/>
                  </a:lnTo>
                  <a:lnTo>
                    <a:pt x="1857" y="470"/>
                  </a:lnTo>
                  <a:lnTo>
                    <a:pt x="1869" y="470"/>
                  </a:lnTo>
                  <a:lnTo>
                    <a:pt x="1887" y="494"/>
                  </a:lnTo>
                  <a:lnTo>
                    <a:pt x="1890" y="497"/>
                  </a:lnTo>
                  <a:lnTo>
                    <a:pt x="1893" y="392"/>
                  </a:lnTo>
                  <a:lnTo>
                    <a:pt x="1911" y="383"/>
                  </a:lnTo>
                  <a:lnTo>
                    <a:pt x="1911" y="341"/>
                  </a:lnTo>
                  <a:lnTo>
                    <a:pt x="1905" y="276"/>
                  </a:lnTo>
                  <a:lnTo>
                    <a:pt x="1929" y="183"/>
                  </a:lnTo>
                  <a:lnTo>
                    <a:pt x="1860" y="132"/>
                  </a:lnTo>
                  <a:lnTo>
                    <a:pt x="1809" y="177"/>
                  </a:lnTo>
                  <a:lnTo>
                    <a:pt x="1782" y="180"/>
                  </a:lnTo>
                  <a:lnTo>
                    <a:pt x="1767" y="195"/>
                  </a:lnTo>
                  <a:lnTo>
                    <a:pt x="1722" y="189"/>
                  </a:lnTo>
                  <a:lnTo>
                    <a:pt x="1698" y="162"/>
                  </a:lnTo>
                  <a:lnTo>
                    <a:pt x="1686" y="120"/>
                  </a:lnTo>
                  <a:lnTo>
                    <a:pt x="1689" y="105"/>
                  </a:lnTo>
                  <a:lnTo>
                    <a:pt x="1653" y="84"/>
                  </a:lnTo>
                  <a:lnTo>
                    <a:pt x="1632" y="117"/>
                  </a:lnTo>
                  <a:lnTo>
                    <a:pt x="1593" y="93"/>
                  </a:lnTo>
                  <a:lnTo>
                    <a:pt x="1584" y="84"/>
                  </a:lnTo>
                  <a:lnTo>
                    <a:pt x="1608" y="27"/>
                  </a:lnTo>
                  <a:lnTo>
                    <a:pt x="1590" y="0"/>
                  </a:lnTo>
                  <a:lnTo>
                    <a:pt x="1575" y="0"/>
                  </a:lnTo>
                  <a:lnTo>
                    <a:pt x="1533" y="30"/>
                  </a:lnTo>
                  <a:lnTo>
                    <a:pt x="1500" y="81"/>
                  </a:lnTo>
                  <a:lnTo>
                    <a:pt x="1512" y="90"/>
                  </a:lnTo>
                  <a:lnTo>
                    <a:pt x="1539" y="93"/>
                  </a:lnTo>
                  <a:lnTo>
                    <a:pt x="1557" y="144"/>
                  </a:lnTo>
                  <a:lnTo>
                    <a:pt x="1548" y="165"/>
                  </a:lnTo>
                  <a:lnTo>
                    <a:pt x="1527" y="195"/>
                  </a:lnTo>
                  <a:lnTo>
                    <a:pt x="1491" y="329"/>
                  </a:lnTo>
                  <a:lnTo>
                    <a:pt x="1503" y="353"/>
                  </a:lnTo>
                  <a:lnTo>
                    <a:pt x="1494" y="371"/>
                  </a:lnTo>
                  <a:lnTo>
                    <a:pt x="1408" y="434"/>
                  </a:lnTo>
                  <a:lnTo>
                    <a:pt x="1363" y="425"/>
                  </a:lnTo>
                  <a:lnTo>
                    <a:pt x="1339" y="416"/>
                  </a:lnTo>
                  <a:lnTo>
                    <a:pt x="1333" y="428"/>
                  </a:lnTo>
                  <a:lnTo>
                    <a:pt x="1297" y="578"/>
                  </a:lnTo>
                  <a:lnTo>
                    <a:pt x="1279" y="596"/>
                  </a:lnTo>
                  <a:lnTo>
                    <a:pt x="1288" y="623"/>
                  </a:lnTo>
                  <a:lnTo>
                    <a:pt x="1312" y="641"/>
                  </a:lnTo>
                  <a:lnTo>
                    <a:pt x="1351" y="620"/>
                  </a:lnTo>
                  <a:lnTo>
                    <a:pt x="1411" y="626"/>
                  </a:lnTo>
                  <a:lnTo>
                    <a:pt x="1429" y="596"/>
                  </a:lnTo>
                  <a:lnTo>
                    <a:pt x="1462" y="587"/>
                  </a:lnTo>
                  <a:lnTo>
                    <a:pt x="1521" y="611"/>
                  </a:lnTo>
                  <a:lnTo>
                    <a:pt x="1596" y="689"/>
                  </a:lnTo>
                  <a:lnTo>
                    <a:pt x="1596" y="704"/>
                  </a:lnTo>
                  <a:lnTo>
                    <a:pt x="1581" y="716"/>
                  </a:lnTo>
                  <a:lnTo>
                    <a:pt x="1494" y="722"/>
                  </a:lnTo>
                  <a:lnTo>
                    <a:pt x="1465" y="743"/>
                  </a:lnTo>
                  <a:lnTo>
                    <a:pt x="1444" y="740"/>
                  </a:lnTo>
                  <a:lnTo>
                    <a:pt x="1426" y="767"/>
                  </a:lnTo>
                  <a:lnTo>
                    <a:pt x="1387" y="776"/>
                  </a:lnTo>
                  <a:lnTo>
                    <a:pt x="1360" y="815"/>
                  </a:lnTo>
                  <a:lnTo>
                    <a:pt x="1354" y="845"/>
                  </a:lnTo>
                  <a:lnTo>
                    <a:pt x="1297" y="884"/>
                  </a:lnTo>
                  <a:lnTo>
                    <a:pt x="1258" y="890"/>
                  </a:lnTo>
                  <a:lnTo>
                    <a:pt x="1219" y="944"/>
                  </a:lnTo>
                  <a:lnTo>
                    <a:pt x="1180" y="965"/>
                  </a:lnTo>
                  <a:lnTo>
                    <a:pt x="1105" y="950"/>
                  </a:lnTo>
                  <a:lnTo>
                    <a:pt x="1081" y="938"/>
                  </a:lnTo>
                  <a:lnTo>
                    <a:pt x="1051" y="968"/>
                  </a:lnTo>
                  <a:lnTo>
                    <a:pt x="1036" y="1019"/>
                  </a:lnTo>
                  <a:lnTo>
                    <a:pt x="1078" y="1078"/>
                  </a:lnTo>
                  <a:lnTo>
                    <a:pt x="1051" y="1108"/>
                  </a:lnTo>
                  <a:lnTo>
                    <a:pt x="1012" y="1129"/>
                  </a:lnTo>
                  <a:lnTo>
                    <a:pt x="958" y="1198"/>
                  </a:lnTo>
                  <a:lnTo>
                    <a:pt x="889" y="1228"/>
                  </a:lnTo>
                  <a:lnTo>
                    <a:pt x="772" y="1240"/>
                  </a:lnTo>
                  <a:lnTo>
                    <a:pt x="754" y="1237"/>
                  </a:lnTo>
                  <a:lnTo>
                    <a:pt x="620" y="1294"/>
                  </a:lnTo>
                  <a:lnTo>
                    <a:pt x="560" y="1333"/>
                  </a:lnTo>
                  <a:lnTo>
                    <a:pt x="542" y="1324"/>
                  </a:lnTo>
                  <a:lnTo>
                    <a:pt x="536" y="1306"/>
                  </a:lnTo>
                  <a:lnTo>
                    <a:pt x="452" y="1303"/>
                  </a:lnTo>
                  <a:lnTo>
                    <a:pt x="359" y="1273"/>
                  </a:lnTo>
                  <a:lnTo>
                    <a:pt x="332" y="1243"/>
                  </a:lnTo>
                  <a:lnTo>
                    <a:pt x="194" y="1228"/>
                  </a:lnTo>
                  <a:lnTo>
                    <a:pt x="167" y="1237"/>
                  </a:lnTo>
                  <a:lnTo>
                    <a:pt x="0" y="1222"/>
                  </a:lnTo>
                  <a:lnTo>
                    <a:pt x="0" y="1246"/>
                  </a:lnTo>
                  <a:lnTo>
                    <a:pt x="8" y="1285"/>
                  </a:lnTo>
                  <a:lnTo>
                    <a:pt x="3" y="1348"/>
                  </a:lnTo>
                  <a:lnTo>
                    <a:pt x="50" y="1420"/>
                  </a:lnTo>
                  <a:lnTo>
                    <a:pt x="74" y="1435"/>
                  </a:lnTo>
                  <a:lnTo>
                    <a:pt x="113" y="1405"/>
                  </a:lnTo>
                  <a:lnTo>
                    <a:pt x="197" y="1405"/>
                  </a:lnTo>
                  <a:lnTo>
                    <a:pt x="215" y="1414"/>
                  </a:lnTo>
                  <a:lnTo>
                    <a:pt x="227" y="1432"/>
                  </a:lnTo>
                  <a:lnTo>
                    <a:pt x="218" y="1450"/>
                  </a:lnTo>
                  <a:lnTo>
                    <a:pt x="173" y="1489"/>
                  </a:lnTo>
                  <a:lnTo>
                    <a:pt x="179" y="1507"/>
                  </a:lnTo>
                  <a:lnTo>
                    <a:pt x="230" y="1546"/>
                  </a:lnTo>
                  <a:lnTo>
                    <a:pt x="251" y="1546"/>
                  </a:lnTo>
                  <a:lnTo>
                    <a:pt x="257" y="1555"/>
                  </a:lnTo>
                  <a:lnTo>
                    <a:pt x="251" y="1570"/>
                  </a:lnTo>
                  <a:lnTo>
                    <a:pt x="284" y="1594"/>
                  </a:lnTo>
                  <a:lnTo>
                    <a:pt x="359" y="1606"/>
                  </a:lnTo>
                  <a:lnTo>
                    <a:pt x="395" y="1597"/>
                  </a:lnTo>
                  <a:lnTo>
                    <a:pt x="440" y="1552"/>
                  </a:lnTo>
                  <a:lnTo>
                    <a:pt x="497" y="1558"/>
                  </a:lnTo>
                  <a:lnTo>
                    <a:pt x="518" y="1591"/>
                  </a:lnTo>
                  <a:lnTo>
                    <a:pt x="506" y="1621"/>
                  </a:lnTo>
                  <a:lnTo>
                    <a:pt x="509" y="1642"/>
                  </a:lnTo>
                  <a:lnTo>
                    <a:pt x="479" y="1660"/>
                  </a:lnTo>
                  <a:lnTo>
                    <a:pt x="467" y="1675"/>
                  </a:lnTo>
                  <a:lnTo>
                    <a:pt x="470" y="1714"/>
                  </a:lnTo>
                  <a:lnTo>
                    <a:pt x="524" y="1750"/>
                  </a:lnTo>
                  <a:lnTo>
                    <a:pt x="545" y="1744"/>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8" name="Freeform 32"/>
            <p:cNvSpPr>
              <a:spLocks/>
            </p:cNvSpPr>
            <p:nvPr/>
          </p:nvSpPr>
          <p:spPr bwMode="auto">
            <a:xfrm>
              <a:off x="5261224" y="2506687"/>
              <a:ext cx="714375" cy="681038"/>
            </a:xfrm>
            <a:custGeom>
              <a:avLst/>
              <a:gdLst>
                <a:gd name="T0" fmla="*/ 171 w 510"/>
                <a:gd name="T1" fmla="*/ 111 h 491"/>
                <a:gd name="T2" fmla="*/ 192 w 510"/>
                <a:gd name="T3" fmla="*/ 85 h 491"/>
                <a:gd name="T4" fmla="*/ 207 w 510"/>
                <a:gd name="T5" fmla="*/ 72 h 491"/>
                <a:gd name="T6" fmla="*/ 206 w 510"/>
                <a:gd name="T7" fmla="*/ 60 h 491"/>
                <a:gd name="T8" fmla="*/ 190 w 510"/>
                <a:gd name="T9" fmla="*/ 46 h 491"/>
                <a:gd name="T10" fmla="*/ 189 w 510"/>
                <a:gd name="T11" fmla="*/ 35 h 491"/>
                <a:gd name="T12" fmla="*/ 163 w 510"/>
                <a:gd name="T13" fmla="*/ 7 h 491"/>
                <a:gd name="T14" fmla="*/ 160 w 510"/>
                <a:gd name="T15" fmla="*/ 10 h 491"/>
                <a:gd name="T16" fmla="*/ 154 w 510"/>
                <a:gd name="T17" fmla="*/ 13 h 491"/>
                <a:gd name="T18" fmla="*/ 144 w 510"/>
                <a:gd name="T19" fmla="*/ 4 h 491"/>
                <a:gd name="T20" fmla="*/ 128 w 510"/>
                <a:gd name="T21" fmla="*/ 0 h 491"/>
                <a:gd name="T22" fmla="*/ 128 w 510"/>
                <a:gd name="T23" fmla="*/ 4 h 491"/>
                <a:gd name="T24" fmla="*/ 128 w 510"/>
                <a:gd name="T25" fmla="*/ 10 h 491"/>
                <a:gd name="T26" fmla="*/ 121 w 510"/>
                <a:gd name="T27" fmla="*/ 15 h 491"/>
                <a:gd name="T28" fmla="*/ 108 w 510"/>
                <a:gd name="T29" fmla="*/ 26 h 491"/>
                <a:gd name="T30" fmla="*/ 92 w 510"/>
                <a:gd name="T31" fmla="*/ 26 h 491"/>
                <a:gd name="T32" fmla="*/ 87 w 510"/>
                <a:gd name="T33" fmla="*/ 32 h 491"/>
                <a:gd name="T34" fmla="*/ 82 w 510"/>
                <a:gd name="T35" fmla="*/ 32 h 491"/>
                <a:gd name="T36" fmla="*/ 71 w 510"/>
                <a:gd name="T37" fmla="*/ 41 h 491"/>
                <a:gd name="T38" fmla="*/ 65 w 510"/>
                <a:gd name="T39" fmla="*/ 41 h 491"/>
                <a:gd name="T40" fmla="*/ 54 w 510"/>
                <a:gd name="T41" fmla="*/ 50 h 491"/>
                <a:gd name="T42" fmla="*/ 48 w 510"/>
                <a:gd name="T43" fmla="*/ 51 h 491"/>
                <a:gd name="T44" fmla="*/ 31 w 510"/>
                <a:gd name="T45" fmla="*/ 72 h 491"/>
                <a:gd name="T46" fmla="*/ 21 w 510"/>
                <a:gd name="T47" fmla="*/ 60 h 491"/>
                <a:gd name="T48" fmla="*/ 10 w 510"/>
                <a:gd name="T49" fmla="*/ 54 h 491"/>
                <a:gd name="T50" fmla="*/ 5 w 510"/>
                <a:gd name="T51" fmla="*/ 57 h 491"/>
                <a:gd name="T52" fmla="*/ 12 w 510"/>
                <a:gd name="T53" fmla="*/ 84 h 491"/>
                <a:gd name="T54" fmla="*/ 5 w 510"/>
                <a:gd name="T55" fmla="*/ 94 h 491"/>
                <a:gd name="T56" fmla="*/ 0 w 510"/>
                <a:gd name="T57" fmla="*/ 106 h 491"/>
                <a:gd name="T58" fmla="*/ 16 w 510"/>
                <a:gd name="T59" fmla="*/ 114 h 491"/>
                <a:gd name="T60" fmla="*/ 24 w 510"/>
                <a:gd name="T61" fmla="*/ 114 h 491"/>
                <a:gd name="T62" fmla="*/ 35 w 510"/>
                <a:gd name="T63" fmla="*/ 127 h 491"/>
                <a:gd name="T64" fmla="*/ 43 w 510"/>
                <a:gd name="T65" fmla="*/ 124 h 491"/>
                <a:gd name="T66" fmla="*/ 56 w 510"/>
                <a:gd name="T67" fmla="*/ 111 h 491"/>
                <a:gd name="T68" fmla="*/ 70 w 510"/>
                <a:gd name="T69" fmla="*/ 95 h 491"/>
                <a:gd name="T70" fmla="*/ 92 w 510"/>
                <a:gd name="T71" fmla="*/ 89 h 491"/>
                <a:gd name="T72" fmla="*/ 104 w 510"/>
                <a:gd name="T73" fmla="*/ 100 h 491"/>
                <a:gd name="T74" fmla="*/ 95 w 510"/>
                <a:gd name="T75" fmla="*/ 118 h 491"/>
                <a:gd name="T76" fmla="*/ 82 w 510"/>
                <a:gd name="T77" fmla="*/ 135 h 491"/>
                <a:gd name="T78" fmla="*/ 92 w 510"/>
                <a:gd name="T79" fmla="*/ 141 h 491"/>
                <a:gd name="T80" fmla="*/ 92 w 510"/>
                <a:gd name="T81" fmla="*/ 148 h 491"/>
                <a:gd name="T82" fmla="*/ 84 w 510"/>
                <a:gd name="T83" fmla="*/ 157 h 491"/>
                <a:gd name="T84" fmla="*/ 84 w 510"/>
                <a:gd name="T85" fmla="*/ 160 h 491"/>
                <a:gd name="T86" fmla="*/ 101 w 510"/>
                <a:gd name="T87" fmla="*/ 154 h 491"/>
                <a:gd name="T88" fmla="*/ 125 w 510"/>
                <a:gd name="T89" fmla="*/ 130 h 491"/>
                <a:gd name="T90" fmla="*/ 159 w 510"/>
                <a:gd name="T91" fmla="*/ 113 h 491"/>
                <a:gd name="T92" fmla="*/ 171 w 510"/>
                <a:gd name="T93" fmla="*/ 111 h 4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10" h="491">
                  <a:moveTo>
                    <a:pt x="420" y="341"/>
                  </a:moveTo>
                  <a:lnTo>
                    <a:pt x="474" y="260"/>
                  </a:lnTo>
                  <a:lnTo>
                    <a:pt x="510" y="221"/>
                  </a:lnTo>
                  <a:lnTo>
                    <a:pt x="504" y="182"/>
                  </a:lnTo>
                  <a:lnTo>
                    <a:pt x="468" y="143"/>
                  </a:lnTo>
                  <a:lnTo>
                    <a:pt x="462" y="107"/>
                  </a:lnTo>
                  <a:lnTo>
                    <a:pt x="399" y="21"/>
                  </a:lnTo>
                  <a:lnTo>
                    <a:pt x="396" y="30"/>
                  </a:lnTo>
                  <a:lnTo>
                    <a:pt x="381" y="42"/>
                  </a:lnTo>
                  <a:lnTo>
                    <a:pt x="354" y="12"/>
                  </a:lnTo>
                  <a:lnTo>
                    <a:pt x="315" y="0"/>
                  </a:lnTo>
                  <a:lnTo>
                    <a:pt x="315" y="12"/>
                  </a:lnTo>
                  <a:lnTo>
                    <a:pt x="315" y="30"/>
                  </a:lnTo>
                  <a:lnTo>
                    <a:pt x="297" y="45"/>
                  </a:lnTo>
                  <a:lnTo>
                    <a:pt x="264" y="78"/>
                  </a:lnTo>
                  <a:lnTo>
                    <a:pt x="228" y="78"/>
                  </a:lnTo>
                  <a:lnTo>
                    <a:pt x="216" y="98"/>
                  </a:lnTo>
                  <a:lnTo>
                    <a:pt x="201" y="98"/>
                  </a:lnTo>
                  <a:lnTo>
                    <a:pt x="177" y="125"/>
                  </a:lnTo>
                  <a:lnTo>
                    <a:pt x="162" y="125"/>
                  </a:lnTo>
                  <a:lnTo>
                    <a:pt x="135" y="152"/>
                  </a:lnTo>
                  <a:lnTo>
                    <a:pt x="117" y="158"/>
                  </a:lnTo>
                  <a:lnTo>
                    <a:pt x="78" y="218"/>
                  </a:lnTo>
                  <a:lnTo>
                    <a:pt x="51" y="182"/>
                  </a:lnTo>
                  <a:lnTo>
                    <a:pt x="24" y="164"/>
                  </a:lnTo>
                  <a:lnTo>
                    <a:pt x="12" y="176"/>
                  </a:lnTo>
                  <a:lnTo>
                    <a:pt x="27" y="254"/>
                  </a:lnTo>
                  <a:lnTo>
                    <a:pt x="12" y="284"/>
                  </a:lnTo>
                  <a:lnTo>
                    <a:pt x="0" y="323"/>
                  </a:lnTo>
                  <a:lnTo>
                    <a:pt x="39" y="350"/>
                  </a:lnTo>
                  <a:lnTo>
                    <a:pt x="60" y="350"/>
                  </a:lnTo>
                  <a:lnTo>
                    <a:pt x="87" y="389"/>
                  </a:lnTo>
                  <a:lnTo>
                    <a:pt x="105" y="380"/>
                  </a:lnTo>
                  <a:lnTo>
                    <a:pt x="138" y="341"/>
                  </a:lnTo>
                  <a:lnTo>
                    <a:pt x="171" y="287"/>
                  </a:lnTo>
                  <a:lnTo>
                    <a:pt x="225" y="275"/>
                  </a:lnTo>
                  <a:lnTo>
                    <a:pt x="258" y="308"/>
                  </a:lnTo>
                  <a:lnTo>
                    <a:pt x="234" y="362"/>
                  </a:lnTo>
                  <a:lnTo>
                    <a:pt x="201" y="413"/>
                  </a:lnTo>
                  <a:lnTo>
                    <a:pt x="231" y="434"/>
                  </a:lnTo>
                  <a:lnTo>
                    <a:pt x="228" y="458"/>
                  </a:lnTo>
                  <a:lnTo>
                    <a:pt x="207" y="482"/>
                  </a:lnTo>
                  <a:lnTo>
                    <a:pt x="210" y="491"/>
                  </a:lnTo>
                  <a:lnTo>
                    <a:pt x="249" y="470"/>
                  </a:lnTo>
                  <a:lnTo>
                    <a:pt x="306" y="395"/>
                  </a:lnTo>
                  <a:lnTo>
                    <a:pt x="393" y="347"/>
                  </a:lnTo>
                  <a:lnTo>
                    <a:pt x="420" y="341"/>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39" name="Freeform 33"/>
            <p:cNvSpPr>
              <a:spLocks/>
            </p:cNvSpPr>
            <p:nvPr/>
          </p:nvSpPr>
          <p:spPr bwMode="auto">
            <a:xfrm>
              <a:off x="5427911" y="2119337"/>
              <a:ext cx="1030288" cy="693738"/>
            </a:xfrm>
            <a:custGeom>
              <a:avLst/>
              <a:gdLst>
                <a:gd name="T0" fmla="*/ 294 w 734"/>
                <a:gd name="T1" fmla="*/ 46 h 500"/>
                <a:gd name="T2" fmla="*/ 270 w 734"/>
                <a:gd name="T3" fmla="*/ 41 h 500"/>
                <a:gd name="T4" fmla="*/ 262 w 734"/>
                <a:gd name="T5" fmla="*/ 40 h 500"/>
                <a:gd name="T6" fmla="*/ 240 w 734"/>
                <a:gd name="T7" fmla="*/ 50 h 500"/>
                <a:gd name="T8" fmla="*/ 232 w 734"/>
                <a:gd name="T9" fmla="*/ 55 h 500"/>
                <a:gd name="T10" fmla="*/ 212 w 734"/>
                <a:gd name="T11" fmla="*/ 45 h 500"/>
                <a:gd name="T12" fmla="*/ 195 w 734"/>
                <a:gd name="T13" fmla="*/ 33 h 500"/>
                <a:gd name="T14" fmla="*/ 194 w 734"/>
                <a:gd name="T15" fmla="*/ 48 h 500"/>
                <a:gd name="T16" fmla="*/ 178 w 734"/>
                <a:gd name="T17" fmla="*/ 33 h 500"/>
                <a:gd name="T18" fmla="*/ 163 w 734"/>
                <a:gd name="T19" fmla="*/ 21 h 500"/>
                <a:gd name="T20" fmla="*/ 132 w 734"/>
                <a:gd name="T21" fmla="*/ 21 h 500"/>
                <a:gd name="T22" fmla="*/ 114 w 734"/>
                <a:gd name="T23" fmla="*/ 13 h 500"/>
                <a:gd name="T24" fmla="*/ 94 w 734"/>
                <a:gd name="T25" fmla="*/ 19 h 500"/>
                <a:gd name="T26" fmla="*/ 70 w 734"/>
                <a:gd name="T27" fmla="*/ 13 h 500"/>
                <a:gd name="T28" fmla="*/ 38 w 734"/>
                <a:gd name="T29" fmla="*/ 4 h 500"/>
                <a:gd name="T30" fmla="*/ 29 w 734"/>
                <a:gd name="T31" fmla="*/ 21 h 500"/>
                <a:gd name="T32" fmla="*/ 0 w 734"/>
                <a:gd name="T33" fmla="*/ 21 h 500"/>
                <a:gd name="T34" fmla="*/ 15 w 734"/>
                <a:gd name="T35" fmla="*/ 33 h 500"/>
                <a:gd name="T36" fmla="*/ 17 w 734"/>
                <a:gd name="T37" fmla="*/ 54 h 500"/>
                <a:gd name="T38" fmla="*/ 27 w 734"/>
                <a:gd name="T39" fmla="*/ 72 h 500"/>
                <a:gd name="T40" fmla="*/ 49 w 734"/>
                <a:gd name="T41" fmla="*/ 60 h 500"/>
                <a:gd name="T42" fmla="*/ 70 w 734"/>
                <a:gd name="T43" fmla="*/ 90 h 500"/>
                <a:gd name="T44" fmla="*/ 80 w 734"/>
                <a:gd name="T45" fmla="*/ 91 h 500"/>
                <a:gd name="T46" fmla="*/ 108 w 734"/>
                <a:gd name="T47" fmla="*/ 105 h 500"/>
                <a:gd name="T48" fmla="*/ 114 w 734"/>
                <a:gd name="T49" fmla="*/ 98 h 500"/>
                <a:gd name="T50" fmla="*/ 144 w 734"/>
                <a:gd name="T51" fmla="*/ 138 h 500"/>
                <a:gd name="T52" fmla="*/ 162 w 734"/>
                <a:gd name="T53" fmla="*/ 164 h 500"/>
                <a:gd name="T54" fmla="*/ 186 w 734"/>
                <a:gd name="T55" fmla="*/ 130 h 500"/>
                <a:gd name="T56" fmla="*/ 204 w 734"/>
                <a:gd name="T57" fmla="*/ 133 h 500"/>
                <a:gd name="T58" fmla="*/ 233 w 734"/>
                <a:gd name="T59" fmla="*/ 125 h 500"/>
                <a:gd name="T60" fmla="*/ 226 w 734"/>
                <a:gd name="T61" fmla="*/ 111 h 500"/>
                <a:gd name="T62" fmla="*/ 254 w 734"/>
                <a:gd name="T63" fmla="*/ 94 h 500"/>
                <a:gd name="T64" fmla="*/ 266 w 734"/>
                <a:gd name="T65" fmla="*/ 78 h 500"/>
                <a:gd name="T66" fmla="*/ 274 w 734"/>
                <a:gd name="T67" fmla="*/ 67 h 500"/>
                <a:gd name="T68" fmla="*/ 286 w 734"/>
                <a:gd name="T69" fmla="*/ 75 h 500"/>
                <a:gd name="T70" fmla="*/ 303 w 734"/>
                <a:gd name="T71" fmla="*/ 50 h 5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34" h="500">
                  <a:moveTo>
                    <a:pt x="728" y="141"/>
                  </a:moveTo>
                  <a:lnTo>
                    <a:pt x="710" y="141"/>
                  </a:lnTo>
                  <a:lnTo>
                    <a:pt x="689" y="141"/>
                  </a:lnTo>
                  <a:lnTo>
                    <a:pt x="653" y="129"/>
                  </a:lnTo>
                  <a:lnTo>
                    <a:pt x="644" y="108"/>
                  </a:lnTo>
                  <a:lnTo>
                    <a:pt x="632" y="123"/>
                  </a:lnTo>
                  <a:lnTo>
                    <a:pt x="614" y="114"/>
                  </a:lnTo>
                  <a:lnTo>
                    <a:pt x="578" y="153"/>
                  </a:lnTo>
                  <a:lnTo>
                    <a:pt x="572" y="165"/>
                  </a:lnTo>
                  <a:lnTo>
                    <a:pt x="557" y="168"/>
                  </a:lnTo>
                  <a:lnTo>
                    <a:pt x="533" y="141"/>
                  </a:lnTo>
                  <a:lnTo>
                    <a:pt x="512" y="135"/>
                  </a:lnTo>
                  <a:lnTo>
                    <a:pt x="491" y="87"/>
                  </a:lnTo>
                  <a:lnTo>
                    <a:pt x="474" y="99"/>
                  </a:lnTo>
                  <a:lnTo>
                    <a:pt x="480" y="141"/>
                  </a:lnTo>
                  <a:lnTo>
                    <a:pt x="468" y="147"/>
                  </a:lnTo>
                  <a:lnTo>
                    <a:pt x="438" y="114"/>
                  </a:lnTo>
                  <a:lnTo>
                    <a:pt x="429" y="99"/>
                  </a:lnTo>
                  <a:lnTo>
                    <a:pt x="405" y="99"/>
                  </a:lnTo>
                  <a:lnTo>
                    <a:pt x="393" y="66"/>
                  </a:lnTo>
                  <a:lnTo>
                    <a:pt x="360" y="48"/>
                  </a:lnTo>
                  <a:lnTo>
                    <a:pt x="318" y="66"/>
                  </a:lnTo>
                  <a:lnTo>
                    <a:pt x="303" y="63"/>
                  </a:lnTo>
                  <a:lnTo>
                    <a:pt x="279" y="39"/>
                  </a:lnTo>
                  <a:lnTo>
                    <a:pt x="243" y="57"/>
                  </a:lnTo>
                  <a:lnTo>
                    <a:pt x="225" y="57"/>
                  </a:lnTo>
                  <a:lnTo>
                    <a:pt x="201" y="66"/>
                  </a:lnTo>
                  <a:lnTo>
                    <a:pt x="168" y="42"/>
                  </a:lnTo>
                  <a:lnTo>
                    <a:pt x="144" y="0"/>
                  </a:lnTo>
                  <a:lnTo>
                    <a:pt x="90" y="12"/>
                  </a:lnTo>
                  <a:lnTo>
                    <a:pt x="69" y="36"/>
                  </a:lnTo>
                  <a:lnTo>
                    <a:pt x="69" y="63"/>
                  </a:lnTo>
                  <a:lnTo>
                    <a:pt x="9" y="48"/>
                  </a:lnTo>
                  <a:lnTo>
                    <a:pt x="0" y="66"/>
                  </a:lnTo>
                  <a:lnTo>
                    <a:pt x="6" y="78"/>
                  </a:lnTo>
                  <a:lnTo>
                    <a:pt x="36" y="102"/>
                  </a:lnTo>
                  <a:lnTo>
                    <a:pt x="36" y="135"/>
                  </a:lnTo>
                  <a:lnTo>
                    <a:pt x="42" y="165"/>
                  </a:lnTo>
                  <a:lnTo>
                    <a:pt x="60" y="192"/>
                  </a:lnTo>
                  <a:lnTo>
                    <a:pt x="63" y="216"/>
                  </a:lnTo>
                  <a:lnTo>
                    <a:pt x="75" y="228"/>
                  </a:lnTo>
                  <a:lnTo>
                    <a:pt x="120" y="183"/>
                  </a:lnTo>
                  <a:lnTo>
                    <a:pt x="168" y="243"/>
                  </a:lnTo>
                  <a:lnTo>
                    <a:pt x="168" y="276"/>
                  </a:lnTo>
                  <a:lnTo>
                    <a:pt x="195" y="291"/>
                  </a:lnTo>
                  <a:lnTo>
                    <a:pt x="195" y="279"/>
                  </a:lnTo>
                  <a:lnTo>
                    <a:pt x="234" y="291"/>
                  </a:lnTo>
                  <a:lnTo>
                    <a:pt x="261" y="321"/>
                  </a:lnTo>
                  <a:lnTo>
                    <a:pt x="276" y="309"/>
                  </a:lnTo>
                  <a:lnTo>
                    <a:pt x="279" y="300"/>
                  </a:lnTo>
                  <a:lnTo>
                    <a:pt x="342" y="386"/>
                  </a:lnTo>
                  <a:lnTo>
                    <a:pt x="348" y="422"/>
                  </a:lnTo>
                  <a:lnTo>
                    <a:pt x="384" y="461"/>
                  </a:lnTo>
                  <a:lnTo>
                    <a:pt x="390" y="500"/>
                  </a:lnTo>
                  <a:lnTo>
                    <a:pt x="420" y="479"/>
                  </a:lnTo>
                  <a:lnTo>
                    <a:pt x="450" y="395"/>
                  </a:lnTo>
                  <a:lnTo>
                    <a:pt x="465" y="392"/>
                  </a:lnTo>
                  <a:lnTo>
                    <a:pt x="494" y="410"/>
                  </a:lnTo>
                  <a:lnTo>
                    <a:pt x="548" y="404"/>
                  </a:lnTo>
                  <a:lnTo>
                    <a:pt x="566" y="386"/>
                  </a:lnTo>
                  <a:lnTo>
                    <a:pt x="539" y="351"/>
                  </a:lnTo>
                  <a:lnTo>
                    <a:pt x="548" y="339"/>
                  </a:lnTo>
                  <a:lnTo>
                    <a:pt x="596" y="324"/>
                  </a:lnTo>
                  <a:lnTo>
                    <a:pt x="614" y="285"/>
                  </a:lnTo>
                  <a:lnTo>
                    <a:pt x="641" y="273"/>
                  </a:lnTo>
                  <a:lnTo>
                    <a:pt x="644" y="237"/>
                  </a:lnTo>
                  <a:lnTo>
                    <a:pt x="650" y="210"/>
                  </a:lnTo>
                  <a:lnTo>
                    <a:pt x="662" y="207"/>
                  </a:lnTo>
                  <a:lnTo>
                    <a:pt x="677" y="219"/>
                  </a:lnTo>
                  <a:lnTo>
                    <a:pt x="689" y="231"/>
                  </a:lnTo>
                  <a:lnTo>
                    <a:pt x="725" y="186"/>
                  </a:lnTo>
                  <a:lnTo>
                    <a:pt x="734" y="153"/>
                  </a:lnTo>
                  <a:lnTo>
                    <a:pt x="728" y="141"/>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0" name="Freeform 34"/>
            <p:cNvSpPr>
              <a:spLocks/>
            </p:cNvSpPr>
            <p:nvPr/>
          </p:nvSpPr>
          <p:spPr bwMode="auto">
            <a:xfrm>
              <a:off x="5196136" y="1084287"/>
              <a:ext cx="1414463" cy="1268413"/>
            </a:xfrm>
            <a:custGeom>
              <a:avLst/>
              <a:gdLst>
                <a:gd name="T0" fmla="*/ 128 w 1007"/>
                <a:gd name="T1" fmla="*/ 243 h 914"/>
                <a:gd name="T2" fmla="*/ 151 w 1007"/>
                <a:gd name="T3" fmla="*/ 265 h 914"/>
                <a:gd name="T4" fmla="*/ 169 w 1007"/>
                <a:gd name="T5" fmla="*/ 261 h 914"/>
                <a:gd name="T6" fmla="*/ 194 w 1007"/>
                <a:gd name="T7" fmla="*/ 263 h 914"/>
                <a:gd name="T8" fmla="*/ 217 w 1007"/>
                <a:gd name="T9" fmla="*/ 259 h 914"/>
                <a:gd name="T10" fmla="*/ 236 w 1007"/>
                <a:gd name="T11" fmla="*/ 274 h 914"/>
                <a:gd name="T12" fmla="*/ 249 w 1007"/>
                <a:gd name="T13" fmla="*/ 280 h 914"/>
                <a:gd name="T14" fmla="*/ 267 w 1007"/>
                <a:gd name="T15" fmla="*/ 290 h 914"/>
                <a:gd name="T16" fmla="*/ 271 w 1007"/>
                <a:gd name="T17" fmla="*/ 272 h 914"/>
                <a:gd name="T18" fmla="*/ 289 w 1007"/>
                <a:gd name="T19" fmla="*/ 290 h 914"/>
                <a:gd name="T20" fmla="*/ 304 w 1007"/>
                <a:gd name="T21" fmla="*/ 298 h 914"/>
                <a:gd name="T22" fmla="*/ 323 w 1007"/>
                <a:gd name="T23" fmla="*/ 280 h 914"/>
                <a:gd name="T24" fmla="*/ 335 w 1007"/>
                <a:gd name="T25" fmla="*/ 278 h 914"/>
                <a:gd name="T26" fmla="*/ 353 w 1007"/>
                <a:gd name="T27" fmla="*/ 290 h 914"/>
                <a:gd name="T28" fmla="*/ 370 w 1007"/>
                <a:gd name="T29" fmla="*/ 290 h 914"/>
                <a:gd name="T30" fmla="*/ 363 w 1007"/>
                <a:gd name="T31" fmla="*/ 266 h 914"/>
                <a:gd name="T32" fmla="*/ 355 w 1007"/>
                <a:gd name="T33" fmla="*/ 238 h 914"/>
                <a:gd name="T34" fmla="*/ 396 w 1007"/>
                <a:gd name="T35" fmla="*/ 225 h 914"/>
                <a:gd name="T36" fmla="*/ 401 w 1007"/>
                <a:gd name="T37" fmla="*/ 211 h 914"/>
                <a:gd name="T38" fmla="*/ 405 w 1007"/>
                <a:gd name="T39" fmla="*/ 196 h 914"/>
                <a:gd name="T40" fmla="*/ 407 w 1007"/>
                <a:gd name="T41" fmla="*/ 141 h 914"/>
                <a:gd name="T42" fmla="*/ 406 w 1007"/>
                <a:gd name="T43" fmla="*/ 117 h 914"/>
                <a:gd name="T44" fmla="*/ 404 w 1007"/>
                <a:gd name="T45" fmla="*/ 105 h 914"/>
                <a:gd name="T46" fmla="*/ 377 w 1007"/>
                <a:gd name="T47" fmla="*/ 122 h 914"/>
                <a:gd name="T48" fmla="*/ 348 w 1007"/>
                <a:gd name="T49" fmla="*/ 142 h 914"/>
                <a:gd name="T50" fmla="*/ 296 w 1007"/>
                <a:gd name="T51" fmla="*/ 142 h 914"/>
                <a:gd name="T52" fmla="*/ 292 w 1007"/>
                <a:gd name="T53" fmla="*/ 127 h 914"/>
                <a:gd name="T54" fmla="*/ 274 w 1007"/>
                <a:gd name="T55" fmla="*/ 117 h 914"/>
                <a:gd name="T56" fmla="*/ 241 w 1007"/>
                <a:gd name="T57" fmla="*/ 111 h 914"/>
                <a:gd name="T58" fmla="*/ 213 w 1007"/>
                <a:gd name="T59" fmla="*/ 109 h 914"/>
                <a:gd name="T60" fmla="*/ 191 w 1007"/>
                <a:gd name="T61" fmla="*/ 94 h 914"/>
                <a:gd name="T62" fmla="*/ 179 w 1007"/>
                <a:gd name="T63" fmla="*/ 80 h 914"/>
                <a:gd name="T64" fmla="*/ 164 w 1007"/>
                <a:gd name="T65" fmla="*/ 63 h 914"/>
                <a:gd name="T66" fmla="*/ 143 w 1007"/>
                <a:gd name="T67" fmla="*/ 37 h 914"/>
                <a:gd name="T68" fmla="*/ 121 w 1007"/>
                <a:gd name="T69" fmla="*/ 12 h 914"/>
                <a:gd name="T70" fmla="*/ 86 w 1007"/>
                <a:gd name="T71" fmla="*/ 7 h 914"/>
                <a:gd name="T72" fmla="*/ 46 w 1007"/>
                <a:gd name="T73" fmla="*/ 0 h 914"/>
                <a:gd name="T74" fmla="*/ 5 w 1007"/>
                <a:gd name="T75" fmla="*/ 15 h 914"/>
                <a:gd name="T76" fmla="*/ 0 w 1007"/>
                <a:gd name="T77" fmla="*/ 41 h 914"/>
                <a:gd name="T78" fmla="*/ 20 w 1007"/>
                <a:gd name="T79" fmla="*/ 53 h 914"/>
                <a:gd name="T80" fmla="*/ 44 w 1007"/>
                <a:gd name="T81" fmla="*/ 49 h 914"/>
                <a:gd name="T82" fmla="*/ 47 w 1007"/>
                <a:gd name="T83" fmla="*/ 67 h 914"/>
                <a:gd name="T84" fmla="*/ 76 w 1007"/>
                <a:gd name="T85" fmla="*/ 79 h 914"/>
                <a:gd name="T86" fmla="*/ 94 w 1007"/>
                <a:gd name="T87" fmla="*/ 72 h 914"/>
                <a:gd name="T88" fmla="*/ 143 w 1007"/>
                <a:gd name="T89" fmla="*/ 75 h 914"/>
                <a:gd name="T90" fmla="*/ 136 w 1007"/>
                <a:gd name="T91" fmla="*/ 125 h 914"/>
                <a:gd name="T92" fmla="*/ 128 w 1007"/>
                <a:gd name="T93" fmla="*/ 142 h 914"/>
                <a:gd name="T94" fmla="*/ 125 w 1007"/>
                <a:gd name="T95" fmla="*/ 175 h 914"/>
                <a:gd name="T96" fmla="*/ 114 w 1007"/>
                <a:gd name="T97" fmla="*/ 167 h 914"/>
                <a:gd name="T98" fmla="*/ 87 w 1007"/>
                <a:gd name="T99" fmla="*/ 198 h 914"/>
                <a:gd name="T100" fmla="*/ 79 w 1007"/>
                <a:gd name="T101" fmla="*/ 214 h 914"/>
                <a:gd name="T102" fmla="*/ 114 w 1007"/>
                <a:gd name="T103" fmla="*/ 223 h 914"/>
                <a:gd name="T104" fmla="*/ 114 w 1007"/>
                <a:gd name="T105" fmla="*/ 229 h 914"/>
                <a:gd name="T106" fmla="*/ 101 w 1007"/>
                <a:gd name="T107" fmla="*/ 243 h 9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07" h="914">
                  <a:moveTo>
                    <a:pt x="255" y="758"/>
                  </a:moveTo>
                  <a:lnTo>
                    <a:pt x="309" y="746"/>
                  </a:lnTo>
                  <a:lnTo>
                    <a:pt x="333" y="788"/>
                  </a:lnTo>
                  <a:lnTo>
                    <a:pt x="366" y="812"/>
                  </a:lnTo>
                  <a:lnTo>
                    <a:pt x="390" y="803"/>
                  </a:lnTo>
                  <a:lnTo>
                    <a:pt x="408" y="803"/>
                  </a:lnTo>
                  <a:lnTo>
                    <a:pt x="444" y="785"/>
                  </a:lnTo>
                  <a:lnTo>
                    <a:pt x="468" y="809"/>
                  </a:lnTo>
                  <a:lnTo>
                    <a:pt x="483" y="812"/>
                  </a:lnTo>
                  <a:lnTo>
                    <a:pt x="525" y="794"/>
                  </a:lnTo>
                  <a:lnTo>
                    <a:pt x="558" y="812"/>
                  </a:lnTo>
                  <a:lnTo>
                    <a:pt x="570" y="845"/>
                  </a:lnTo>
                  <a:lnTo>
                    <a:pt x="594" y="845"/>
                  </a:lnTo>
                  <a:lnTo>
                    <a:pt x="603" y="860"/>
                  </a:lnTo>
                  <a:lnTo>
                    <a:pt x="633" y="893"/>
                  </a:lnTo>
                  <a:lnTo>
                    <a:pt x="645" y="887"/>
                  </a:lnTo>
                  <a:lnTo>
                    <a:pt x="639" y="845"/>
                  </a:lnTo>
                  <a:lnTo>
                    <a:pt x="656" y="833"/>
                  </a:lnTo>
                  <a:lnTo>
                    <a:pt x="677" y="881"/>
                  </a:lnTo>
                  <a:lnTo>
                    <a:pt x="698" y="887"/>
                  </a:lnTo>
                  <a:lnTo>
                    <a:pt x="722" y="914"/>
                  </a:lnTo>
                  <a:lnTo>
                    <a:pt x="737" y="911"/>
                  </a:lnTo>
                  <a:lnTo>
                    <a:pt x="743" y="899"/>
                  </a:lnTo>
                  <a:lnTo>
                    <a:pt x="779" y="860"/>
                  </a:lnTo>
                  <a:lnTo>
                    <a:pt x="797" y="869"/>
                  </a:lnTo>
                  <a:lnTo>
                    <a:pt x="809" y="854"/>
                  </a:lnTo>
                  <a:lnTo>
                    <a:pt x="818" y="875"/>
                  </a:lnTo>
                  <a:lnTo>
                    <a:pt x="854" y="887"/>
                  </a:lnTo>
                  <a:lnTo>
                    <a:pt x="875" y="887"/>
                  </a:lnTo>
                  <a:lnTo>
                    <a:pt x="893" y="887"/>
                  </a:lnTo>
                  <a:lnTo>
                    <a:pt x="881" y="869"/>
                  </a:lnTo>
                  <a:lnTo>
                    <a:pt x="878" y="815"/>
                  </a:lnTo>
                  <a:lnTo>
                    <a:pt x="836" y="752"/>
                  </a:lnTo>
                  <a:lnTo>
                    <a:pt x="860" y="728"/>
                  </a:lnTo>
                  <a:lnTo>
                    <a:pt x="881" y="689"/>
                  </a:lnTo>
                  <a:lnTo>
                    <a:pt x="956" y="689"/>
                  </a:lnTo>
                  <a:lnTo>
                    <a:pt x="971" y="677"/>
                  </a:lnTo>
                  <a:lnTo>
                    <a:pt x="968" y="647"/>
                  </a:lnTo>
                  <a:lnTo>
                    <a:pt x="983" y="617"/>
                  </a:lnTo>
                  <a:lnTo>
                    <a:pt x="977" y="602"/>
                  </a:lnTo>
                  <a:lnTo>
                    <a:pt x="986" y="575"/>
                  </a:lnTo>
                  <a:lnTo>
                    <a:pt x="983" y="434"/>
                  </a:lnTo>
                  <a:lnTo>
                    <a:pt x="1007" y="389"/>
                  </a:lnTo>
                  <a:lnTo>
                    <a:pt x="980" y="360"/>
                  </a:lnTo>
                  <a:lnTo>
                    <a:pt x="986" y="342"/>
                  </a:lnTo>
                  <a:lnTo>
                    <a:pt x="974" y="327"/>
                  </a:lnTo>
                  <a:lnTo>
                    <a:pt x="944" y="336"/>
                  </a:lnTo>
                  <a:lnTo>
                    <a:pt x="911" y="374"/>
                  </a:lnTo>
                  <a:lnTo>
                    <a:pt x="875" y="392"/>
                  </a:lnTo>
                  <a:lnTo>
                    <a:pt x="842" y="437"/>
                  </a:lnTo>
                  <a:lnTo>
                    <a:pt x="758" y="467"/>
                  </a:lnTo>
                  <a:lnTo>
                    <a:pt x="719" y="437"/>
                  </a:lnTo>
                  <a:lnTo>
                    <a:pt x="722" y="419"/>
                  </a:lnTo>
                  <a:lnTo>
                    <a:pt x="704" y="392"/>
                  </a:lnTo>
                  <a:lnTo>
                    <a:pt x="695" y="362"/>
                  </a:lnTo>
                  <a:lnTo>
                    <a:pt x="662" y="360"/>
                  </a:lnTo>
                  <a:lnTo>
                    <a:pt x="606" y="330"/>
                  </a:lnTo>
                  <a:lnTo>
                    <a:pt x="582" y="339"/>
                  </a:lnTo>
                  <a:lnTo>
                    <a:pt x="558" y="327"/>
                  </a:lnTo>
                  <a:lnTo>
                    <a:pt x="519" y="333"/>
                  </a:lnTo>
                  <a:lnTo>
                    <a:pt x="483" y="321"/>
                  </a:lnTo>
                  <a:lnTo>
                    <a:pt x="462" y="291"/>
                  </a:lnTo>
                  <a:lnTo>
                    <a:pt x="444" y="270"/>
                  </a:lnTo>
                  <a:lnTo>
                    <a:pt x="435" y="246"/>
                  </a:lnTo>
                  <a:lnTo>
                    <a:pt x="408" y="219"/>
                  </a:lnTo>
                  <a:lnTo>
                    <a:pt x="393" y="195"/>
                  </a:lnTo>
                  <a:lnTo>
                    <a:pt x="357" y="144"/>
                  </a:lnTo>
                  <a:lnTo>
                    <a:pt x="345" y="114"/>
                  </a:lnTo>
                  <a:lnTo>
                    <a:pt x="303" y="63"/>
                  </a:lnTo>
                  <a:lnTo>
                    <a:pt x="291" y="36"/>
                  </a:lnTo>
                  <a:lnTo>
                    <a:pt x="240" y="9"/>
                  </a:lnTo>
                  <a:lnTo>
                    <a:pt x="207" y="21"/>
                  </a:lnTo>
                  <a:lnTo>
                    <a:pt x="177" y="15"/>
                  </a:lnTo>
                  <a:lnTo>
                    <a:pt x="111" y="0"/>
                  </a:lnTo>
                  <a:lnTo>
                    <a:pt x="21" y="33"/>
                  </a:lnTo>
                  <a:lnTo>
                    <a:pt x="6" y="45"/>
                  </a:lnTo>
                  <a:lnTo>
                    <a:pt x="24" y="72"/>
                  </a:lnTo>
                  <a:lnTo>
                    <a:pt x="0" y="129"/>
                  </a:lnTo>
                  <a:lnTo>
                    <a:pt x="9" y="138"/>
                  </a:lnTo>
                  <a:lnTo>
                    <a:pt x="48" y="162"/>
                  </a:lnTo>
                  <a:lnTo>
                    <a:pt x="69" y="129"/>
                  </a:lnTo>
                  <a:lnTo>
                    <a:pt x="105" y="150"/>
                  </a:lnTo>
                  <a:lnTo>
                    <a:pt x="102" y="165"/>
                  </a:lnTo>
                  <a:lnTo>
                    <a:pt x="114" y="207"/>
                  </a:lnTo>
                  <a:lnTo>
                    <a:pt x="138" y="234"/>
                  </a:lnTo>
                  <a:lnTo>
                    <a:pt x="183" y="240"/>
                  </a:lnTo>
                  <a:lnTo>
                    <a:pt x="198" y="225"/>
                  </a:lnTo>
                  <a:lnTo>
                    <a:pt x="225" y="222"/>
                  </a:lnTo>
                  <a:lnTo>
                    <a:pt x="276" y="177"/>
                  </a:lnTo>
                  <a:lnTo>
                    <a:pt x="345" y="228"/>
                  </a:lnTo>
                  <a:lnTo>
                    <a:pt x="321" y="321"/>
                  </a:lnTo>
                  <a:lnTo>
                    <a:pt x="327" y="386"/>
                  </a:lnTo>
                  <a:lnTo>
                    <a:pt x="327" y="428"/>
                  </a:lnTo>
                  <a:lnTo>
                    <a:pt x="309" y="437"/>
                  </a:lnTo>
                  <a:lnTo>
                    <a:pt x="306" y="542"/>
                  </a:lnTo>
                  <a:lnTo>
                    <a:pt x="303" y="539"/>
                  </a:lnTo>
                  <a:lnTo>
                    <a:pt x="285" y="515"/>
                  </a:lnTo>
                  <a:lnTo>
                    <a:pt x="273" y="515"/>
                  </a:lnTo>
                  <a:lnTo>
                    <a:pt x="270" y="524"/>
                  </a:lnTo>
                  <a:lnTo>
                    <a:pt x="213" y="608"/>
                  </a:lnTo>
                  <a:lnTo>
                    <a:pt x="186" y="644"/>
                  </a:lnTo>
                  <a:lnTo>
                    <a:pt x="189" y="656"/>
                  </a:lnTo>
                  <a:lnTo>
                    <a:pt x="246" y="695"/>
                  </a:lnTo>
                  <a:lnTo>
                    <a:pt x="276" y="686"/>
                  </a:lnTo>
                  <a:lnTo>
                    <a:pt x="282" y="695"/>
                  </a:lnTo>
                  <a:lnTo>
                    <a:pt x="273" y="704"/>
                  </a:lnTo>
                  <a:lnTo>
                    <a:pt x="246" y="719"/>
                  </a:lnTo>
                  <a:lnTo>
                    <a:pt x="243" y="743"/>
                  </a:lnTo>
                  <a:lnTo>
                    <a:pt x="255" y="758"/>
                  </a:lnTo>
                </a:path>
              </a:pathLst>
            </a:custGeom>
            <a:solidFill>
              <a:srgbClr val="CCECFF"/>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1" name="Freeform 35"/>
            <p:cNvSpPr>
              <a:spLocks/>
            </p:cNvSpPr>
            <p:nvPr/>
          </p:nvSpPr>
          <p:spPr bwMode="auto">
            <a:xfrm>
              <a:off x="5054849" y="3084537"/>
              <a:ext cx="57150" cy="74613"/>
            </a:xfrm>
            <a:custGeom>
              <a:avLst/>
              <a:gdLst>
                <a:gd name="T0" fmla="*/ 14 w 41"/>
                <a:gd name="T1" fmla="*/ 0 h 54"/>
                <a:gd name="T2" fmla="*/ 13 w 41"/>
                <a:gd name="T3" fmla="*/ 10 h 54"/>
                <a:gd name="T4" fmla="*/ 14 w 41"/>
                <a:gd name="T5" fmla="*/ 12 h 54"/>
                <a:gd name="T6" fmla="*/ 5 w 41"/>
                <a:gd name="T7" fmla="*/ 17 h 54"/>
                <a:gd name="T8" fmla="*/ 5 w 41"/>
                <a:gd name="T9" fmla="*/ 10 h 54"/>
                <a:gd name="T10" fmla="*/ 0 w 41"/>
                <a:gd name="T11" fmla="*/ 5 h 54"/>
                <a:gd name="T12" fmla="*/ 14 w 41"/>
                <a:gd name="T13" fmla="*/ 0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54">
                  <a:moveTo>
                    <a:pt x="41" y="0"/>
                  </a:moveTo>
                  <a:lnTo>
                    <a:pt x="35" y="30"/>
                  </a:lnTo>
                  <a:lnTo>
                    <a:pt x="38" y="42"/>
                  </a:lnTo>
                  <a:lnTo>
                    <a:pt x="11" y="54"/>
                  </a:lnTo>
                  <a:lnTo>
                    <a:pt x="8" y="33"/>
                  </a:lnTo>
                  <a:lnTo>
                    <a:pt x="0" y="18"/>
                  </a:lnTo>
                  <a:lnTo>
                    <a:pt x="41" y="0"/>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2" name="Freeform 36"/>
            <p:cNvSpPr>
              <a:spLocks/>
            </p:cNvSpPr>
            <p:nvPr/>
          </p:nvSpPr>
          <p:spPr bwMode="auto">
            <a:xfrm>
              <a:off x="395536" y="1084287"/>
              <a:ext cx="6215063" cy="4848225"/>
            </a:xfrm>
            <a:custGeom>
              <a:avLst/>
              <a:gdLst>
                <a:gd name="T0" fmla="*/ 943 w 4428"/>
                <a:gd name="T1" fmla="*/ 440 h 3493"/>
                <a:gd name="T2" fmla="*/ 1151 w 4428"/>
                <a:gd name="T3" fmla="*/ 406 h 3493"/>
                <a:gd name="T4" fmla="*/ 1243 w 4428"/>
                <a:gd name="T5" fmla="*/ 330 h 3493"/>
                <a:gd name="T6" fmla="*/ 1351 w 4428"/>
                <a:gd name="T7" fmla="*/ 257 h 3493"/>
                <a:gd name="T8" fmla="*/ 1345 w 4428"/>
                <a:gd name="T9" fmla="*/ 208 h 3493"/>
                <a:gd name="T10" fmla="*/ 1307 w 4428"/>
                <a:gd name="T11" fmla="*/ 150 h 3493"/>
                <a:gd name="T12" fmla="*/ 1397 w 4428"/>
                <a:gd name="T13" fmla="*/ 63 h 3493"/>
                <a:gd name="T14" fmla="*/ 1455 w 4428"/>
                <a:gd name="T15" fmla="*/ 0 h 3493"/>
                <a:gd name="T16" fmla="*/ 1571 w 4428"/>
                <a:gd name="T17" fmla="*/ 64 h 3493"/>
                <a:gd name="T18" fmla="*/ 1648 w 4428"/>
                <a:gd name="T19" fmla="*/ 111 h 3493"/>
                <a:gd name="T20" fmla="*/ 1755 w 4428"/>
                <a:gd name="T21" fmla="*/ 143 h 3493"/>
                <a:gd name="T22" fmla="*/ 1813 w 4428"/>
                <a:gd name="T23" fmla="*/ 141 h 3493"/>
                <a:gd name="T24" fmla="*/ 1762 w 4428"/>
                <a:gd name="T25" fmla="*/ 238 h 3493"/>
                <a:gd name="T26" fmla="*/ 1755 w 4428"/>
                <a:gd name="T27" fmla="*/ 316 h 3493"/>
                <a:gd name="T28" fmla="*/ 1698 w 4428"/>
                <a:gd name="T29" fmla="*/ 359 h 3493"/>
                <a:gd name="T30" fmla="*/ 1622 w 4428"/>
                <a:gd name="T31" fmla="*/ 419 h 3493"/>
                <a:gd name="T32" fmla="*/ 1523 w 4428"/>
                <a:gd name="T33" fmla="*/ 476 h 3493"/>
                <a:gd name="T34" fmla="*/ 1462 w 4428"/>
                <a:gd name="T35" fmla="*/ 462 h 3493"/>
                <a:gd name="T36" fmla="*/ 1406 w 4428"/>
                <a:gd name="T37" fmla="*/ 526 h 3493"/>
                <a:gd name="T38" fmla="*/ 1475 w 4428"/>
                <a:gd name="T39" fmla="*/ 557 h 3493"/>
                <a:gd name="T40" fmla="*/ 1544 w 4428"/>
                <a:gd name="T41" fmla="*/ 557 h 3493"/>
                <a:gd name="T42" fmla="*/ 1500 w 4428"/>
                <a:gd name="T43" fmla="*/ 638 h 3493"/>
                <a:gd name="T44" fmla="*/ 1583 w 4428"/>
                <a:gd name="T45" fmla="*/ 721 h 3493"/>
                <a:gd name="T46" fmla="*/ 1590 w 4428"/>
                <a:gd name="T47" fmla="*/ 735 h 3493"/>
                <a:gd name="T48" fmla="*/ 1561 w 4428"/>
                <a:gd name="T49" fmla="*/ 775 h 3493"/>
                <a:gd name="T50" fmla="*/ 1608 w 4428"/>
                <a:gd name="T51" fmla="*/ 828 h 3493"/>
                <a:gd name="T52" fmla="*/ 1548 w 4428"/>
                <a:gd name="T53" fmla="*/ 894 h 3493"/>
                <a:gd name="T54" fmla="*/ 1534 w 4428"/>
                <a:gd name="T55" fmla="*/ 951 h 3493"/>
                <a:gd name="T56" fmla="*/ 1507 w 4428"/>
                <a:gd name="T57" fmla="*/ 979 h 3493"/>
                <a:gd name="T58" fmla="*/ 1452 w 4428"/>
                <a:gd name="T59" fmla="*/ 1029 h 3493"/>
                <a:gd name="T60" fmla="*/ 1388 w 4428"/>
                <a:gd name="T61" fmla="*/ 1043 h 3493"/>
                <a:gd name="T62" fmla="*/ 1309 w 4428"/>
                <a:gd name="T63" fmla="*/ 1083 h 3493"/>
                <a:gd name="T64" fmla="*/ 1224 w 4428"/>
                <a:gd name="T65" fmla="*/ 1141 h 3493"/>
                <a:gd name="T66" fmla="*/ 1137 w 4428"/>
                <a:gd name="T67" fmla="*/ 1102 h 3493"/>
                <a:gd name="T68" fmla="*/ 1061 w 4428"/>
                <a:gd name="T69" fmla="*/ 1059 h 3493"/>
                <a:gd name="T70" fmla="*/ 986 w 4428"/>
                <a:gd name="T71" fmla="*/ 1068 h 3493"/>
                <a:gd name="T72" fmla="*/ 918 w 4428"/>
                <a:gd name="T73" fmla="*/ 1071 h 3493"/>
                <a:gd name="T74" fmla="*/ 882 w 4428"/>
                <a:gd name="T75" fmla="*/ 1120 h 3493"/>
                <a:gd name="T76" fmla="*/ 816 w 4428"/>
                <a:gd name="T77" fmla="*/ 1098 h 3493"/>
                <a:gd name="T78" fmla="*/ 797 w 4428"/>
                <a:gd name="T79" fmla="*/ 1055 h 3493"/>
                <a:gd name="T80" fmla="*/ 729 w 4428"/>
                <a:gd name="T81" fmla="*/ 1028 h 3493"/>
                <a:gd name="T82" fmla="*/ 774 w 4428"/>
                <a:gd name="T83" fmla="*/ 910 h 3493"/>
                <a:gd name="T84" fmla="*/ 691 w 4428"/>
                <a:gd name="T85" fmla="*/ 877 h 3493"/>
                <a:gd name="T86" fmla="*/ 639 w 4428"/>
                <a:gd name="T87" fmla="*/ 850 h 3493"/>
                <a:gd name="T88" fmla="*/ 525 w 4428"/>
                <a:gd name="T89" fmla="*/ 889 h 3493"/>
                <a:gd name="T90" fmla="*/ 411 w 4428"/>
                <a:gd name="T91" fmla="*/ 887 h 3493"/>
                <a:gd name="T92" fmla="*/ 312 w 4428"/>
                <a:gd name="T93" fmla="*/ 860 h 3493"/>
                <a:gd name="T94" fmla="*/ 244 w 4428"/>
                <a:gd name="T95" fmla="*/ 811 h 3493"/>
                <a:gd name="T96" fmla="*/ 133 w 4428"/>
                <a:gd name="T97" fmla="*/ 744 h 3493"/>
                <a:gd name="T98" fmla="*/ 90 w 4428"/>
                <a:gd name="T99" fmla="*/ 688 h 3493"/>
                <a:gd name="T100" fmla="*/ 113 w 4428"/>
                <a:gd name="T101" fmla="*/ 652 h 3493"/>
                <a:gd name="T102" fmla="*/ 155 w 4428"/>
                <a:gd name="T103" fmla="*/ 612 h 3493"/>
                <a:gd name="T104" fmla="*/ 86 w 4428"/>
                <a:gd name="T105" fmla="*/ 573 h 3493"/>
                <a:gd name="T106" fmla="*/ 5 w 4428"/>
                <a:gd name="T107" fmla="*/ 502 h 3493"/>
                <a:gd name="T108" fmla="*/ 5 w 4428"/>
                <a:gd name="T109" fmla="*/ 451 h 3493"/>
                <a:gd name="T110" fmla="*/ 45 w 4428"/>
                <a:gd name="T111" fmla="*/ 401 h 3493"/>
                <a:gd name="T112" fmla="*/ 120 w 4428"/>
                <a:gd name="T113" fmla="*/ 392 h 3493"/>
                <a:gd name="T114" fmla="*/ 257 w 4428"/>
                <a:gd name="T115" fmla="*/ 341 h 3493"/>
                <a:gd name="T116" fmla="*/ 320 w 4428"/>
                <a:gd name="T117" fmla="*/ 287 h 3493"/>
                <a:gd name="T118" fmla="*/ 402 w 4428"/>
                <a:gd name="T119" fmla="*/ 241 h 3493"/>
                <a:gd name="T120" fmla="*/ 497 w 4428"/>
                <a:gd name="T121" fmla="*/ 177 h 3493"/>
                <a:gd name="T122" fmla="*/ 555 w 4428"/>
                <a:gd name="T123" fmla="*/ 226 h 3493"/>
                <a:gd name="T124" fmla="*/ 606 w 4428"/>
                <a:gd name="T125" fmla="*/ 326 h 34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428" h="3493">
                  <a:moveTo>
                    <a:pt x="1768" y="1255"/>
                  </a:moveTo>
                  <a:lnTo>
                    <a:pt x="1783" y="1258"/>
                  </a:lnTo>
                  <a:lnTo>
                    <a:pt x="1837" y="1267"/>
                  </a:lnTo>
                  <a:lnTo>
                    <a:pt x="2004" y="1282"/>
                  </a:lnTo>
                  <a:lnTo>
                    <a:pt x="2031" y="1273"/>
                  </a:lnTo>
                  <a:lnTo>
                    <a:pt x="2169" y="1288"/>
                  </a:lnTo>
                  <a:lnTo>
                    <a:pt x="2196" y="1318"/>
                  </a:lnTo>
                  <a:lnTo>
                    <a:pt x="2289" y="1348"/>
                  </a:lnTo>
                  <a:lnTo>
                    <a:pt x="2373" y="1351"/>
                  </a:lnTo>
                  <a:lnTo>
                    <a:pt x="2379" y="1369"/>
                  </a:lnTo>
                  <a:lnTo>
                    <a:pt x="2397" y="1378"/>
                  </a:lnTo>
                  <a:lnTo>
                    <a:pt x="2457" y="1339"/>
                  </a:lnTo>
                  <a:lnTo>
                    <a:pt x="2591" y="1282"/>
                  </a:lnTo>
                  <a:lnTo>
                    <a:pt x="2609" y="1285"/>
                  </a:lnTo>
                  <a:lnTo>
                    <a:pt x="2726" y="1273"/>
                  </a:lnTo>
                  <a:lnTo>
                    <a:pt x="2795" y="1243"/>
                  </a:lnTo>
                  <a:lnTo>
                    <a:pt x="2849" y="1174"/>
                  </a:lnTo>
                  <a:lnTo>
                    <a:pt x="2888" y="1153"/>
                  </a:lnTo>
                  <a:lnTo>
                    <a:pt x="2915" y="1123"/>
                  </a:lnTo>
                  <a:lnTo>
                    <a:pt x="2873" y="1064"/>
                  </a:lnTo>
                  <a:lnTo>
                    <a:pt x="2888" y="1013"/>
                  </a:lnTo>
                  <a:lnTo>
                    <a:pt x="2918" y="983"/>
                  </a:lnTo>
                  <a:lnTo>
                    <a:pt x="2942" y="995"/>
                  </a:lnTo>
                  <a:lnTo>
                    <a:pt x="3017" y="1010"/>
                  </a:lnTo>
                  <a:lnTo>
                    <a:pt x="3056" y="989"/>
                  </a:lnTo>
                  <a:lnTo>
                    <a:pt x="3095" y="935"/>
                  </a:lnTo>
                  <a:lnTo>
                    <a:pt x="3134" y="929"/>
                  </a:lnTo>
                  <a:lnTo>
                    <a:pt x="3191" y="890"/>
                  </a:lnTo>
                  <a:lnTo>
                    <a:pt x="3197" y="860"/>
                  </a:lnTo>
                  <a:lnTo>
                    <a:pt x="3224" y="821"/>
                  </a:lnTo>
                  <a:lnTo>
                    <a:pt x="3263" y="812"/>
                  </a:lnTo>
                  <a:lnTo>
                    <a:pt x="3281" y="785"/>
                  </a:lnTo>
                  <a:lnTo>
                    <a:pt x="3302" y="788"/>
                  </a:lnTo>
                  <a:lnTo>
                    <a:pt x="3331" y="767"/>
                  </a:lnTo>
                  <a:lnTo>
                    <a:pt x="3418" y="761"/>
                  </a:lnTo>
                  <a:lnTo>
                    <a:pt x="3433" y="749"/>
                  </a:lnTo>
                  <a:lnTo>
                    <a:pt x="3433" y="734"/>
                  </a:lnTo>
                  <a:lnTo>
                    <a:pt x="3358" y="656"/>
                  </a:lnTo>
                  <a:lnTo>
                    <a:pt x="3299" y="632"/>
                  </a:lnTo>
                  <a:lnTo>
                    <a:pt x="3266" y="641"/>
                  </a:lnTo>
                  <a:lnTo>
                    <a:pt x="3248" y="671"/>
                  </a:lnTo>
                  <a:lnTo>
                    <a:pt x="3188" y="665"/>
                  </a:lnTo>
                  <a:lnTo>
                    <a:pt x="3149" y="686"/>
                  </a:lnTo>
                  <a:lnTo>
                    <a:pt x="3125" y="668"/>
                  </a:lnTo>
                  <a:lnTo>
                    <a:pt x="3116" y="641"/>
                  </a:lnTo>
                  <a:lnTo>
                    <a:pt x="3134" y="623"/>
                  </a:lnTo>
                  <a:lnTo>
                    <a:pt x="3170" y="473"/>
                  </a:lnTo>
                  <a:lnTo>
                    <a:pt x="3176" y="461"/>
                  </a:lnTo>
                  <a:lnTo>
                    <a:pt x="3200" y="470"/>
                  </a:lnTo>
                  <a:lnTo>
                    <a:pt x="3245" y="479"/>
                  </a:lnTo>
                  <a:lnTo>
                    <a:pt x="3331" y="416"/>
                  </a:lnTo>
                  <a:lnTo>
                    <a:pt x="3340" y="398"/>
                  </a:lnTo>
                  <a:lnTo>
                    <a:pt x="3328" y="374"/>
                  </a:lnTo>
                  <a:lnTo>
                    <a:pt x="3364" y="240"/>
                  </a:lnTo>
                  <a:lnTo>
                    <a:pt x="3385" y="210"/>
                  </a:lnTo>
                  <a:lnTo>
                    <a:pt x="3394" y="189"/>
                  </a:lnTo>
                  <a:lnTo>
                    <a:pt x="3376" y="138"/>
                  </a:lnTo>
                  <a:lnTo>
                    <a:pt x="3349" y="135"/>
                  </a:lnTo>
                  <a:lnTo>
                    <a:pt x="3337" y="126"/>
                  </a:lnTo>
                  <a:lnTo>
                    <a:pt x="3370" y="75"/>
                  </a:lnTo>
                  <a:lnTo>
                    <a:pt x="3412" y="45"/>
                  </a:lnTo>
                  <a:lnTo>
                    <a:pt x="3427" y="45"/>
                  </a:lnTo>
                  <a:lnTo>
                    <a:pt x="3442" y="33"/>
                  </a:lnTo>
                  <a:lnTo>
                    <a:pt x="3532" y="0"/>
                  </a:lnTo>
                  <a:lnTo>
                    <a:pt x="3598" y="15"/>
                  </a:lnTo>
                  <a:lnTo>
                    <a:pt x="3628" y="21"/>
                  </a:lnTo>
                  <a:lnTo>
                    <a:pt x="3661" y="9"/>
                  </a:lnTo>
                  <a:lnTo>
                    <a:pt x="3712" y="36"/>
                  </a:lnTo>
                  <a:lnTo>
                    <a:pt x="3724" y="63"/>
                  </a:lnTo>
                  <a:lnTo>
                    <a:pt x="3766" y="114"/>
                  </a:lnTo>
                  <a:lnTo>
                    <a:pt x="3778" y="144"/>
                  </a:lnTo>
                  <a:lnTo>
                    <a:pt x="3814" y="195"/>
                  </a:lnTo>
                  <a:lnTo>
                    <a:pt x="3829" y="219"/>
                  </a:lnTo>
                  <a:lnTo>
                    <a:pt x="3856" y="246"/>
                  </a:lnTo>
                  <a:lnTo>
                    <a:pt x="3865" y="270"/>
                  </a:lnTo>
                  <a:lnTo>
                    <a:pt x="3883" y="291"/>
                  </a:lnTo>
                  <a:lnTo>
                    <a:pt x="3904" y="321"/>
                  </a:lnTo>
                  <a:lnTo>
                    <a:pt x="3940" y="333"/>
                  </a:lnTo>
                  <a:lnTo>
                    <a:pt x="3979" y="327"/>
                  </a:lnTo>
                  <a:lnTo>
                    <a:pt x="4003" y="339"/>
                  </a:lnTo>
                  <a:lnTo>
                    <a:pt x="4027" y="330"/>
                  </a:lnTo>
                  <a:lnTo>
                    <a:pt x="4083" y="360"/>
                  </a:lnTo>
                  <a:lnTo>
                    <a:pt x="4116" y="362"/>
                  </a:lnTo>
                  <a:lnTo>
                    <a:pt x="4125" y="392"/>
                  </a:lnTo>
                  <a:lnTo>
                    <a:pt x="4143" y="419"/>
                  </a:lnTo>
                  <a:lnTo>
                    <a:pt x="4140" y="437"/>
                  </a:lnTo>
                  <a:lnTo>
                    <a:pt x="4179" y="467"/>
                  </a:lnTo>
                  <a:lnTo>
                    <a:pt x="4263" y="437"/>
                  </a:lnTo>
                  <a:lnTo>
                    <a:pt x="4296" y="392"/>
                  </a:lnTo>
                  <a:lnTo>
                    <a:pt x="4332" y="374"/>
                  </a:lnTo>
                  <a:lnTo>
                    <a:pt x="4365" y="336"/>
                  </a:lnTo>
                  <a:lnTo>
                    <a:pt x="4395" y="327"/>
                  </a:lnTo>
                  <a:lnTo>
                    <a:pt x="4407" y="342"/>
                  </a:lnTo>
                  <a:lnTo>
                    <a:pt x="4401" y="360"/>
                  </a:lnTo>
                  <a:lnTo>
                    <a:pt x="4428" y="389"/>
                  </a:lnTo>
                  <a:lnTo>
                    <a:pt x="4404" y="434"/>
                  </a:lnTo>
                  <a:lnTo>
                    <a:pt x="4407" y="575"/>
                  </a:lnTo>
                  <a:lnTo>
                    <a:pt x="4398" y="602"/>
                  </a:lnTo>
                  <a:lnTo>
                    <a:pt x="4404" y="617"/>
                  </a:lnTo>
                  <a:lnTo>
                    <a:pt x="4389" y="647"/>
                  </a:lnTo>
                  <a:lnTo>
                    <a:pt x="4392" y="677"/>
                  </a:lnTo>
                  <a:lnTo>
                    <a:pt x="4377" y="689"/>
                  </a:lnTo>
                  <a:lnTo>
                    <a:pt x="4302" y="689"/>
                  </a:lnTo>
                  <a:lnTo>
                    <a:pt x="4281" y="728"/>
                  </a:lnTo>
                  <a:lnTo>
                    <a:pt x="4257" y="752"/>
                  </a:lnTo>
                  <a:lnTo>
                    <a:pt x="4299" y="815"/>
                  </a:lnTo>
                  <a:lnTo>
                    <a:pt x="4302" y="869"/>
                  </a:lnTo>
                  <a:lnTo>
                    <a:pt x="4314" y="887"/>
                  </a:lnTo>
                  <a:lnTo>
                    <a:pt x="4320" y="899"/>
                  </a:lnTo>
                  <a:lnTo>
                    <a:pt x="4311" y="932"/>
                  </a:lnTo>
                  <a:lnTo>
                    <a:pt x="4275" y="977"/>
                  </a:lnTo>
                  <a:lnTo>
                    <a:pt x="4263" y="965"/>
                  </a:lnTo>
                  <a:lnTo>
                    <a:pt x="4248" y="953"/>
                  </a:lnTo>
                  <a:lnTo>
                    <a:pt x="4236" y="956"/>
                  </a:lnTo>
                  <a:lnTo>
                    <a:pt x="4230" y="983"/>
                  </a:lnTo>
                  <a:lnTo>
                    <a:pt x="4227" y="1019"/>
                  </a:lnTo>
                  <a:lnTo>
                    <a:pt x="4200" y="1031"/>
                  </a:lnTo>
                  <a:lnTo>
                    <a:pt x="4182" y="1070"/>
                  </a:lnTo>
                  <a:lnTo>
                    <a:pt x="4134" y="1085"/>
                  </a:lnTo>
                  <a:lnTo>
                    <a:pt x="4125" y="1097"/>
                  </a:lnTo>
                  <a:lnTo>
                    <a:pt x="4152" y="1132"/>
                  </a:lnTo>
                  <a:lnTo>
                    <a:pt x="4134" y="1150"/>
                  </a:lnTo>
                  <a:lnTo>
                    <a:pt x="4080" y="1156"/>
                  </a:lnTo>
                  <a:lnTo>
                    <a:pt x="4051" y="1138"/>
                  </a:lnTo>
                  <a:lnTo>
                    <a:pt x="4036" y="1141"/>
                  </a:lnTo>
                  <a:lnTo>
                    <a:pt x="4006" y="1225"/>
                  </a:lnTo>
                  <a:lnTo>
                    <a:pt x="3976" y="1246"/>
                  </a:lnTo>
                  <a:lnTo>
                    <a:pt x="3940" y="1285"/>
                  </a:lnTo>
                  <a:lnTo>
                    <a:pt x="3886" y="1366"/>
                  </a:lnTo>
                  <a:lnTo>
                    <a:pt x="3859" y="1372"/>
                  </a:lnTo>
                  <a:lnTo>
                    <a:pt x="3772" y="1420"/>
                  </a:lnTo>
                  <a:lnTo>
                    <a:pt x="3715" y="1495"/>
                  </a:lnTo>
                  <a:lnTo>
                    <a:pt x="3676" y="1516"/>
                  </a:lnTo>
                  <a:lnTo>
                    <a:pt x="3673" y="1507"/>
                  </a:lnTo>
                  <a:lnTo>
                    <a:pt x="3694" y="1483"/>
                  </a:lnTo>
                  <a:lnTo>
                    <a:pt x="3697" y="1459"/>
                  </a:lnTo>
                  <a:lnTo>
                    <a:pt x="3667" y="1438"/>
                  </a:lnTo>
                  <a:lnTo>
                    <a:pt x="3700" y="1387"/>
                  </a:lnTo>
                  <a:lnTo>
                    <a:pt x="3724" y="1333"/>
                  </a:lnTo>
                  <a:lnTo>
                    <a:pt x="3691" y="1300"/>
                  </a:lnTo>
                  <a:lnTo>
                    <a:pt x="3637" y="1312"/>
                  </a:lnTo>
                  <a:lnTo>
                    <a:pt x="3604" y="1366"/>
                  </a:lnTo>
                  <a:lnTo>
                    <a:pt x="3571" y="1405"/>
                  </a:lnTo>
                  <a:lnTo>
                    <a:pt x="3553" y="1414"/>
                  </a:lnTo>
                  <a:lnTo>
                    <a:pt x="3514" y="1471"/>
                  </a:lnTo>
                  <a:lnTo>
                    <a:pt x="3514" y="1492"/>
                  </a:lnTo>
                  <a:lnTo>
                    <a:pt x="3448" y="1528"/>
                  </a:lnTo>
                  <a:lnTo>
                    <a:pt x="3421" y="1516"/>
                  </a:lnTo>
                  <a:lnTo>
                    <a:pt x="3403" y="1531"/>
                  </a:lnTo>
                  <a:lnTo>
                    <a:pt x="3394" y="1561"/>
                  </a:lnTo>
                  <a:lnTo>
                    <a:pt x="3403" y="1582"/>
                  </a:lnTo>
                  <a:lnTo>
                    <a:pt x="3415" y="1612"/>
                  </a:lnTo>
                  <a:lnTo>
                    <a:pt x="3430" y="1621"/>
                  </a:lnTo>
                  <a:lnTo>
                    <a:pt x="3451" y="1639"/>
                  </a:lnTo>
                  <a:lnTo>
                    <a:pt x="3490" y="1630"/>
                  </a:lnTo>
                  <a:lnTo>
                    <a:pt x="3511" y="1642"/>
                  </a:lnTo>
                  <a:lnTo>
                    <a:pt x="3520" y="1678"/>
                  </a:lnTo>
                  <a:lnTo>
                    <a:pt x="3523" y="1699"/>
                  </a:lnTo>
                  <a:lnTo>
                    <a:pt x="3565" y="1717"/>
                  </a:lnTo>
                  <a:lnTo>
                    <a:pt x="3583" y="1705"/>
                  </a:lnTo>
                  <a:lnTo>
                    <a:pt x="3646" y="1624"/>
                  </a:lnTo>
                  <a:lnTo>
                    <a:pt x="3670" y="1621"/>
                  </a:lnTo>
                  <a:lnTo>
                    <a:pt x="3712" y="1639"/>
                  </a:lnTo>
                  <a:lnTo>
                    <a:pt x="3775" y="1633"/>
                  </a:lnTo>
                  <a:lnTo>
                    <a:pt x="3802" y="1636"/>
                  </a:lnTo>
                  <a:lnTo>
                    <a:pt x="3808" y="1675"/>
                  </a:lnTo>
                  <a:lnTo>
                    <a:pt x="3787" y="1693"/>
                  </a:lnTo>
                  <a:lnTo>
                    <a:pt x="3748" y="1705"/>
                  </a:lnTo>
                  <a:lnTo>
                    <a:pt x="3694" y="1753"/>
                  </a:lnTo>
                  <a:lnTo>
                    <a:pt x="3685" y="1780"/>
                  </a:lnTo>
                  <a:lnTo>
                    <a:pt x="3664" y="1789"/>
                  </a:lnTo>
                  <a:lnTo>
                    <a:pt x="3649" y="1786"/>
                  </a:lnTo>
                  <a:lnTo>
                    <a:pt x="3637" y="1798"/>
                  </a:lnTo>
                  <a:lnTo>
                    <a:pt x="3649" y="1816"/>
                  </a:lnTo>
                  <a:lnTo>
                    <a:pt x="3586" y="1920"/>
                  </a:lnTo>
                  <a:lnTo>
                    <a:pt x="3643" y="1959"/>
                  </a:lnTo>
                  <a:lnTo>
                    <a:pt x="3685" y="1977"/>
                  </a:lnTo>
                  <a:lnTo>
                    <a:pt x="3763" y="2106"/>
                  </a:lnTo>
                  <a:lnTo>
                    <a:pt x="3760" y="2118"/>
                  </a:lnTo>
                  <a:lnTo>
                    <a:pt x="3811" y="2142"/>
                  </a:lnTo>
                  <a:lnTo>
                    <a:pt x="3826" y="2166"/>
                  </a:lnTo>
                  <a:lnTo>
                    <a:pt x="3850" y="2178"/>
                  </a:lnTo>
                  <a:lnTo>
                    <a:pt x="3862" y="2199"/>
                  </a:lnTo>
                  <a:lnTo>
                    <a:pt x="3844" y="2208"/>
                  </a:lnTo>
                  <a:lnTo>
                    <a:pt x="3817" y="2199"/>
                  </a:lnTo>
                  <a:lnTo>
                    <a:pt x="3781" y="2199"/>
                  </a:lnTo>
                  <a:lnTo>
                    <a:pt x="3748" y="2187"/>
                  </a:lnTo>
                  <a:lnTo>
                    <a:pt x="3733" y="2199"/>
                  </a:lnTo>
                  <a:lnTo>
                    <a:pt x="3766" y="2208"/>
                  </a:lnTo>
                  <a:lnTo>
                    <a:pt x="3796" y="2220"/>
                  </a:lnTo>
                  <a:lnTo>
                    <a:pt x="3826" y="2235"/>
                  </a:lnTo>
                  <a:lnTo>
                    <a:pt x="3862" y="2250"/>
                  </a:lnTo>
                  <a:lnTo>
                    <a:pt x="3877" y="2271"/>
                  </a:lnTo>
                  <a:lnTo>
                    <a:pt x="3865" y="2286"/>
                  </a:lnTo>
                  <a:lnTo>
                    <a:pt x="3832" y="2313"/>
                  </a:lnTo>
                  <a:lnTo>
                    <a:pt x="3817" y="2322"/>
                  </a:lnTo>
                  <a:lnTo>
                    <a:pt x="3802" y="2349"/>
                  </a:lnTo>
                  <a:lnTo>
                    <a:pt x="3778" y="2355"/>
                  </a:lnTo>
                  <a:lnTo>
                    <a:pt x="3769" y="2361"/>
                  </a:lnTo>
                  <a:lnTo>
                    <a:pt x="3793" y="2376"/>
                  </a:lnTo>
                  <a:lnTo>
                    <a:pt x="3838" y="2355"/>
                  </a:lnTo>
                  <a:lnTo>
                    <a:pt x="3913" y="2388"/>
                  </a:lnTo>
                  <a:lnTo>
                    <a:pt x="3922" y="2451"/>
                  </a:lnTo>
                  <a:lnTo>
                    <a:pt x="3889" y="2451"/>
                  </a:lnTo>
                  <a:lnTo>
                    <a:pt x="3889" y="2469"/>
                  </a:lnTo>
                  <a:lnTo>
                    <a:pt x="3904" y="2496"/>
                  </a:lnTo>
                  <a:lnTo>
                    <a:pt x="3889" y="2511"/>
                  </a:lnTo>
                  <a:lnTo>
                    <a:pt x="3907" y="2538"/>
                  </a:lnTo>
                  <a:lnTo>
                    <a:pt x="3883" y="2568"/>
                  </a:lnTo>
                  <a:lnTo>
                    <a:pt x="3871" y="2553"/>
                  </a:lnTo>
                  <a:lnTo>
                    <a:pt x="3835" y="2645"/>
                  </a:lnTo>
                  <a:lnTo>
                    <a:pt x="3829" y="2660"/>
                  </a:lnTo>
                  <a:lnTo>
                    <a:pt x="3796" y="2735"/>
                  </a:lnTo>
                  <a:lnTo>
                    <a:pt x="3778" y="2726"/>
                  </a:lnTo>
                  <a:lnTo>
                    <a:pt x="3763" y="2735"/>
                  </a:lnTo>
                  <a:lnTo>
                    <a:pt x="3763" y="2741"/>
                  </a:lnTo>
                  <a:lnTo>
                    <a:pt x="3781" y="2762"/>
                  </a:lnTo>
                  <a:lnTo>
                    <a:pt x="3775" y="2831"/>
                  </a:lnTo>
                  <a:lnTo>
                    <a:pt x="3781" y="2855"/>
                  </a:lnTo>
                  <a:lnTo>
                    <a:pt x="3775" y="2861"/>
                  </a:lnTo>
                  <a:lnTo>
                    <a:pt x="3754" y="2858"/>
                  </a:lnTo>
                  <a:lnTo>
                    <a:pt x="3742" y="2870"/>
                  </a:lnTo>
                  <a:lnTo>
                    <a:pt x="3751" y="2888"/>
                  </a:lnTo>
                  <a:lnTo>
                    <a:pt x="3724" y="2915"/>
                  </a:lnTo>
                  <a:lnTo>
                    <a:pt x="3730" y="2924"/>
                  </a:lnTo>
                  <a:lnTo>
                    <a:pt x="3706" y="2936"/>
                  </a:lnTo>
                  <a:lnTo>
                    <a:pt x="3709" y="2954"/>
                  </a:lnTo>
                  <a:lnTo>
                    <a:pt x="3700" y="2963"/>
                  </a:lnTo>
                  <a:lnTo>
                    <a:pt x="3667" y="2963"/>
                  </a:lnTo>
                  <a:lnTo>
                    <a:pt x="3649" y="2981"/>
                  </a:lnTo>
                  <a:lnTo>
                    <a:pt x="3646" y="2987"/>
                  </a:lnTo>
                  <a:lnTo>
                    <a:pt x="3661" y="2999"/>
                  </a:lnTo>
                  <a:lnTo>
                    <a:pt x="3643" y="3026"/>
                  </a:lnTo>
                  <a:lnTo>
                    <a:pt x="3619" y="3056"/>
                  </a:lnTo>
                  <a:lnTo>
                    <a:pt x="3610" y="3053"/>
                  </a:lnTo>
                  <a:lnTo>
                    <a:pt x="3586" y="3077"/>
                  </a:lnTo>
                  <a:lnTo>
                    <a:pt x="3568" y="3092"/>
                  </a:lnTo>
                  <a:lnTo>
                    <a:pt x="3553" y="3119"/>
                  </a:lnTo>
                  <a:lnTo>
                    <a:pt x="3538" y="3125"/>
                  </a:lnTo>
                  <a:lnTo>
                    <a:pt x="3526" y="3152"/>
                  </a:lnTo>
                  <a:lnTo>
                    <a:pt x="3478" y="3176"/>
                  </a:lnTo>
                  <a:lnTo>
                    <a:pt x="3460" y="3167"/>
                  </a:lnTo>
                  <a:lnTo>
                    <a:pt x="3451" y="3185"/>
                  </a:lnTo>
                  <a:lnTo>
                    <a:pt x="3451" y="3191"/>
                  </a:lnTo>
                  <a:lnTo>
                    <a:pt x="3436" y="3191"/>
                  </a:lnTo>
                  <a:lnTo>
                    <a:pt x="3412" y="3191"/>
                  </a:lnTo>
                  <a:lnTo>
                    <a:pt x="3388" y="3206"/>
                  </a:lnTo>
                  <a:lnTo>
                    <a:pt x="3373" y="3197"/>
                  </a:lnTo>
                  <a:lnTo>
                    <a:pt x="3352" y="3212"/>
                  </a:lnTo>
                  <a:lnTo>
                    <a:pt x="3302" y="3233"/>
                  </a:lnTo>
                  <a:lnTo>
                    <a:pt x="3263" y="3200"/>
                  </a:lnTo>
                  <a:lnTo>
                    <a:pt x="3260" y="3224"/>
                  </a:lnTo>
                  <a:lnTo>
                    <a:pt x="3275" y="3263"/>
                  </a:lnTo>
                  <a:lnTo>
                    <a:pt x="3236" y="3278"/>
                  </a:lnTo>
                  <a:lnTo>
                    <a:pt x="3218" y="3308"/>
                  </a:lnTo>
                  <a:lnTo>
                    <a:pt x="3179" y="3317"/>
                  </a:lnTo>
                  <a:lnTo>
                    <a:pt x="3158" y="3326"/>
                  </a:lnTo>
                  <a:lnTo>
                    <a:pt x="3116" y="3326"/>
                  </a:lnTo>
                  <a:lnTo>
                    <a:pt x="3089" y="3353"/>
                  </a:lnTo>
                  <a:lnTo>
                    <a:pt x="3017" y="3376"/>
                  </a:lnTo>
                  <a:lnTo>
                    <a:pt x="2981" y="3400"/>
                  </a:lnTo>
                  <a:lnTo>
                    <a:pt x="2963" y="3418"/>
                  </a:lnTo>
                  <a:lnTo>
                    <a:pt x="2996" y="3475"/>
                  </a:lnTo>
                  <a:lnTo>
                    <a:pt x="2972" y="3493"/>
                  </a:lnTo>
                  <a:lnTo>
                    <a:pt x="2945" y="3493"/>
                  </a:lnTo>
                  <a:lnTo>
                    <a:pt x="2915" y="3433"/>
                  </a:lnTo>
                  <a:lnTo>
                    <a:pt x="2921" y="3391"/>
                  </a:lnTo>
                  <a:lnTo>
                    <a:pt x="2921" y="3373"/>
                  </a:lnTo>
                  <a:lnTo>
                    <a:pt x="2861" y="3382"/>
                  </a:lnTo>
                  <a:lnTo>
                    <a:pt x="2831" y="3358"/>
                  </a:lnTo>
                  <a:lnTo>
                    <a:pt x="2798" y="3347"/>
                  </a:lnTo>
                  <a:lnTo>
                    <a:pt x="2765" y="3376"/>
                  </a:lnTo>
                  <a:lnTo>
                    <a:pt x="2732" y="3379"/>
                  </a:lnTo>
                  <a:lnTo>
                    <a:pt x="2699" y="3382"/>
                  </a:lnTo>
                  <a:lnTo>
                    <a:pt x="2627" y="3341"/>
                  </a:lnTo>
                  <a:lnTo>
                    <a:pt x="2615" y="3305"/>
                  </a:lnTo>
                  <a:lnTo>
                    <a:pt x="2633" y="3269"/>
                  </a:lnTo>
                  <a:lnTo>
                    <a:pt x="2612" y="3254"/>
                  </a:lnTo>
                  <a:lnTo>
                    <a:pt x="2585" y="3254"/>
                  </a:lnTo>
                  <a:lnTo>
                    <a:pt x="2577" y="3245"/>
                  </a:lnTo>
                  <a:lnTo>
                    <a:pt x="2550" y="3254"/>
                  </a:lnTo>
                  <a:lnTo>
                    <a:pt x="2520" y="3233"/>
                  </a:lnTo>
                  <a:lnTo>
                    <a:pt x="2505" y="3215"/>
                  </a:lnTo>
                  <a:lnTo>
                    <a:pt x="2475" y="3221"/>
                  </a:lnTo>
                  <a:lnTo>
                    <a:pt x="2454" y="3254"/>
                  </a:lnTo>
                  <a:lnTo>
                    <a:pt x="2430" y="3272"/>
                  </a:lnTo>
                  <a:lnTo>
                    <a:pt x="2403" y="3278"/>
                  </a:lnTo>
                  <a:lnTo>
                    <a:pt x="2394" y="3272"/>
                  </a:lnTo>
                  <a:lnTo>
                    <a:pt x="2376" y="3290"/>
                  </a:lnTo>
                  <a:lnTo>
                    <a:pt x="2370" y="3299"/>
                  </a:lnTo>
                  <a:lnTo>
                    <a:pt x="2361" y="3299"/>
                  </a:lnTo>
                  <a:lnTo>
                    <a:pt x="2340" y="3278"/>
                  </a:lnTo>
                  <a:lnTo>
                    <a:pt x="2316" y="3293"/>
                  </a:lnTo>
                  <a:lnTo>
                    <a:pt x="2304" y="3281"/>
                  </a:lnTo>
                  <a:lnTo>
                    <a:pt x="2283" y="3302"/>
                  </a:lnTo>
                  <a:lnTo>
                    <a:pt x="2229" y="3284"/>
                  </a:lnTo>
                  <a:lnTo>
                    <a:pt x="2208" y="3311"/>
                  </a:lnTo>
                  <a:lnTo>
                    <a:pt x="2199" y="3311"/>
                  </a:lnTo>
                  <a:lnTo>
                    <a:pt x="2160" y="3311"/>
                  </a:lnTo>
                  <a:lnTo>
                    <a:pt x="2148" y="3329"/>
                  </a:lnTo>
                  <a:lnTo>
                    <a:pt x="2163" y="3394"/>
                  </a:lnTo>
                  <a:lnTo>
                    <a:pt x="2163" y="3430"/>
                  </a:lnTo>
                  <a:lnTo>
                    <a:pt x="2157" y="3439"/>
                  </a:lnTo>
                  <a:lnTo>
                    <a:pt x="2145" y="3433"/>
                  </a:lnTo>
                  <a:lnTo>
                    <a:pt x="2121" y="3436"/>
                  </a:lnTo>
                  <a:lnTo>
                    <a:pt x="2109" y="3427"/>
                  </a:lnTo>
                  <a:lnTo>
                    <a:pt x="2103" y="3403"/>
                  </a:lnTo>
                  <a:lnTo>
                    <a:pt x="2103" y="3388"/>
                  </a:lnTo>
                  <a:lnTo>
                    <a:pt x="2088" y="3382"/>
                  </a:lnTo>
                  <a:lnTo>
                    <a:pt x="2043" y="3406"/>
                  </a:lnTo>
                  <a:lnTo>
                    <a:pt x="2007" y="3406"/>
                  </a:lnTo>
                  <a:lnTo>
                    <a:pt x="1983" y="3367"/>
                  </a:lnTo>
                  <a:lnTo>
                    <a:pt x="1986" y="3355"/>
                  </a:lnTo>
                  <a:lnTo>
                    <a:pt x="1947" y="3341"/>
                  </a:lnTo>
                  <a:lnTo>
                    <a:pt x="1926" y="3338"/>
                  </a:lnTo>
                  <a:lnTo>
                    <a:pt x="1917" y="3329"/>
                  </a:lnTo>
                  <a:lnTo>
                    <a:pt x="1929" y="3296"/>
                  </a:lnTo>
                  <a:lnTo>
                    <a:pt x="1932" y="3269"/>
                  </a:lnTo>
                  <a:lnTo>
                    <a:pt x="1950" y="3245"/>
                  </a:lnTo>
                  <a:lnTo>
                    <a:pt x="1935" y="3233"/>
                  </a:lnTo>
                  <a:lnTo>
                    <a:pt x="1899" y="3233"/>
                  </a:lnTo>
                  <a:lnTo>
                    <a:pt x="1890" y="3221"/>
                  </a:lnTo>
                  <a:lnTo>
                    <a:pt x="1887" y="3185"/>
                  </a:lnTo>
                  <a:lnTo>
                    <a:pt x="1875" y="3164"/>
                  </a:lnTo>
                  <a:lnTo>
                    <a:pt x="1884" y="3140"/>
                  </a:lnTo>
                  <a:lnTo>
                    <a:pt x="1822" y="3143"/>
                  </a:lnTo>
                  <a:lnTo>
                    <a:pt x="1780" y="3155"/>
                  </a:lnTo>
                  <a:lnTo>
                    <a:pt x="1771" y="3149"/>
                  </a:lnTo>
                  <a:lnTo>
                    <a:pt x="1783" y="3122"/>
                  </a:lnTo>
                  <a:lnTo>
                    <a:pt x="1771" y="3086"/>
                  </a:lnTo>
                  <a:lnTo>
                    <a:pt x="1771" y="3071"/>
                  </a:lnTo>
                  <a:lnTo>
                    <a:pt x="1789" y="3056"/>
                  </a:lnTo>
                  <a:lnTo>
                    <a:pt x="1792" y="3026"/>
                  </a:lnTo>
                  <a:lnTo>
                    <a:pt x="1878" y="2951"/>
                  </a:lnTo>
                  <a:lnTo>
                    <a:pt x="1884" y="2825"/>
                  </a:lnTo>
                  <a:lnTo>
                    <a:pt x="1881" y="2789"/>
                  </a:lnTo>
                  <a:lnTo>
                    <a:pt x="1866" y="2780"/>
                  </a:lnTo>
                  <a:lnTo>
                    <a:pt x="1851" y="2780"/>
                  </a:lnTo>
                  <a:lnTo>
                    <a:pt x="1837" y="2720"/>
                  </a:lnTo>
                  <a:lnTo>
                    <a:pt x="1795" y="2687"/>
                  </a:lnTo>
                  <a:lnTo>
                    <a:pt x="1765" y="2711"/>
                  </a:lnTo>
                  <a:lnTo>
                    <a:pt x="1699" y="2693"/>
                  </a:lnTo>
                  <a:lnTo>
                    <a:pt x="1687" y="2693"/>
                  </a:lnTo>
                  <a:lnTo>
                    <a:pt x="1678" y="2687"/>
                  </a:lnTo>
                  <a:lnTo>
                    <a:pt x="1702" y="2645"/>
                  </a:lnTo>
                  <a:lnTo>
                    <a:pt x="1699" y="2633"/>
                  </a:lnTo>
                  <a:lnTo>
                    <a:pt x="1672" y="2633"/>
                  </a:lnTo>
                  <a:lnTo>
                    <a:pt x="1666" y="2627"/>
                  </a:lnTo>
                  <a:lnTo>
                    <a:pt x="1684" y="2601"/>
                  </a:lnTo>
                  <a:lnTo>
                    <a:pt x="1663" y="2586"/>
                  </a:lnTo>
                  <a:lnTo>
                    <a:pt x="1597" y="2621"/>
                  </a:lnTo>
                  <a:lnTo>
                    <a:pt x="1552" y="2606"/>
                  </a:lnTo>
                  <a:lnTo>
                    <a:pt x="1546" y="2595"/>
                  </a:lnTo>
                  <a:lnTo>
                    <a:pt x="1483" y="2627"/>
                  </a:lnTo>
                  <a:lnTo>
                    <a:pt x="1453" y="2648"/>
                  </a:lnTo>
                  <a:lnTo>
                    <a:pt x="1417" y="2651"/>
                  </a:lnTo>
                  <a:lnTo>
                    <a:pt x="1378" y="2684"/>
                  </a:lnTo>
                  <a:lnTo>
                    <a:pt x="1363" y="2693"/>
                  </a:lnTo>
                  <a:lnTo>
                    <a:pt x="1357" y="2708"/>
                  </a:lnTo>
                  <a:lnTo>
                    <a:pt x="1276" y="2723"/>
                  </a:lnTo>
                  <a:lnTo>
                    <a:pt x="1267" y="2717"/>
                  </a:lnTo>
                  <a:lnTo>
                    <a:pt x="1249" y="2693"/>
                  </a:lnTo>
                  <a:lnTo>
                    <a:pt x="1195" y="2687"/>
                  </a:lnTo>
                  <a:lnTo>
                    <a:pt x="1153" y="2663"/>
                  </a:lnTo>
                  <a:lnTo>
                    <a:pt x="1114" y="2654"/>
                  </a:lnTo>
                  <a:lnTo>
                    <a:pt x="1058" y="2696"/>
                  </a:lnTo>
                  <a:lnTo>
                    <a:pt x="1010" y="2735"/>
                  </a:lnTo>
                  <a:lnTo>
                    <a:pt x="1001" y="2720"/>
                  </a:lnTo>
                  <a:lnTo>
                    <a:pt x="1010" y="2681"/>
                  </a:lnTo>
                  <a:lnTo>
                    <a:pt x="998" y="2663"/>
                  </a:lnTo>
                  <a:lnTo>
                    <a:pt x="956" y="2666"/>
                  </a:lnTo>
                  <a:lnTo>
                    <a:pt x="872" y="2669"/>
                  </a:lnTo>
                  <a:lnTo>
                    <a:pt x="836" y="2642"/>
                  </a:lnTo>
                  <a:lnTo>
                    <a:pt x="812" y="2642"/>
                  </a:lnTo>
                  <a:lnTo>
                    <a:pt x="767" y="2642"/>
                  </a:lnTo>
                  <a:lnTo>
                    <a:pt x="758" y="2636"/>
                  </a:lnTo>
                  <a:lnTo>
                    <a:pt x="755" y="2615"/>
                  </a:lnTo>
                  <a:lnTo>
                    <a:pt x="704" y="2586"/>
                  </a:lnTo>
                  <a:lnTo>
                    <a:pt x="692" y="2553"/>
                  </a:lnTo>
                  <a:lnTo>
                    <a:pt x="680" y="2556"/>
                  </a:lnTo>
                  <a:lnTo>
                    <a:pt x="617" y="2520"/>
                  </a:lnTo>
                  <a:lnTo>
                    <a:pt x="617" y="2481"/>
                  </a:lnTo>
                  <a:lnTo>
                    <a:pt x="608" y="2469"/>
                  </a:lnTo>
                  <a:lnTo>
                    <a:pt x="593" y="2484"/>
                  </a:lnTo>
                  <a:lnTo>
                    <a:pt x="572" y="2484"/>
                  </a:lnTo>
                  <a:lnTo>
                    <a:pt x="551" y="2436"/>
                  </a:lnTo>
                  <a:lnTo>
                    <a:pt x="449" y="2349"/>
                  </a:lnTo>
                  <a:lnTo>
                    <a:pt x="422" y="2325"/>
                  </a:lnTo>
                  <a:lnTo>
                    <a:pt x="395" y="2352"/>
                  </a:lnTo>
                  <a:lnTo>
                    <a:pt x="380" y="2349"/>
                  </a:lnTo>
                  <a:lnTo>
                    <a:pt x="365" y="2331"/>
                  </a:lnTo>
                  <a:lnTo>
                    <a:pt x="321" y="2280"/>
                  </a:lnTo>
                  <a:lnTo>
                    <a:pt x="321" y="2265"/>
                  </a:lnTo>
                  <a:lnTo>
                    <a:pt x="261" y="2217"/>
                  </a:lnTo>
                  <a:lnTo>
                    <a:pt x="246" y="2193"/>
                  </a:lnTo>
                  <a:lnTo>
                    <a:pt x="219" y="2190"/>
                  </a:lnTo>
                  <a:lnTo>
                    <a:pt x="216" y="2175"/>
                  </a:lnTo>
                  <a:lnTo>
                    <a:pt x="222" y="2154"/>
                  </a:lnTo>
                  <a:lnTo>
                    <a:pt x="222" y="2127"/>
                  </a:lnTo>
                  <a:lnTo>
                    <a:pt x="219" y="2106"/>
                  </a:lnTo>
                  <a:lnTo>
                    <a:pt x="207" y="2079"/>
                  </a:lnTo>
                  <a:lnTo>
                    <a:pt x="213" y="2061"/>
                  </a:lnTo>
                  <a:lnTo>
                    <a:pt x="234" y="2058"/>
                  </a:lnTo>
                  <a:lnTo>
                    <a:pt x="255" y="2079"/>
                  </a:lnTo>
                  <a:lnTo>
                    <a:pt x="294" y="2076"/>
                  </a:lnTo>
                  <a:lnTo>
                    <a:pt x="303" y="2061"/>
                  </a:lnTo>
                  <a:lnTo>
                    <a:pt x="300" y="2022"/>
                  </a:lnTo>
                  <a:lnTo>
                    <a:pt x="273" y="1995"/>
                  </a:lnTo>
                  <a:lnTo>
                    <a:pt x="276" y="1968"/>
                  </a:lnTo>
                  <a:lnTo>
                    <a:pt x="285" y="1968"/>
                  </a:lnTo>
                  <a:lnTo>
                    <a:pt x="291" y="1944"/>
                  </a:lnTo>
                  <a:lnTo>
                    <a:pt x="300" y="1926"/>
                  </a:lnTo>
                  <a:lnTo>
                    <a:pt x="321" y="1926"/>
                  </a:lnTo>
                  <a:lnTo>
                    <a:pt x="342" y="1920"/>
                  </a:lnTo>
                  <a:lnTo>
                    <a:pt x="348" y="1896"/>
                  </a:lnTo>
                  <a:lnTo>
                    <a:pt x="377" y="1878"/>
                  </a:lnTo>
                  <a:lnTo>
                    <a:pt x="392" y="1837"/>
                  </a:lnTo>
                  <a:lnTo>
                    <a:pt x="431" y="1810"/>
                  </a:lnTo>
                  <a:lnTo>
                    <a:pt x="422" y="1801"/>
                  </a:lnTo>
                  <a:lnTo>
                    <a:pt x="401" y="1801"/>
                  </a:lnTo>
                  <a:lnTo>
                    <a:pt x="365" y="1747"/>
                  </a:lnTo>
                  <a:lnTo>
                    <a:pt x="333" y="1738"/>
                  </a:lnTo>
                  <a:lnTo>
                    <a:pt x="246" y="1765"/>
                  </a:lnTo>
                  <a:lnTo>
                    <a:pt x="210" y="1756"/>
                  </a:lnTo>
                  <a:lnTo>
                    <a:pt x="135" y="1702"/>
                  </a:lnTo>
                  <a:lnTo>
                    <a:pt x="114" y="1699"/>
                  </a:lnTo>
                  <a:lnTo>
                    <a:pt x="99" y="1663"/>
                  </a:lnTo>
                  <a:lnTo>
                    <a:pt x="111" y="1627"/>
                  </a:lnTo>
                  <a:lnTo>
                    <a:pt x="105" y="1609"/>
                  </a:lnTo>
                  <a:lnTo>
                    <a:pt x="78" y="1591"/>
                  </a:lnTo>
                  <a:lnTo>
                    <a:pt x="69" y="1573"/>
                  </a:lnTo>
                  <a:lnTo>
                    <a:pt x="12" y="1540"/>
                  </a:lnTo>
                  <a:lnTo>
                    <a:pt x="12" y="1531"/>
                  </a:lnTo>
                  <a:lnTo>
                    <a:pt x="39" y="1519"/>
                  </a:lnTo>
                  <a:lnTo>
                    <a:pt x="57" y="1528"/>
                  </a:lnTo>
                  <a:lnTo>
                    <a:pt x="72" y="1513"/>
                  </a:lnTo>
                  <a:lnTo>
                    <a:pt x="66" y="1459"/>
                  </a:lnTo>
                  <a:lnTo>
                    <a:pt x="72" y="1414"/>
                  </a:lnTo>
                  <a:lnTo>
                    <a:pt x="36" y="1375"/>
                  </a:lnTo>
                  <a:lnTo>
                    <a:pt x="9" y="1384"/>
                  </a:lnTo>
                  <a:lnTo>
                    <a:pt x="0" y="1357"/>
                  </a:lnTo>
                  <a:lnTo>
                    <a:pt x="15" y="1330"/>
                  </a:lnTo>
                  <a:lnTo>
                    <a:pt x="6" y="1303"/>
                  </a:lnTo>
                  <a:lnTo>
                    <a:pt x="30" y="1282"/>
                  </a:lnTo>
                  <a:lnTo>
                    <a:pt x="42" y="1273"/>
                  </a:lnTo>
                  <a:lnTo>
                    <a:pt x="42" y="1252"/>
                  </a:lnTo>
                  <a:lnTo>
                    <a:pt x="75" y="1234"/>
                  </a:lnTo>
                  <a:lnTo>
                    <a:pt x="111" y="1228"/>
                  </a:lnTo>
                  <a:lnTo>
                    <a:pt x="141" y="1216"/>
                  </a:lnTo>
                  <a:lnTo>
                    <a:pt x="165" y="1225"/>
                  </a:lnTo>
                  <a:lnTo>
                    <a:pt x="183" y="1216"/>
                  </a:lnTo>
                  <a:lnTo>
                    <a:pt x="189" y="1222"/>
                  </a:lnTo>
                  <a:lnTo>
                    <a:pt x="192" y="1243"/>
                  </a:lnTo>
                  <a:lnTo>
                    <a:pt x="207" y="1252"/>
                  </a:lnTo>
                  <a:lnTo>
                    <a:pt x="246" y="1249"/>
                  </a:lnTo>
                  <a:lnTo>
                    <a:pt x="291" y="1201"/>
                  </a:lnTo>
                  <a:lnTo>
                    <a:pt x="377" y="1219"/>
                  </a:lnTo>
                  <a:lnTo>
                    <a:pt x="422" y="1189"/>
                  </a:lnTo>
                  <a:lnTo>
                    <a:pt x="554" y="1159"/>
                  </a:lnTo>
                  <a:lnTo>
                    <a:pt x="563" y="1141"/>
                  </a:lnTo>
                  <a:lnTo>
                    <a:pt x="575" y="1091"/>
                  </a:lnTo>
                  <a:lnTo>
                    <a:pt x="611" y="1061"/>
                  </a:lnTo>
                  <a:lnTo>
                    <a:pt x="623" y="1061"/>
                  </a:lnTo>
                  <a:lnTo>
                    <a:pt x="623" y="1046"/>
                  </a:lnTo>
                  <a:lnTo>
                    <a:pt x="626" y="920"/>
                  </a:lnTo>
                  <a:lnTo>
                    <a:pt x="632" y="896"/>
                  </a:lnTo>
                  <a:lnTo>
                    <a:pt x="596" y="881"/>
                  </a:lnTo>
                  <a:lnTo>
                    <a:pt x="593" y="872"/>
                  </a:lnTo>
                  <a:lnTo>
                    <a:pt x="632" y="860"/>
                  </a:lnTo>
                  <a:lnTo>
                    <a:pt x="731" y="851"/>
                  </a:lnTo>
                  <a:lnTo>
                    <a:pt x="746" y="872"/>
                  </a:lnTo>
                  <a:lnTo>
                    <a:pt x="779" y="881"/>
                  </a:lnTo>
                  <a:lnTo>
                    <a:pt x="788" y="881"/>
                  </a:lnTo>
                  <a:lnTo>
                    <a:pt x="803" y="863"/>
                  </a:lnTo>
                  <a:lnTo>
                    <a:pt x="785" y="845"/>
                  </a:lnTo>
                  <a:lnTo>
                    <a:pt x="857" y="698"/>
                  </a:lnTo>
                  <a:lnTo>
                    <a:pt x="869" y="689"/>
                  </a:lnTo>
                  <a:lnTo>
                    <a:pt x="935" y="722"/>
                  </a:lnTo>
                  <a:lnTo>
                    <a:pt x="965" y="722"/>
                  </a:lnTo>
                  <a:lnTo>
                    <a:pt x="977" y="740"/>
                  </a:lnTo>
                  <a:lnTo>
                    <a:pt x="1040" y="722"/>
                  </a:lnTo>
                  <a:lnTo>
                    <a:pt x="1058" y="614"/>
                  </a:lnTo>
                  <a:lnTo>
                    <a:pt x="1085" y="596"/>
                  </a:lnTo>
                  <a:lnTo>
                    <a:pt x="1117" y="596"/>
                  </a:lnTo>
                  <a:lnTo>
                    <a:pt x="1138" y="569"/>
                  </a:lnTo>
                  <a:lnTo>
                    <a:pt x="1147" y="542"/>
                  </a:lnTo>
                  <a:lnTo>
                    <a:pt x="1165" y="530"/>
                  </a:lnTo>
                  <a:lnTo>
                    <a:pt x="1207" y="542"/>
                  </a:lnTo>
                  <a:lnTo>
                    <a:pt x="1225" y="542"/>
                  </a:lnTo>
                  <a:lnTo>
                    <a:pt x="1213" y="578"/>
                  </a:lnTo>
                  <a:lnTo>
                    <a:pt x="1228" y="596"/>
                  </a:lnTo>
                  <a:lnTo>
                    <a:pt x="1231" y="608"/>
                  </a:lnTo>
                  <a:lnTo>
                    <a:pt x="1267" y="644"/>
                  </a:lnTo>
                  <a:lnTo>
                    <a:pt x="1276" y="671"/>
                  </a:lnTo>
                  <a:lnTo>
                    <a:pt x="1324" y="674"/>
                  </a:lnTo>
                  <a:lnTo>
                    <a:pt x="1345" y="692"/>
                  </a:lnTo>
                  <a:lnTo>
                    <a:pt x="1357" y="692"/>
                  </a:lnTo>
                  <a:lnTo>
                    <a:pt x="1384" y="752"/>
                  </a:lnTo>
                  <a:lnTo>
                    <a:pt x="1411" y="824"/>
                  </a:lnTo>
                  <a:lnTo>
                    <a:pt x="1396" y="866"/>
                  </a:lnTo>
                  <a:lnTo>
                    <a:pt x="1399" y="881"/>
                  </a:lnTo>
                  <a:lnTo>
                    <a:pt x="1375" y="926"/>
                  </a:lnTo>
                  <a:lnTo>
                    <a:pt x="1381" y="959"/>
                  </a:lnTo>
                  <a:lnTo>
                    <a:pt x="1471" y="998"/>
                  </a:lnTo>
                  <a:lnTo>
                    <a:pt x="1567" y="1010"/>
                  </a:lnTo>
                  <a:lnTo>
                    <a:pt x="1666" y="1079"/>
                  </a:lnTo>
                  <a:lnTo>
                    <a:pt x="1696" y="1091"/>
                  </a:lnTo>
                  <a:lnTo>
                    <a:pt x="1699" y="1109"/>
                  </a:lnTo>
                  <a:lnTo>
                    <a:pt x="1720" y="1153"/>
                  </a:lnTo>
                  <a:lnTo>
                    <a:pt x="1741" y="1207"/>
                  </a:lnTo>
                  <a:lnTo>
                    <a:pt x="1768" y="1255"/>
                  </a:lnTo>
                </a:path>
              </a:pathLst>
            </a:custGeom>
            <a:solidFill>
              <a:srgbClr val="CCECFF"/>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3" name="Freeform 37"/>
            <p:cNvSpPr>
              <a:spLocks/>
            </p:cNvSpPr>
            <p:nvPr/>
          </p:nvSpPr>
          <p:spPr bwMode="auto">
            <a:xfrm>
              <a:off x="924174" y="3595712"/>
              <a:ext cx="77787" cy="95250"/>
            </a:xfrm>
            <a:custGeom>
              <a:avLst/>
              <a:gdLst>
                <a:gd name="T0" fmla="*/ 0 w 54"/>
                <a:gd name="T1" fmla="*/ 22 h 68"/>
                <a:gd name="T2" fmla="*/ 6 w 54"/>
                <a:gd name="T3" fmla="*/ 10 h 68"/>
                <a:gd name="T4" fmla="*/ 25 w 54"/>
                <a:gd name="T5" fmla="*/ 0 h 68"/>
                <a:gd name="T6" fmla="*/ 0 60000 65536"/>
                <a:gd name="T7" fmla="*/ 0 60000 65536"/>
                <a:gd name="T8" fmla="*/ 0 60000 65536"/>
              </a:gdLst>
              <a:ahLst/>
              <a:cxnLst>
                <a:cxn ang="T6">
                  <a:pos x="T0" y="T1"/>
                </a:cxn>
                <a:cxn ang="T7">
                  <a:pos x="T2" y="T3"/>
                </a:cxn>
                <a:cxn ang="T8">
                  <a:pos x="T4" y="T5"/>
                </a:cxn>
              </a:cxnLst>
              <a:rect l="0" t="0" r="r" b="b"/>
              <a:pathLst>
                <a:path w="54" h="68">
                  <a:moveTo>
                    <a:pt x="0" y="68"/>
                  </a:moveTo>
                  <a:lnTo>
                    <a:pt x="15" y="27"/>
                  </a:lnTo>
                  <a:lnTo>
                    <a:pt x="54" y="0"/>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4" name="Freeform 38"/>
            <p:cNvSpPr>
              <a:spLocks/>
            </p:cNvSpPr>
            <p:nvPr/>
          </p:nvSpPr>
          <p:spPr bwMode="auto">
            <a:xfrm>
              <a:off x="4486524" y="5154637"/>
              <a:ext cx="941387" cy="777875"/>
            </a:xfrm>
            <a:custGeom>
              <a:avLst/>
              <a:gdLst>
                <a:gd name="T0" fmla="*/ 81 w 671"/>
                <a:gd name="T1" fmla="*/ 27 h 560"/>
                <a:gd name="T2" fmla="*/ 85 w 671"/>
                <a:gd name="T3" fmla="*/ 15 h 560"/>
                <a:gd name="T4" fmla="*/ 110 w 671"/>
                <a:gd name="T5" fmla="*/ 21 h 560"/>
                <a:gd name="T6" fmla="*/ 109 w 671"/>
                <a:gd name="T7" fmla="*/ 12 h 560"/>
                <a:gd name="T8" fmla="*/ 120 w 671"/>
                <a:gd name="T9" fmla="*/ 4 h 560"/>
                <a:gd name="T10" fmla="*/ 148 w 671"/>
                <a:gd name="T11" fmla="*/ 0 h 560"/>
                <a:gd name="T12" fmla="*/ 174 w 671"/>
                <a:gd name="T13" fmla="*/ 4 h 560"/>
                <a:gd name="T14" fmla="*/ 171 w 671"/>
                <a:gd name="T15" fmla="*/ 13 h 560"/>
                <a:gd name="T16" fmla="*/ 163 w 671"/>
                <a:gd name="T17" fmla="*/ 27 h 560"/>
                <a:gd name="T18" fmla="*/ 204 w 671"/>
                <a:gd name="T19" fmla="*/ 19 h 560"/>
                <a:gd name="T20" fmla="*/ 221 w 671"/>
                <a:gd name="T21" fmla="*/ 21 h 560"/>
                <a:gd name="T22" fmla="*/ 220 w 671"/>
                <a:gd name="T23" fmla="*/ 11 h 560"/>
                <a:gd name="T24" fmla="*/ 248 w 671"/>
                <a:gd name="T25" fmla="*/ 17 h 560"/>
                <a:gd name="T26" fmla="*/ 265 w 671"/>
                <a:gd name="T27" fmla="*/ 27 h 560"/>
                <a:gd name="T28" fmla="*/ 268 w 671"/>
                <a:gd name="T29" fmla="*/ 51 h 560"/>
                <a:gd name="T30" fmla="*/ 257 w 671"/>
                <a:gd name="T31" fmla="*/ 64 h 560"/>
                <a:gd name="T32" fmla="*/ 232 w 671"/>
                <a:gd name="T33" fmla="*/ 80 h 560"/>
                <a:gd name="T34" fmla="*/ 221 w 671"/>
                <a:gd name="T35" fmla="*/ 82 h 560"/>
                <a:gd name="T36" fmla="*/ 214 w 671"/>
                <a:gd name="T37" fmla="*/ 85 h 560"/>
                <a:gd name="T38" fmla="*/ 194 w 671"/>
                <a:gd name="T39" fmla="*/ 89 h 560"/>
                <a:gd name="T40" fmla="*/ 180 w 671"/>
                <a:gd name="T41" fmla="*/ 92 h 560"/>
                <a:gd name="T42" fmla="*/ 143 w 671"/>
                <a:gd name="T43" fmla="*/ 88 h 560"/>
                <a:gd name="T44" fmla="*/ 148 w 671"/>
                <a:gd name="T45" fmla="*/ 108 h 560"/>
                <a:gd name="T46" fmla="*/ 124 w 671"/>
                <a:gd name="T47" fmla="*/ 123 h 560"/>
                <a:gd name="T48" fmla="*/ 101 w 671"/>
                <a:gd name="T49" fmla="*/ 129 h 560"/>
                <a:gd name="T50" fmla="*/ 71 w 671"/>
                <a:gd name="T51" fmla="*/ 139 h 560"/>
                <a:gd name="T52" fmla="*/ 27 w 671"/>
                <a:gd name="T53" fmla="*/ 154 h 560"/>
                <a:gd name="T54" fmla="*/ 34 w 671"/>
                <a:gd name="T55" fmla="*/ 178 h 560"/>
                <a:gd name="T56" fmla="*/ 13 w 671"/>
                <a:gd name="T57" fmla="*/ 184 h 560"/>
                <a:gd name="T58" fmla="*/ 5 w 671"/>
                <a:gd name="T59" fmla="*/ 149 h 560"/>
                <a:gd name="T60" fmla="*/ 13 w 671"/>
                <a:gd name="T61" fmla="*/ 133 h 560"/>
                <a:gd name="T62" fmla="*/ 24 w 671"/>
                <a:gd name="T63" fmla="*/ 125 h 560"/>
                <a:gd name="T64" fmla="*/ 37 w 671"/>
                <a:gd name="T65" fmla="*/ 106 h 560"/>
                <a:gd name="T66" fmla="*/ 59 w 671"/>
                <a:gd name="T67" fmla="*/ 76 h 560"/>
                <a:gd name="T68" fmla="*/ 74 w 671"/>
                <a:gd name="T69" fmla="*/ 53 h 560"/>
                <a:gd name="T70" fmla="*/ 74 w 671"/>
                <a:gd name="T71" fmla="*/ 31 h 5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71" h="560">
                  <a:moveTo>
                    <a:pt x="180" y="96"/>
                  </a:moveTo>
                  <a:lnTo>
                    <a:pt x="198" y="84"/>
                  </a:lnTo>
                  <a:lnTo>
                    <a:pt x="198" y="54"/>
                  </a:lnTo>
                  <a:lnTo>
                    <a:pt x="207" y="48"/>
                  </a:lnTo>
                  <a:lnTo>
                    <a:pt x="228" y="48"/>
                  </a:lnTo>
                  <a:lnTo>
                    <a:pt x="267" y="66"/>
                  </a:lnTo>
                  <a:lnTo>
                    <a:pt x="273" y="54"/>
                  </a:lnTo>
                  <a:lnTo>
                    <a:pt x="264" y="36"/>
                  </a:lnTo>
                  <a:lnTo>
                    <a:pt x="267" y="27"/>
                  </a:lnTo>
                  <a:lnTo>
                    <a:pt x="291" y="6"/>
                  </a:lnTo>
                  <a:lnTo>
                    <a:pt x="336" y="18"/>
                  </a:lnTo>
                  <a:lnTo>
                    <a:pt x="360" y="0"/>
                  </a:lnTo>
                  <a:lnTo>
                    <a:pt x="378" y="18"/>
                  </a:lnTo>
                  <a:lnTo>
                    <a:pt x="422" y="9"/>
                  </a:lnTo>
                  <a:lnTo>
                    <a:pt x="431" y="24"/>
                  </a:lnTo>
                  <a:lnTo>
                    <a:pt x="416" y="42"/>
                  </a:lnTo>
                  <a:lnTo>
                    <a:pt x="396" y="75"/>
                  </a:lnTo>
                  <a:lnTo>
                    <a:pt x="396" y="84"/>
                  </a:lnTo>
                  <a:lnTo>
                    <a:pt x="408" y="93"/>
                  </a:lnTo>
                  <a:lnTo>
                    <a:pt x="497" y="57"/>
                  </a:lnTo>
                  <a:lnTo>
                    <a:pt x="530" y="75"/>
                  </a:lnTo>
                  <a:lnTo>
                    <a:pt x="539" y="66"/>
                  </a:lnTo>
                  <a:lnTo>
                    <a:pt x="530" y="48"/>
                  </a:lnTo>
                  <a:lnTo>
                    <a:pt x="533" y="33"/>
                  </a:lnTo>
                  <a:lnTo>
                    <a:pt x="593" y="48"/>
                  </a:lnTo>
                  <a:lnTo>
                    <a:pt x="602" y="54"/>
                  </a:lnTo>
                  <a:lnTo>
                    <a:pt x="620" y="54"/>
                  </a:lnTo>
                  <a:lnTo>
                    <a:pt x="644" y="84"/>
                  </a:lnTo>
                  <a:lnTo>
                    <a:pt x="671" y="144"/>
                  </a:lnTo>
                  <a:lnTo>
                    <a:pt x="653" y="159"/>
                  </a:lnTo>
                  <a:lnTo>
                    <a:pt x="638" y="186"/>
                  </a:lnTo>
                  <a:lnTo>
                    <a:pt x="623" y="192"/>
                  </a:lnTo>
                  <a:lnTo>
                    <a:pt x="611" y="219"/>
                  </a:lnTo>
                  <a:lnTo>
                    <a:pt x="563" y="243"/>
                  </a:lnTo>
                  <a:lnTo>
                    <a:pt x="545" y="234"/>
                  </a:lnTo>
                  <a:lnTo>
                    <a:pt x="536" y="252"/>
                  </a:lnTo>
                  <a:lnTo>
                    <a:pt x="536" y="258"/>
                  </a:lnTo>
                  <a:lnTo>
                    <a:pt x="521" y="258"/>
                  </a:lnTo>
                  <a:lnTo>
                    <a:pt x="497" y="258"/>
                  </a:lnTo>
                  <a:lnTo>
                    <a:pt x="473" y="273"/>
                  </a:lnTo>
                  <a:lnTo>
                    <a:pt x="458" y="264"/>
                  </a:lnTo>
                  <a:lnTo>
                    <a:pt x="437" y="279"/>
                  </a:lnTo>
                  <a:lnTo>
                    <a:pt x="387" y="300"/>
                  </a:lnTo>
                  <a:lnTo>
                    <a:pt x="348" y="267"/>
                  </a:lnTo>
                  <a:lnTo>
                    <a:pt x="345" y="291"/>
                  </a:lnTo>
                  <a:lnTo>
                    <a:pt x="360" y="330"/>
                  </a:lnTo>
                  <a:lnTo>
                    <a:pt x="321" y="345"/>
                  </a:lnTo>
                  <a:lnTo>
                    <a:pt x="303" y="375"/>
                  </a:lnTo>
                  <a:lnTo>
                    <a:pt x="264" y="384"/>
                  </a:lnTo>
                  <a:lnTo>
                    <a:pt x="243" y="393"/>
                  </a:lnTo>
                  <a:lnTo>
                    <a:pt x="201" y="393"/>
                  </a:lnTo>
                  <a:lnTo>
                    <a:pt x="174" y="420"/>
                  </a:lnTo>
                  <a:lnTo>
                    <a:pt x="102" y="443"/>
                  </a:lnTo>
                  <a:lnTo>
                    <a:pt x="66" y="467"/>
                  </a:lnTo>
                  <a:lnTo>
                    <a:pt x="48" y="485"/>
                  </a:lnTo>
                  <a:lnTo>
                    <a:pt x="81" y="542"/>
                  </a:lnTo>
                  <a:lnTo>
                    <a:pt x="57" y="560"/>
                  </a:lnTo>
                  <a:lnTo>
                    <a:pt x="30" y="560"/>
                  </a:lnTo>
                  <a:lnTo>
                    <a:pt x="0" y="500"/>
                  </a:lnTo>
                  <a:lnTo>
                    <a:pt x="6" y="458"/>
                  </a:lnTo>
                  <a:lnTo>
                    <a:pt x="6" y="440"/>
                  </a:lnTo>
                  <a:lnTo>
                    <a:pt x="30" y="402"/>
                  </a:lnTo>
                  <a:lnTo>
                    <a:pt x="57" y="396"/>
                  </a:lnTo>
                  <a:lnTo>
                    <a:pt x="57" y="378"/>
                  </a:lnTo>
                  <a:lnTo>
                    <a:pt x="87" y="363"/>
                  </a:lnTo>
                  <a:lnTo>
                    <a:pt x="90" y="327"/>
                  </a:lnTo>
                  <a:lnTo>
                    <a:pt x="144" y="288"/>
                  </a:lnTo>
                  <a:lnTo>
                    <a:pt x="141" y="234"/>
                  </a:lnTo>
                  <a:lnTo>
                    <a:pt x="180" y="180"/>
                  </a:lnTo>
                  <a:lnTo>
                    <a:pt x="180" y="162"/>
                  </a:lnTo>
                  <a:lnTo>
                    <a:pt x="192" y="141"/>
                  </a:lnTo>
                  <a:lnTo>
                    <a:pt x="180" y="96"/>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5" name="Freeform 39"/>
            <p:cNvSpPr>
              <a:spLocks/>
            </p:cNvSpPr>
            <p:nvPr/>
          </p:nvSpPr>
          <p:spPr bwMode="auto">
            <a:xfrm>
              <a:off x="3780086" y="5080025"/>
              <a:ext cx="976313" cy="698500"/>
            </a:xfrm>
            <a:custGeom>
              <a:avLst/>
              <a:gdLst>
                <a:gd name="T0" fmla="*/ 13 w 695"/>
                <a:gd name="T1" fmla="*/ 64 h 503"/>
                <a:gd name="T2" fmla="*/ 32 w 695"/>
                <a:gd name="T3" fmla="*/ 57 h 503"/>
                <a:gd name="T4" fmla="*/ 60 w 695"/>
                <a:gd name="T5" fmla="*/ 64 h 503"/>
                <a:gd name="T6" fmla="*/ 66 w 695"/>
                <a:gd name="T7" fmla="*/ 51 h 503"/>
                <a:gd name="T8" fmla="*/ 109 w 695"/>
                <a:gd name="T9" fmla="*/ 39 h 503"/>
                <a:gd name="T10" fmla="*/ 142 w 695"/>
                <a:gd name="T11" fmla="*/ 33 h 503"/>
                <a:gd name="T12" fmla="*/ 156 w 695"/>
                <a:gd name="T13" fmla="*/ 36 h 503"/>
                <a:gd name="T14" fmla="*/ 167 w 695"/>
                <a:gd name="T15" fmla="*/ 29 h 503"/>
                <a:gd name="T16" fmla="*/ 172 w 695"/>
                <a:gd name="T17" fmla="*/ 21 h 503"/>
                <a:gd name="T18" fmla="*/ 186 w 695"/>
                <a:gd name="T19" fmla="*/ 13 h 503"/>
                <a:gd name="T20" fmla="*/ 204 w 695"/>
                <a:gd name="T21" fmla="*/ 6 h 503"/>
                <a:gd name="T22" fmla="*/ 212 w 695"/>
                <a:gd name="T23" fmla="*/ 13 h 503"/>
                <a:gd name="T24" fmla="*/ 231 w 695"/>
                <a:gd name="T25" fmla="*/ 4 h 503"/>
                <a:gd name="T26" fmla="*/ 251 w 695"/>
                <a:gd name="T27" fmla="*/ 4 h 503"/>
                <a:gd name="T28" fmla="*/ 260 w 695"/>
                <a:gd name="T29" fmla="*/ 15 h 503"/>
                <a:gd name="T30" fmla="*/ 248 w 695"/>
                <a:gd name="T31" fmla="*/ 36 h 503"/>
                <a:gd name="T32" fmla="*/ 248 w 695"/>
                <a:gd name="T33" fmla="*/ 46 h 503"/>
                <a:gd name="T34" fmla="*/ 266 w 695"/>
                <a:gd name="T35" fmla="*/ 53 h 503"/>
                <a:gd name="T36" fmla="*/ 281 w 695"/>
                <a:gd name="T37" fmla="*/ 49 h 503"/>
                <a:gd name="T38" fmla="*/ 281 w 695"/>
                <a:gd name="T39" fmla="*/ 72 h 503"/>
                <a:gd name="T40" fmla="*/ 265 w 695"/>
                <a:gd name="T41" fmla="*/ 95 h 503"/>
                <a:gd name="T42" fmla="*/ 244 w 695"/>
                <a:gd name="T43" fmla="*/ 125 h 503"/>
                <a:gd name="T44" fmla="*/ 231 w 695"/>
                <a:gd name="T45" fmla="*/ 141 h 503"/>
                <a:gd name="T46" fmla="*/ 220 w 695"/>
                <a:gd name="T47" fmla="*/ 149 h 503"/>
                <a:gd name="T48" fmla="*/ 185 w 695"/>
                <a:gd name="T49" fmla="*/ 166 h 503"/>
                <a:gd name="T50" fmla="*/ 159 w 695"/>
                <a:gd name="T51" fmla="*/ 154 h 503"/>
                <a:gd name="T52" fmla="*/ 132 w 695"/>
                <a:gd name="T53" fmla="*/ 164 h 503"/>
                <a:gd name="T54" fmla="*/ 88 w 695"/>
                <a:gd name="T55" fmla="*/ 151 h 503"/>
                <a:gd name="T56" fmla="*/ 92 w 695"/>
                <a:gd name="T57" fmla="*/ 128 h 503"/>
                <a:gd name="T58" fmla="*/ 71 w 695"/>
                <a:gd name="T59" fmla="*/ 123 h 503"/>
                <a:gd name="T60" fmla="*/ 57 w 695"/>
                <a:gd name="T61" fmla="*/ 123 h 503"/>
                <a:gd name="T62" fmla="*/ 49 w 695"/>
                <a:gd name="T63" fmla="*/ 106 h 503"/>
                <a:gd name="T64" fmla="*/ 61 w 695"/>
                <a:gd name="T65" fmla="*/ 103 h 503"/>
                <a:gd name="T66" fmla="*/ 60 w 695"/>
                <a:gd name="T67" fmla="*/ 88 h 503"/>
                <a:gd name="T68" fmla="*/ 24 w 695"/>
                <a:gd name="T69" fmla="*/ 76 h 503"/>
                <a:gd name="T70" fmla="*/ 5 w 695"/>
                <a:gd name="T71" fmla="*/ 76 h 503"/>
                <a:gd name="T72" fmla="*/ 0 w 695"/>
                <a:gd name="T73" fmla="*/ 64 h 5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95" h="503">
                  <a:moveTo>
                    <a:pt x="0" y="192"/>
                  </a:moveTo>
                  <a:lnTo>
                    <a:pt x="30" y="195"/>
                  </a:lnTo>
                  <a:lnTo>
                    <a:pt x="63" y="165"/>
                  </a:lnTo>
                  <a:lnTo>
                    <a:pt x="75" y="174"/>
                  </a:lnTo>
                  <a:lnTo>
                    <a:pt x="138" y="198"/>
                  </a:lnTo>
                  <a:lnTo>
                    <a:pt x="147" y="192"/>
                  </a:lnTo>
                  <a:lnTo>
                    <a:pt x="150" y="171"/>
                  </a:lnTo>
                  <a:lnTo>
                    <a:pt x="162" y="159"/>
                  </a:lnTo>
                  <a:lnTo>
                    <a:pt x="248" y="102"/>
                  </a:lnTo>
                  <a:lnTo>
                    <a:pt x="263" y="120"/>
                  </a:lnTo>
                  <a:lnTo>
                    <a:pt x="317" y="138"/>
                  </a:lnTo>
                  <a:lnTo>
                    <a:pt x="344" y="99"/>
                  </a:lnTo>
                  <a:lnTo>
                    <a:pt x="359" y="108"/>
                  </a:lnTo>
                  <a:lnTo>
                    <a:pt x="380" y="108"/>
                  </a:lnTo>
                  <a:lnTo>
                    <a:pt x="380" y="96"/>
                  </a:lnTo>
                  <a:lnTo>
                    <a:pt x="407" y="87"/>
                  </a:lnTo>
                  <a:lnTo>
                    <a:pt x="407" y="78"/>
                  </a:lnTo>
                  <a:lnTo>
                    <a:pt x="419" y="66"/>
                  </a:lnTo>
                  <a:lnTo>
                    <a:pt x="425" y="69"/>
                  </a:lnTo>
                  <a:lnTo>
                    <a:pt x="452" y="42"/>
                  </a:lnTo>
                  <a:lnTo>
                    <a:pt x="476" y="48"/>
                  </a:lnTo>
                  <a:lnTo>
                    <a:pt x="497" y="18"/>
                  </a:lnTo>
                  <a:lnTo>
                    <a:pt x="509" y="42"/>
                  </a:lnTo>
                  <a:lnTo>
                    <a:pt x="515" y="39"/>
                  </a:lnTo>
                  <a:lnTo>
                    <a:pt x="551" y="6"/>
                  </a:lnTo>
                  <a:lnTo>
                    <a:pt x="560" y="6"/>
                  </a:lnTo>
                  <a:lnTo>
                    <a:pt x="578" y="0"/>
                  </a:lnTo>
                  <a:lnTo>
                    <a:pt x="608" y="6"/>
                  </a:lnTo>
                  <a:lnTo>
                    <a:pt x="608" y="39"/>
                  </a:lnTo>
                  <a:lnTo>
                    <a:pt x="629" y="45"/>
                  </a:lnTo>
                  <a:lnTo>
                    <a:pt x="623" y="75"/>
                  </a:lnTo>
                  <a:lnTo>
                    <a:pt x="602" y="108"/>
                  </a:lnTo>
                  <a:lnTo>
                    <a:pt x="593" y="138"/>
                  </a:lnTo>
                  <a:lnTo>
                    <a:pt x="602" y="138"/>
                  </a:lnTo>
                  <a:lnTo>
                    <a:pt x="626" y="117"/>
                  </a:lnTo>
                  <a:lnTo>
                    <a:pt x="647" y="162"/>
                  </a:lnTo>
                  <a:lnTo>
                    <a:pt x="665" y="150"/>
                  </a:lnTo>
                  <a:lnTo>
                    <a:pt x="683" y="150"/>
                  </a:lnTo>
                  <a:lnTo>
                    <a:pt x="695" y="195"/>
                  </a:lnTo>
                  <a:lnTo>
                    <a:pt x="683" y="216"/>
                  </a:lnTo>
                  <a:lnTo>
                    <a:pt x="683" y="234"/>
                  </a:lnTo>
                  <a:lnTo>
                    <a:pt x="644" y="288"/>
                  </a:lnTo>
                  <a:lnTo>
                    <a:pt x="647" y="342"/>
                  </a:lnTo>
                  <a:lnTo>
                    <a:pt x="593" y="381"/>
                  </a:lnTo>
                  <a:lnTo>
                    <a:pt x="590" y="417"/>
                  </a:lnTo>
                  <a:lnTo>
                    <a:pt x="560" y="432"/>
                  </a:lnTo>
                  <a:lnTo>
                    <a:pt x="560" y="450"/>
                  </a:lnTo>
                  <a:lnTo>
                    <a:pt x="533" y="456"/>
                  </a:lnTo>
                  <a:lnTo>
                    <a:pt x="509" y="494"/>
                  </a:lnTo>
                  <a:lnTo>
                    <a:pt x="449" y="503"/>
                  </a:lnTo>
                  <a:lnTo>
                    <a:pt x="419" y="479"/>
                  </a:lnTo>
                  <a:lnTo>
                    <a:pt x="386" y="468"/>
                  </a:lnTo>
                  <a:lnTo>
                    <a:pt x="353" y="497"/>
                  </a:lnTo>
                  <a:lnTo>
                    <a:pt x="320" y="500"/>
                  </a:lnTo>
                  <a:lnTo>
                    <a:pt x="287" y="503"/>
                  </a:lnTo>
                  <a:lnTo>
                    <a:pt x="215" y="462"/>
                  </a:lnTo>
                  <a:lnTo>
                    <a:pt x="203" y="426"/>
                  </a:lnTo>
                  <a:lnTo>
                    <a:pt x="221" y="390"/>
                  </a:lnTo>
                  <a:lnTo>
                    <a:pt x="200" y="375"/>
                  </a:lnTo>
                  <a:lnTo>
                    <a:pt x="173" y="375"/>
                  </a:lnTo>
                  <a:lnTo>
                    <a:pt x="165" y="366"/>
                  </a:lnTo>
                  <a:lnTo>
                    <a:pt x="138" y="375"/>
                  </a:lnTo>
                  <a:lnTo>
                    <a:pt x="108" y="354"/>
                  </a:lnTo>
                  <a:lnTo>
                    <a:pt x="120" y="321"/>
                  </a:lnTo>
                  <a:lnTo>
                    <a:pt x="141" y="318"/>
                  </a:lnTo>
                  <a:lnTo>
                    <a:pt x="150" y="312"/>
                  </a:lnTo>
                  <a:lnTo>
                    <a:pt x="159" y="282"/>
                  </a:lnTo>
                  <a:lnTo>
                    <a:pt x="147" y="267"/>
                  </a:lnTo>
                  <a:lnTo>
                    <a:pt x="72" y="252"/>
                  </a:lnTo>
                  <a:lnTo>
                    <a:pt x="57" y="231"/>
                  </a:lnTo>
                  <a:lnTo>
                    <a:pt x="36" y="231"/>
                  </a:lnTo>
                  <a:lnTo>
                    <a:pt x="15" y="231"/>
                  </a:lnTo>
                  <a:lnTo>
                    <a:pt x="0" y="204"/>
                  </a:lnTo>
                  <a:lnTo>
                    <a:pt x="0" y="19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6" name="Freeform 40"/>
            <p:cNvSpPr>
              <a:spLocks/>
            </p:cNvSpPr>
            <p:nvPr/>
          </p:nvSpPr>
          <p:spPr bwMode="auto">
            <a:xfrm>
              <a:off x="4364286" y="5953150"/>
              <a:ext cx="312738" cy="284162"/>
            </a:xfrm>
            <a:custGeom>
              <a:avLst/>
              <a:gdLst>
                <a:gd name="T0" fmla="*/ 91 w 222"/>
                <a:gd name="T1" fmla="*/ 12 h 204"/>
                <a:gd name="T2" fmla="*/ 73 w 222"/>
                <a:gd name="T3" fmla="*/ 37 h 204"/>
                <a:gd name="T4" fmla="*/ 73 w 222"/>
                <a:gd name="T5" fmla="*/ 47 h 204"/>
                <a:gd name="T6" fmla="*/ 40 w 222"/>
                <a:gd name="T7" fmla="*/ 68 h 204"/>
                <a:gd name="T8" fmla="*/ 5 w 222"/>
                <a:gd name="T9" fmla="*/ 59 h 204"/>
                <a:gd name="T10" fmla="*/ 0 w 222"/>
                <a:gd name="T11" fmla="*/ 39 h 204"/>
                <a:gd name="T12" fmla="*/ 3 w 222"/>
                <a:gd name="T13" fmla="*/ 31 h 204"/>
                <a:gd name="T14" fmla="*/ 21 w 222"/>
                <a:gd name="T15" fmla="*/ 14 h 204"/>
                <a:gd name="T16" fmla="*/ 27 w 222"/>
                <a:gd name="T17" fmla="*/ 11 h 204"/>
                <a:gd name="T18" fmla="*/ 58 w 222"/>
                <a:gd name="T19" fmla="*/ 6 h 204"/>
                <a:gd name="T20" fmla="*/ 71 w 222"/>
                <a:gd name="T21" fmla="*/ 4 h 204"/>
                <a:gd name="T22" fmla="*/ 76 w 222"/>
                <a:gd name="T23" fmla="*/ 0 h 204"/>
                <a:gd name="T24" fmla="*/ 85 w 222"/>
                <a:gd name="T25" fmla="*/ 4 h 204"/>
                <a:gd name="T26" fmla="*/ 91 w 222"/>
                <a:gd name="T27" fmla="*/ 1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22" h="204">
                  <a:moveTo>
                    <a:pt x="222" y="36"/>
                  </a:moveTo>
                  <a:lnTo>
                    <a:pt x="180" y="108"/>
                  </a:lnTo>
                  <a:lnTo>
                    <a:pt x="180" y="138"/>
                  </a:lnTo>
                  <a:lnTo>
                    <a:pt x="99" y="204"/>
                  </a:lnTo>
                  <a:lnTo>
                    <a:pt x="15" y="177"/>
                  </a:lnTo>
                  <a:lnTo>
                    <a:pt x="0" y="117"/>
                  </a:lnTo>
                  <a:lnTo>
                    <a:pt x="3" y="90"/>
                  </a:lnTo>
                  <a:lnTo>
                    <a:pt x="51" y="42"/>
                  </a:lnTo>
                  <a:lnTo>
                    <a:pt x="66" y="30"/>
                  </a:lnTo>
                  <a:lnTo>
                    <a:pt x="141" y="18"/>
                  </a:lnTo>
                  <a:lnTo>
                    <a:pt x="174" y="15"/>
                  </a:lnTo>
                  <a:lnTo>
                    <a:pt x="186" y="0"/>
                  </a:lnTo>
                  <a:lnTo>
                    <a:pt x="210" y="6"/>
                  </a:lnTo>
                  <a:lnTo>
                    <a:pt x="222" y="36"/>
                  </a:lnTo>
                </a:path>
              </a:pathLst>
            </a:custGeom>
            <a:solidFill>
              <a:schemeClr val="bg1">
                <a:lumMod val="75000"/>
              </a:schemeClr>
            </a:solidFill>
            <a:ln w="19050">
              <a:solidFill>
                <a:srgbClr val="000000">
                  <a:lumMod val="50000"/>
                  <a:lumOff val="50000"/>
                </a:srgb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7" name="Freeform 41"/>
            <p:cNvSpPr>
              <a:spLocks/>
            </p:cNvSpPr>
            <p:nvPr/>
          </p:nvSpPr>
          <p:spPr bwMode="auto">
            <a:xfrm>
              <a:off x="2881561" y="4710137"/>
              <a:ext cx="1122363" cy="1147763"/>
            </a:xfrm>
            <a:custGeom>
              <a:avLst/>
              <a:gdLst>
                <a:gd name="T0" fmla="*/ 287 w 800"/>
                <a:gd name="T1" fmla="*/ 42 h 827"/>
                <a:gd name="T2" fmla="*/ 265 w 800"/>
                <a:gd name="T3" fmla="*/ 46 h 827"/>
                <a:gd name="T4" fmla="*/ 255 w 800"/>
                <a:gd name="T5" fmla="*/ 33 h 827"/>
                <a:gd name="T6" fmla="*/ 251 w 800"/>
                <a:gd name="T7" fmla="*/ 24 h 827"/>
                <a:gd name="T8" fmla="*/ 232 w 800"/>
                <a:gd name="T9" fmla="*/ 24 h 827"/>
                <a:gd name="T10" fmla="*/ 224 w 800"/>
                <a:gd name="T11" fmla="*/ 36 h 827"/>
                <a:gd name="T12" fmla="*/ 224 w 800"/>
                <a:gd name="T13" fmla="*/ 47 h 827"/>
                <a:gd name="T14" fmla="*/ 204 w 800"/>
                <a:gd name="T15" fmla="*/ 95 h 827"/>
                <a:gd name="T16" fmla="*/ 188 w 800"/>
                <a:gd name="T17" fmla="*/ 98 h 827"/>
                <a:gd name="T18" fmla="*/ 157 w 800"/>
                <a:gd name="T19" fmla="*/ 106 h 827"/>
                <a:gd name="T20" fmla="*/ 113 w 800"/>
                <a:gd name="T21" fmla="*/ 46 h 827"/>
                <a:gd name="T22" fmla="*/ 94 w 800"/>
                <a:gd name="T23" fmla="*/ 37 h 827"/>
                <a:gd name="T24" fmla="*/ 93 w 800"/>
                <a:gd name="T25" fmla="*/ 24 h 827"/>
                <a:gd name="T26" fmla="*/ 70 w 800"/>
                <a:gd name="T27" fmla="*/ 33 h 827"/>
                <a:gd name="T28" fmla="*/ 60 w 800"/>
                <a:gd name="T29" fmla="*/ 0 h 827"/>
                <a:gd name="T30" fmla="*/ 45 w 800"/>
                <a:gd name="T31" fmla="*/ 13 h 827"/>
                <a:gd name="T32" fmla="*/ 43 w 800"/>
                <a:gd name="T33" fmla="*/ 34 h 827"/>
                <a:gd name="T34" fmla="*/ 33 w 800"/>
                <a:gd name="T35" fmla="*/ 30 h 827"/>
                <a:gd name="T36" fmla="*/ 33 w 800"/>
                <a:gd name="T37" fmla="*/ 55 h 827"/>
                <a:gd name="T38" fmla="*/ 45 w 800"/>
                <a:gd name="T39" fmla="*/ 57 h 827"/>
                <a:gd name="T40" fmla="*/ 44 w 800"/>
                <a:gd name="T41" fmla="*/ 112 h 827"/>
                <a:gd name="T42" fmla="*/ 7 w 800"/>
                <a:gd name="T43" fmla="*/ 147 h 827"/>
                <a:gd name="T44" fmla="*/ 0 w 800"/>
                <a:gd name="T45" fmla="*/ 156 h 827"/>
                <a:gd name="T46" fmla="*/ 0 w 800"/>
                <a:gd name="T47" fmla="*/ 177 h 827"/>
                <a:gd name="T48" fmla="*/ 21 w 800"/>
                <a:gd name="T49" fmla="*/ 174 h 827"/>
                <a:gd name="T50" fmla="*/ 43 w 800"/>
                <a:gd name="T51" fmla="*/ 182 h 827"/>
                <a:gd name="T52" fmla="*/ 49 w 800"/>
                <a:gd name="T53" fmla="*/ 201 h 827"/>
                <a:gd name="T54" fmla="*/ 67 w 800"/>
                <a:gd name="T55" fmla="*/ 204 h 827"/>
                <a:gd name="T56" fmla="*/ 66 w 800"/>
                <a:gd name="T57" fmla="*/ 217 h 827"/>
                <a:gd name="T58" fmla="*/ 60 w 800"/>
                <a:gd name="T59" fmla="*/ 236 h 827"/>
                <a:gd name="T60" fmla="*/ 72 w 800"/>
                <a:gd name="T61" fmla="*/ 240 h 827"/>
                <a:gd name="T62" fmla="*/ 86 w 800"/>
                <a:gd name="T63" fmla="*/ 248 h 827"/>
                <a:gd name="T64" fmla="*/ 113 w 800"/>
                <a:gd name="T65" fmla="*/ 261 h 827"/>
                <a:gd name="T66" fmla="*/ 136 w 800"/>
                <a:gd name="T67" fmla="*/ 255 h 827"/>
                <a:gd name="T68" fmla="*/ 140 w 800"/>
                <a:gd name="T69" fmla="*/ 268 h 827"/>
                <a:gd name="T70" fmla="*/ 154 w 800"/>
                <a:gd name="T71" fmla="*/ 270 h 827"/>
                <a:gd name="T72" fmla="*/ 162 w 800"/>
                <a:gd name="T73" fmla="*/ 269 h 827"/>
                <a:gd name="T74" fmla="*/ 155 w 800"/>
                <a:gd name="T75" fmla="*/ 236 h 827"/>
                <a:gd name="T76" fmla="*/ 177 w 800"/>
                <a:gd name="T77" fmla="*/ 229 h 827"/>
                <a:gd name="T78" fmla="*/ 188 w 800"/>
                <a:gd name="T79" fmla="*/ 221 h 827"/>
                <a:gd name="T80" fmla="*/ 220 w 800"/>
                <a:gd name="T81" fmla="*/ 221 h 827"/>
                <a:gd name="T82" fmla="*/ 234 w 800"/>
                <a:gd name="T83" fmla="*/ 219 h 827"/>
                <a:gd name="T84" fmla="*/ 245 w 800"/>
                <a:gd name="T85" fmla="*/ 226 h 827"/>
                <a:gd name="T86" fmla="*/ 257 w 800"/>
                <a:gd name="T87" fmla="*/ 217 h 827"/>
                <a:gd name="T88" fmla="*/ 271 w 800"/>
                <a:gd name="T89" fmla="*/ 217 h 827"/>
                <a:gd name="T90" fmla="*/ 290 w 800"/>
                <a:gd name="T91" fmla="*/ 201 h 827"/>
                <a:gd name="T92" fmla="*/ 308 w 800"/>
                <a:gd name="T93" fmla="*/ 204 h 827"/>
                <a:gd name="T94" fmla="*/ 320 w 800"/>
                <a:gd name="T95" fmla="*/ 193 h 827"/>
                <a:gd name="T96" fmla="*/ 329 w 800"/>
                <a:gd name="T97" fmla="*/ 180 h 827"/>
                <a:gd name="T98" fmla="*/ 293 w 800"/>
                <a:gd name="T99" fmla="*/ 171 h 827"/>
                <a:gd name="T100" fmla="*/ 278 w 800"/>
                <a:gd name="T101" fmla="*/ 164 h 827"/>
                <a:gd name="T102" fmla="*/ 264 w 800"/>
                <a:gd name="T103" fmla="*/ 156 h 827"/>
                <a:gd name="T104" fmla="*/ 268 w 800"/>
                <a:gd name="T105" fmla="*/ 133 h 827"/>
                <a:gd name="T106" fmla="*/ 265 w 800"/>
                <a:gd name="T107" fmla="*/ 92 h 827"/>
                <a:gd name="T108" fmla="*/ 238 w 800"/>
                <a:gd name="T109" fmla="*/ 92 h 827"/>
                <a:gd name="T110" fmla="*/ 232 w 800"/>
                <a:gd name="T111" fmla="*/ 79 h 827"/>
                <a:gd name="T112" fmla="*/ 239 w 800"/>
                <a:gd name="T113" fmla="*/ 64 h 827"/>
                <a:gd name="T114" fmla="*/ 255 w 800"/>
                <a:gd name="T115" fmla="*/ 63 h 827"/>
                <a:gd name="T116" fmla="*/ 284 w 800"/>
                <a:gd name="T117" fmla="*/ 63 h 8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00" h="827">
                  <a:moveTo>
                    <a:pt x="704" y="153"/>
                  </a:moveTo>
                  <a:lnTo>
                    <a:pt x="698" y="129"/>
                  </a:lnTo>
                  <a:lnTo>
                    <a:pt x="677" y="123"/>
                  </a:lnTo>
                  <a:lnTo>
                    <a:pt x="644" y="141"/>
                  </a:lnTo>
                  <a:lnTo>
                    <a:pt x="620" y="132"/>
                  </a:lnTo>
                  <a:lnTo>
                    <a:pt x="620" y="102"/>
                  </a:lnTo>
                  <a:lnTo>
                    <a:pt x="608" y="87"/>
                  </a:lnTo>
                  <a:lnTo>
                    <a:pt x="608" y="72"/>
                  </a:lnTo>
                  <a:lnTo>
                    <a:pt x="575" y="66"/>
                  </a:lnTo>
                  <a:lnTo>
                    <a:pt x="566" y="75"/>
                  </a:lnTo>
                  <a:lnTo>
                    <a:pt x="572" y="96"/>
                  </a:lnTo>
                  <a:lnTo>
                    <a:pt x="545" y="108"/>
                  </a:lnTo>
                  <a:lnTo>
                    <a:pt x="539" y="123"/>
                  </a:lnTo>
                  <a:lnTo>
                    <a:pt x="545" y="144"/>
                  </a:lnTo>
                  <a:lnTo>
                    <a:pt x="488" y="210"/>
                  </a:lnTo>
                  <a:lnTo>
                    <a:pt x="497" y="288"/>
                  </a:lnTo>
                  <a:lnTo>
                    <a:pt x="470" y="312"/>
                  </a:lnTo>
                  <a:lnTo>
                    <a:pt x="458" y="297"/>
                  </a:lnTo>
                  <a:lnTo>
                    <a:pt x="404" y="330"/>
                  </a:lnTo>
                  <a:lnTo>
                    <a:pt x="383" y="318"/>
                  </a:lnTo>
                  <a:lnTo>
                    <a:pt x="302" y="165"/>
                  </a:lnTo>
                  <a:lnTo>
                    <a:pt x="272" y="141"/>
                  </a:lnTo>
                  <a:lnTo>
                    <a:pt x="245" y="135"/>
                  </a:lnTo>
                  <a:lnTo>
                    <a:pt x="233" y="114"/>
                  </a:lnTo>
                  <a:lnTo>
                    <a:pt x="248" y="93"/>
                  </a:lnTo>
                  <a:lnTo>
                    <a:pt x="227" y="75"/>
                  </a:lnTo>
                  <a:lnTo>
                    <a:pt x="197" y="96"/>
                  </a:lnTo>
                  <a:lnTo>
                    <a:pt x="170" y="102"/>
                  </a:lnTo>
                  <a:lnTo>
                    <a:pt x="152" y="18"/>
                  </a:lnTo>
                  <a:lnTo>
                    <a:pt x="149" y="0"/>
                  </a:lnTo>
                  <a:lnTo>
                    <a:pt x="119" y="33"/>
                  </a:lnTo>
                  <a:lnTo>
                    <a:pt x="110" y="39"/>
                  </a:lnTo>
                  <a:lnTo>
                    <a:pt x="113" y="93"/>
                  </a:lnTo>
                  <a:lnTo>
                    <a:pt x="104" y="105"/>
                  </a:lnTo>
                  <a:lnTo>
                    <a:pt x="92" y="105"/>
                  </a:lnTo>
                  <a:lnTo>
                    <a:pt x="80" y="93"/>
                  </a:lnTo>
                  <a:lnTo>
                    <a:pt x="66" y="108"/>
                  </a:lnTo>
                  <a:lnTo>
                    <a:pt x="80" y="168"/>
                  </a:lnTo>
                  <a:lnTo>
                    <a:pt x="95" y="168"/>
                  </a:lnTo>
                  <a:lnTo>
                    <a:pt x="110" y="177"/>
                  </a:lnTo>
                  <a:lnTo>
                    <a:pt x="113" y="213"/>
                  </a:lnTo>
                  <a:lnTo>
                    <a:pt x="107" y="339"/>
                  </a:lnTo>
                  <a:lnTo>
                    <a:pt x="21" y="414"/>
                  </a:lnTo>
                  <a:lnTo>
                    <a:pt x="18" y="444"/>
                  </a:lnTo>
                  <a:lnTo>
                    <a:pt x="0" y="459"/>
                  </a:lnTo>
                  <a:lnTo>
                    <a:pt x="0" y="474"/>
                  </a:lnTo>
                  <a:lnTo>
                    <a:pt x="12" y="510"/>
                  </a:lnTo>
                  <a:lnTo>
                    <a:pt x="0" y="537"/>
                  </a:lnTo>
                  <a:lnTo>
                    <a:pt x="9" y="543"/>
                  </a:lnTo>
                  <a:lnTo>
                    <a:pt x="51" y="531"/>
                  </a:lnTo>
                  <a:lnTo>
                    <a:pt x="113" y="528"/>
                  </a:lnTo>
                  <a:lnTo>
                    <a:pt x="104" y="552"/>
                  </a:lnTo>
                  <a:lnTo>
                    <a:pt x="116" y="573"/>
                  </a:lnTo>
                  <a:lnTo>
                    <a:pt x="119" y="609"/>
                  </a:lnTo>
                  <a:lnTo>
                    <a:pt x="128" y="621"/>
                  </a:lnTo>
                  <a:lnTo>
                    <a:pt x="164" y="621"/>
                  </a:lnTo>
                  <a:lnTo>
                    <a:pt x="179" y="633"/>
                  </a:lnTo>
                  <a:lnTo>
                    <a:pt x="161" y="657"/>
                  </a:lnTo>
                  <a:lnTo>
                    <a:pt x="158" y="684"/>
                  </a:lnTo>
                  <a:lnTo>
                    <a:pt x="146" y="717"/>
                  </a:lnTo>
                  <a:lnTo>
                    <a:pt x="155" y="726"/>
                  </a:lnTo>
                  <a:lnTo>
                    <a:pt x="176" y="729"/>
                  </a:lnTo>
                  <a:lnTo>
                    <a:pt x="215" y="743"/>
                  </a:lnTo>
                  <a:lnTo>
                    <a:pt x="212" y="755"/>
                  </a:lnTo>
                  <a:lnTo>
                    <a:pt x="236" y="794"/>
                  </a:lnTo>
                  <a:lnTo>
                    <a:pt x="272" y="794"/>
                  </a:lnTo>
                  <a:lnTo>
                    <a:pt x="317" y="770"/>
                  </a:lnTo>
                  <a:lnTo>
                    <a:pt x="332" y="776"/>
                  </a:lnTo>
                  <a:lnTo>
                    <a:pt x="332" y="791"/>
                  </a:lnTo>
                  <a:lnTo>
                    <a:pt x="338" y="815"/>
                  </a:lnTo>
                  <a:lnTo>
                    <a:pt x="350" y="824"/>
                  </a:lnTo>
                  <a:lnTo>
                    <a:pt x="374" y="821"/>
                  </a:lnTo>
                  <a:lnTo>
                    <a:pt x="386" y="827"/>
                  </a:lnTo>
                  <a:lnTo>
                    <a:pt x="392" y="818"/>
                  </a:lnTo>
                  <a:lnTo>
                    <a:pt x="392" y="782"/>
                  </a:lnTo>
                  <a:lnTo>
                    <a:pt x="377" y="717"/>
                  </a:lnTo>
                  <a:lnTo>
                    <a:pt x="389" y="699"/>
                  </a:lnTo>
                  <a:lnTo>
                    <a:pt x="428" y="699"/>
                  </a:lnTo>
                  <a:lnTo>
                    <a:pt x="437" y="699"/>
                  </a:lnTo>
                  <a:lnTo>
                    <a:pt x="458" y="672"/>
                  </a:lnTo>
                  <a:lnTo>
                    <a:pt x="512" y="690"/>
                  </a:lnTo>
                  <a:lnTo>
                    <a:pt x="533" y="669"/>
                  </a:lnTo>
                  <a:lnTo>
                    <a:pt x="545" y="681"/>
                  </a:lnTo>
                  <a:lnTo>
                    <a:pt x="569" y="666"/>
                  </a:lnTo>
                  <a:lnTo>
                    <a:pt x="590" y="687"/>
                  </a:lnTo>
                  <a:lnTo>
                    <a:pt x="599" y="687"/>
                  </a:lnTo>
                  <a:lnTo>
                    <a:pt x="605" y="678"/>
                  </a:lnTo>
                  <a:lnTo>
                    <a:pt x="623" y="660"/>
                  </a:lnTo>
                  <a:lnTo>
                    <a:pt x="632" y="666"/>
                  </a:lnTo>
                  <a:lnTo>
                    <a:pt x="659" y="660"/>
                  </a:lnTo>
                  <a:lnTo>
                    <a:pt x="683" y="642"/>
                  </a:lnTo>
                  <a:lnTo>
                    <a:pt x="704" y="609"/>
                  </a:lnTo>
                  <a:lnTo>
                    <a:pt x="734" y="603"/>
                  </a:lnTo>
                  <a:lnTo>
                    <a:pt x="749" y="621"/>
                  </a:lnTo>
                  <a:lnTo>
                    <a:pt x="761" y="588"/>
                  </a:lnTo>
                  <a:lnTo>
                    <a:pt x="782" y="585"/>
                  </a:lnTo>
                  <a:lnTo>
                    <a:pt x="791" y="579"/>
                  </a:lnTo>
                  <a:lnTo>
                    <a:pt x="800" y="549"/>
                  </a:lnTo>
                  <a:lnTo>
                    <a:pt x="788" y="534"/>
                  </a:lnTo>
                  <a:lnTo>
                    <a:pt x="713" y="519"/>
                  </a:lnTo>
                  <a:lnTo>
                    <a:pt x="698" y="498"/>
                  </a:lnTo>
                  <a:lnTo>
                    <a:pt x="677" y="498"/>
                  </a:lnTo>
                  <a:lnTo>
                    <a:pt x="656" y="498"/>
                  </a:lnTo>
                  <a:lnTo>
                    <a:pt x="641" y="471"/>
                  </a:lnTo>
                  <a:lnTo>
                    <a:pt x="641" y="459"/>
                  </a:lnTo>
                  <a:lnTo>
                    <a:pt x="650" y="405"/>
                  </a:lnTo>
                  <a:lnTo>
                    <a:pt x="620" y="375"/>
                  </a:lnTo>
                  <a:lnTo>
                    <a:pt x="644" y="279"/>
                  </a:lnTo>
                  <a:lnTo>
                    <a:pt x="629" y="267"/>
                  </a:lnTo>
                  <a:lnTo>
                    <a:pt x="578" y="282"/>
                  </a:lnTo>
                  <a:lnTo>
                    <a:pt x="566" y="261"/>
                  </a:lnTo>
                  <a:lnTo>
                    <a:pt x="566" y="237"/>
                  </a:lnTo>
                  <a:lnTo>
                    <a:pt x="554" y="228"/>
                  </a:lnTo>
                  <a:lnTo>
                    <a:pt x="581" y="192"/>
                  </a:lnTo>
                  <a:lnTo>
                    <a:pt x="608" y="201"/>
                  </a:lnTo>
                  <a:lnTo>
                    <a:pt x="620" y="189"/>
                  </a:lnTo>
                  <a:lnTo>
                    <a:pt x="668" y="198"/>
                  </a:lnTo>
                  <a:lnTo>
                    <a:pt x="692" y="189"/>
                  </a:lnTo>
                  <a:lnTo>
                    <a:pt x="704" y="153"/>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8" name="Freeform 42"/>
            <p:cNvSpPr>
              <a:spLocks/>
            </p:cNvSpPr>
            <p:nvPr/>
          </p:nvSpPr>
          <p:spPr bwMode="auto">
            <a:xfrm>
              <a:off x="5234236" y="4694262"/>
              <a:ext cx="536575" cy="660400"/>
            </a:xfrm>
            <a:custGeom>
              <a:avLst/>
              <a:gdLst>
                <a:gd name="T0" fmla="*/ 0 w 381"/>
                <a:gd name="T1" fmla="*/ 119 h 476"/>
                <a:gd name="T2" fmla="*/ 5 w 381"/>
                <a:gd name="T3" fmla="*/ 94 h 476"/>
                <a:gd name="T4" fmla="*/ 12 w 381"/>
                <a:gd name="T5" fmla="*/ 86 h 476"/>
                <a:gd name="T6" fmla="*/ 14 w 381"/>
                <a:gd name="T7" fmla="*/ 80 h 476"/>
                <a:gd name="T8" fmla="*/ 20 w 381"/>
                <a:gd name="T9" fmla="*/ 68 h 476"/>
                <a:gd name="T10" fmla="*/ 17 w 381"/>
                <a:gd name="T11" fmla="*/ 64 h 476"/>
                <a:gd name="T12" fmla="*/ 17 w 381"/>
                <a:gd name="T13" fmla="*/ 55 h 476"/>
                <a:gd name="T14" fmla="*/ 34 w 381"/>
                <a:gd name="T15" fmla="*/ 39 h 476"/>
                <a:gd name="T16" fmla="*/ 32 w 381"/>
                <a:gd name="T17" fmla="*/ 30 h 476"/>
                <a:gd name="T18" fmla="*/ 44 w 381"/>
                <a:gd name="T19" fmla="*/ 15 h 476"/>
                <a:gd name="T20" fmla="*/ 54 w 381"/>
                <a:gd name="T21" fmla="*/ 17 h 476"/>
                <a:gd name="T22" fmla="*/ 74 w 381"/>
                <a:gd name="T23" fmla="*/ 5 h 476"/>
                <a:gd name="T24" fmla="*/ 79 w 381"/>
                <a:gd name="T25" fmla="*/ 0 h 476"/>
                <a:gd name="T26" fmla="*/ 92 w 381"/>
                <a:gd name="T27" fmla="*/ 4 h 476"/>
                <a:gd name="T28" fmla="*/ 96 w 381"/>
                <a:gd name="T29" fmla="*/ 14 h 476"/>
                <a:gd name="T30" fmla="*/ 103 w 381"/>
                <a:gd name="T31" fmla="*/ 24 h 476"/>
                <a:gd name="T32" fmla="*/ 115 w 381"/>
                <a:gd name="T33" fmla="*/ 24 h 476"/>
                <a:gd name="T34" fmla="*/ 125 w 381"/>
                <a:gd name="T35" fmla="*/ 15 h 476"/>
                <a:gd name="T36" fmla="*/ 137 w 381"/>
                <a:gd name="T37" fmla="*/ 25 h 476"/>
                <a:gd name="T38" fmla="*/ 158 w 381"/>
                <a:gd name="T39" fmla="*/ 19 h 476"/>
                <a:gd name="T40" fmla="*/ 145 w 381"/>
                <a:gd name="T41" fmla="*/ 44 h 476"/>
                <a:gd name="T42" fmla="*/ 137 w 381"/>
                <a:gd name="T43" fmla="*/ 41 h 476"/>
                <a:gd name="T44" fmla="*/ 132 w 381"/>
                <a:gd name="T45" fmla="*/ 44 h 476"/>
                <a:gd name="T46" fmla="*/ 132 w 381"/>
                <a:gd name="T47" fmla="*/ 46 h 476"/>
                <a:gd name="T48" fmla="*/ 138 w 381"/>
                <a:gd name="T49" fmla="*/ 52 h 476"/>
                <a:gd name="T50" fmla="*/ 136 w 381"/>
                <a:gd name="T51" fmla="*/ 76 h 476"/>
                <a:gd name="T52" fmla="*/ 138 w 381"/>
                <a:gd name="T53" fmla="*/ 84 h 476"/>
                <a:gd name="T54" fmla="*/ 136 w 381"/>
                <a:gd name="T55" fmla="*/ 86 h 476"/>
                <a:gd name="T56" fmla="*/ 126 w 381"/>
                <a:gd name="T57" fmla="*/ 85 h 476"/>
                <a:gd name="T58" fmla="*/ 122 w 381"/>
                <a:gd name="T59" fmla="*/ 89 h 476"/>
                <a:gd name="T60" fmla="*/ 126 w 381"/>
                <a:gd name="T61" fmla="*/ 95 h 476"/>
                <a:gd name="T62" fmla="*/ 115 w 381"/>
                <a:gd name="T63" fmla="*/ 103 h 476"/>
                <a:gd name="T64" fmla="*/ 116 w 381"/>
                <a:gd name="T65" fmla="*/ 107 h 476"/>
                <a:gd name="T66" fmla="*/ 106 w 381"/>
                <a:gd name="T67" fmla="*/ 111 h 476"/>
                <a:gd name="T68" fmla="*/ 109 w 381"/>
                <a:gd name="T69" fmla="*/ 116 h 476"/>
                <a:gd name="T70" fmla="*/ 105 w 381"/>
                <a:gd name="T71" fmla="*/ 119 h 476"/>
                <a:gd name="T72" fmla="*/ 92 w 381"/>
                <a:gd name="T73" fmla="*/ 119 h 476"/>
                <a:gd name="T74" fmla="*/ 84 w 381"/>
                <a:gd name="T75" fmla="*/ 125 h 476"/>
                <a:gd name="T76" fmla="*/ 82 w 381"/>
                <a:gd name="T77" fmla="*/ 127 h 476"/>
                <a:gd name="T78" fmla="*/ 88 w 381"/>
                <a:gd name="T79" fmla="*/ 132 h 476"/>
                <a:gd name="T80" fmla="*/ 81 w 381"/>
                <a:gd name="T81" fmla="*/ 140 h 476"/>
                <a:gd name="T82" fmla="*/ 71 w 381"/>
                <a:gd name="T83" fmla="*/ 149 h 476"/>
                <a:gd name="T84" fmla="*/ 68 w 381"/>
                <a:gd name="T85" fmla="*/ 149 h 476"/>
                <a:gd name="T86" fmla="*/ 57 w 381"/>
                <a:gd name="T87" fmla="*/ 157 h 476"/>
                <a:gd name="T88" fmla="*/ 46 w 381"/>
                <a:gd name="T89" fmla="*/ 138 h 476"/>
                <a:gd name="T90" fmla="*/ 36 w 381"/>
                <a:gd name="T91" fmla="*/ 127 h 476"/>
                <a:gd name="T92" fmla="*/ 29 w 381"/>
                <a:gd name="T93" fmla="*/ 127 h 476"/>
                <a:gd name="T94" fmla="*/ 25 w 381"/>
                <a:gd name="T95" fmla="*/ 125 h 476"/>
                <a:gd name="T96" fmla="*/ 0 w 381"/>
                <a:gd name="T97" fmla="*/ 119 h 4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81" h="476">
                  <a:moveTo>
                    <a:pt x="0" y="365"/>
                  </a:moveTo>
                  <a:lnTo>
                    <a:pt x="12" y="284"/>
                  </a:lnTo>
                  <a:lnTo>
                    <a:pt x="27" y="263"/>
                  </a:lnTo>
                  <a:lnTo>
                    <a:pt x="33" y="239"/>
                  </a:lnTo>
                  <a:lnTo>
                    <a:pt x="48" y="206"/>
                  </a:lnTo>
                  <a:lnTo>
                    <a:pt x="42" y="191"/>
                  </a:lnTo>
                  <a:lnTo>
                    <a:pt x="42" y="164"/>
                  </a:lnTo>
                  <a:lnTo>
                    <a:pt x="81" y="119"/>
                  </a:lnTo>
                  <a:lnTo>
                    <a:pt x="78" y="89"/>
                  </a:lnTo>
                  <a:lnTo>
                    <a:pt x="105" y="47"/>
                  </a:lnTo>
                  <a:lnTo>
                    <a:pt x="129" y="53"/>
                  </a:lnTo>
                  <a:lnTo>
                    <a:pt x="180" y="17"/>
                  </a:lnTo>
                  <a:lnTo>
                    <a:pt x="189" y="0"/>
                  </a:lnTo>
                  <a:lnTo>
                    <a:pt x="219" y="5"/>
                  </a:lnTo>
                  <a:lnTo>
                    <a:pt x="234" y="44"/>
                  </a:lnTo>
                  <a:lnTo>
                    <a:pt x="246" y="71"/>
                  </a:lnTo>
                  <a:lnTo>
                    <a:pt x="279" y="71"/>
                  </a:lnTo>
                  <a:lnTo>
                    <a:pt x="300" y="47"/>
                  </a:lnTo>
                  <a:lnTo>
                    <a:pt x="330" y="77"/>
                  </a:lnTo>
                  <a:lnTo>
                    <a:pt x="381" y="59"/>
                  </a:lnTo>
                  <a:lnTo>
                    <a:pt x="348" y="134"/>
                  </a:lnTo>
                  <a:lnTo>
                    <a:pt x="330" y="125"/>
                  </a:lnTo>
                  <a:lnTo>
                    <a:pt x="315" y="134"/>
                  </a:lnTo>
                  <a:lnTo>
                    <a:pt x="315" y="140"/>
                  </a:lnTo>
                  <a:lnTo>
                    <a:pt x="333" y="161"/>
                  </a:lnTo>
                  <a:lnTo>
                    <a:pt x="327" y="230"/>
                  </a:lnTo>
                  <a:lnTo>
                    <a:pt x="333" y="254"/>
                  </a:lnTo>
                  <a:lnTo>
                    <a:pt x="327" y="260"/>
                  </a:lnTo>
                  <a:lnTo>
                    <a:pt x="306" y="257"/>
                  </a:lnTo>
                  <a:lnTo>
                    <a:pt x="294" y="269"/>
                  </a:lnTo>
                  <a:lnTo>
                    <a:pt x="303" y="287"/>
                  </a:lnTo>
                  <a:lnTo>
                    <a:pt x="276" y="314"/>
                  </a:lnTo>
                  <a:lnTo>
                    <a:pt x="282" y="323"/>
                  </a:lnTo>
                  <a:lnTo>
                    <a:pt x="258" y="335"/>
                  </a:lnTo>
                  <a:lnTo>
                    <a:pt x="261" y="353"/>
                  </a:lnTo>
                  <a:lnTo>
                    <a:pt x="252" y="362"/>
                  </a:lnTo>
                  <a:lnTo>
                    <a:pt x="219" y="362"/>
                  </a:lnTo>
                  <a:lnTo>
                    <a:pt x="201" y="380"/>
                  </a:lnTo>
                  <a:lnTo>
                    <a:pt x="198" y="386"/>
                  </a:lnTo>
                  <a:lnTo>
                    <a:pt x="213" y="398"/>
                  </a:lnTo>
                  <a:lnTo>
                    <a:pt x="195" y="425"/>
                  </a:lnTo>
                  <a:lnTo>
                    <a:pt x="171" y="455"/>
                  </a:lnTo>
                  <a:lnTo>
                    <a:pt x="162" y="452"/>
                  </a:lnTo>
                  <a:lnTo>
                    <a:pt x="138" y="476"/>
                  </a:lnTo>
                  <a:lnTo>
                    <a:pt x="111" y="416"/>
                  </a:lnTo>
                  <a:lnTo>
                    <a:pt x="87" y="386"/>
                  </a:lnTo>
                  <a:lnTo>
                    <a:pt x="69" y="386"/>
                  </a:lnTo>
                  <a:lnTo>
                    <a:pt x="60" y="380"/>
                  </a:lnTo>
                  <a:lnTo>
                    <a:pt x="0" y="365"/>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49" name="Freeform 43"/>
            <p:cNvSpPr>
              <a:spLocks/>
            </p:cNvSpPr>
            <p:nvPr/>
          </p:nvSpPr>
          <p:spPr bwMode="auto">
            <a:xfrm>
              <a:off x="4911974" y="4481537"/>
              <a:ext cx="587375" cy="803275"/>
            </a:xfrm>
            <a:custGeom>
              <a:avLst/>
              <a:gdLst>
                <a:gd name="T0" fmla="*/ 5 w 419"/>
                <a:gd name="T1" fmla="*/ 41 h 578"/>
                <a:gd name="T2" fmla="*/ 15 w 419"/>
                <a:gd name="T3" fmla="*/ 57 h 578"/>
                <a:gd name="T4" fmla="*/ 16 w 419"/>
                <a:gd name="T5" fmla="*/ 67 h 578"/>
                <a:gd name="T6" fmla="*/ 10 w 419"/>
                <a:gd name="T7" fmla="*/ 76 h 578"/>
                <a:gd name="T8" fmla="*/ 5 w 419"/>
                <a:gd name="T9" fmla="*/ 81 h 578"/>
                <a:gd name="T10" fmla="*/ 0 w 419"/>
                <a:gd name="T11" fmla="*/ 97 h 578"/>
                <a:gd name="T12" fmla="*/ 5 w 419"/>
                <a:gd name="T13" fmla="*/ 100 h 578"/>
                <a:gd name="T14" fmla="*/ 7 w 419"/>
                <a:gd name="T15" fmla="*/ 98 h 578"/>
                <a:gd name="T16" fmla="*/ 10 w 419"/>
                <a:gd name="T17" fmla="*/ 100 h 578"/>
                <a:gd name="T18" fmla="*/ 10 w 419"/>
                <a:gd name="T19" fmla="*/ 110 h 578"/>
                <a:gd name="T20" fmla="*/ 16 w 419"/>
                <a:gd name="T21" fmla="*/ 123 h 578"/>
                <a:gd name="T22" fmla="*/ 24 w 419"/>
                <a:gd name="T23" fmla="*/ 125 h 578"/>
                <a:gd name="T24" fmla="*/ 24 w 419"/>
                <a:gd name="T25" fmla="*/ 142 h 578"/>
                <a:gd name="T26" fmla="*/ 20 w 419"/>
                <a:gd name="T27" fmla="*/ 155 h 578"/>
                <a:gd name="T28" fmla="*/ 24 w 419"/>
                <a:gd name="T29" fmla="*/ 159 h 578"/>
                <a:gd name="T30" fmla="*/ 31 w 419"/>
                <a:gd name="T31" fmla="*/ 165 h 578"/>
                <a:gd name="T32" fmla="*/ 48 w 419"/>
                <a:gd name="T33" fmla="*/ 162 h 578"/>
                <a:gd name="T34" fmla="*/ 53 w 419"/>
                <a:gd name="T35" fmla="*/ 166 h 578"/>
                <a:gd name="T36" fmla="*/ 46 w 419"/>
                <a:gd name="T37" fmla="*/ 173 h 578"/>
                <a:gd name="T38" fmla="*/ 37 w 419"/>
                <a:gd name="T39" fmla="*/ 184 h 578"/>
                <a:gd name="T40" fmla="*/ 37 w 419"/>
                <a:gd name="T41" fmla="*/ 186 h 578"/>
                <a:gd name="T42" fmla="*/ 43 w 419"/>
                <a:gd name="T43" fmla="*/ 189 h 578"/>
                <a:gd name="T44" fmla="*/ 78 w 419"/>
                <a:gd name="T45" fmla="*/ 178 h 578"/>
                <a:gd name="T46" fmla="*/ 92 w 419"/>
                <a:gd name="T47" fmla="*/ 184 h 578"/>
                <a:gd name="T48" fmla="*/ 96 w 419"/>
                <a:gd name="T49" fmla="*/ 180 h 578"/>
                <a:gd name="T50" fmla="*/ 92 w 419"/>
                <a:gd name="T51" fmla="*/ 175 h 578"/>
                <a:gd name="T52" fmla="*/ 93 w 419"/>
                <a:gd name="T53" fmla="*/ 170 h 578"/>
                <a:gd name="T54" fmla="*/ 99 w 419"/>
                <a:gd name="T55" fmla="*/ 143 h 578"/>
                <a:gd name="T56" fmla="*/ 105 w 419"/>
                <a:gd name="T57" fmla="*/ 137 h 578"/>
                <a:gd name="T58" fmla="*/ 107 w 419"/>
                <a:gd name="T59" fmla="*/ 129 h 578"/>
                <a:gd name="T60" fmla="*/ 112 w 419"/>
                <a:gd name="T61" fmla="*/ 118 h 578"/>
                <a:gd name="T62" fmla="*/ 112 w 419"/>
                <a:gd name="T63" fmla="*/ 112 h 578"/>
                <a:gd name="T64" fmla="*/ 112 w 419"/>
                <a:gd name="T65" fmla="*/ 105 h 578"/>
                <a:gd name="T66" fmla="*/ 127 w 419"/>
                <a:gd name="T67" fmla="*/ 89 h 578"/>
                <a:gd name="T68" fmla="*/ 126 w 419"/>
                <a:gd name="T69" fmla="*/ 80 h 578"/>
                <a:gd name="T70" fmla="*/ 137 w 419"/>
                <a:gd name="T71" fmla="*/ 64 h 578"/>
                <a:gd name="T72" fmla="*/ 146 w 419"/>
                <a:gd name="T73" fmla="*/ 68 h 578"/>
                <a:gd name="T74" fmla="*/ 166 w 419"/>
                <a:gd name="T75" fmla="*/ 56 h 578"/>
                <a:gd name="T76" fmla="*/ 171 w 419"/>
                <a:gd name="T77" fmla="*/ 51 h 578"/>
                <a:gd name="T78" fmla="*/ 158 w 419"/>
                <a:gd name="T79" fmla="*/ 30 h 578"/>
                <a:gd name="T80" fmla="*/ 149 w 419"/>
                <a:gd name="T81" fmla="*/ 21 h 578"/>
                <a:gd name="T82" fmla="*/ 154 w 419"/>
                <a:gd name="T83" fmla="*/ 17 h 578"/>
                <a:gd name="T84" fmla="*/ 147 w 419"/>
                <a:gd name="T85" fmla="*/ 11 h 578"/>
                <a:gd name="T86" fmla="*/ 127 w 419"/>
                <a:gd name="T87" fmla="*/ 11 h 578"/>
                <a:gd name="T88" fmla="*/ 120 w 419"/>
                <a:gd name="T89" fmla="*/ 4 h 578"/>
                <a:gd name="T90" fmla="*/ 102 w 419"/>
                <a:gd name="T91" fmla="*/ 15 h 578"/>
                <a:gd name="T92" fmla="*/ 97 w 419"/>
                <a:gd name="T93" fmla="*/ 13 h 578"/>
                <a:gd name="T94" fmla="*/ 105 w 419"/>
                <a:gd name="T95" fmla="*/ 4 h 578"/>
                <a:gd name="T96" fmla="*/ 102 w 419"/>
                <a:gd name="T97" fmla="*/ 3 h 578"/>
                <a:gd name="T98" fmla="*/ 97 w 419"/>
                <a:gd name="T99" fmla="*/ 0 h 578"/>
                <a:gd name="T100" fmla="*/ 78 w 419"/>
                <a:gd name="T101" fmla="*/ 8 h 578"/>
                <a:gd name="T102" fmla="*/ 64 w 419"/>
                <a:gd name="T103" fmla="*/ 12 h 578"/>
                <a:gd name="T104" fmla="*/ 54 w 419"/>
                <a:gd name="T105" fmla="*/ 11 h 578"/>
                <a:gd name="T106" fmla="*/ 27 w 419"/>
                <a:gd name="T107" fmla="*/ 30 h 578"/>
                <a:gd name="T108" fmla="*/ 14 w 419"/>
                <a:gd name="T109" fmla="*/ 33 h 578"/>
                <a:gd name="T110" fmla="*/ 5 w 419"/>
                <a:gd name="T111" fmla="*/ 41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19" h="578">
                  <a:moveTo>
                    <a:pt x="9" y="126"/>
                  </a:moveTo>
                  <a:lnTo>
                    <a:pt x="36" y="176"/>
                  </a:lnTo>
                  <a:lnTo>
                    <a:pt x="39" y="203"/>
                  </a:lnTo>
                  <a:lnTo>
                    <a:pt x="24" y="233"/>
                  </a:lnTo>
                  <a:lnTo>
                    <a:pt x="6" y="248"/>
                  </a:lnTo>
                  <a:lnTo>
                    <a:pt x="0" y="296"/>
                  </a:lnTo>
                  <a:lnTo>
                    <a:pt x="6" y="305"/>
                  </a:lnTo>
                  <a:lnTo>
                    <a:pt x="18" y="299"/>
                  </a:lnTo>
                  <a:lnTo>
                    <a:pt x="24" y="305"/>
                  </a:lnTo>
                  <a:lnTo>
                    <a:pt x="24" y="335"/>
                  </a:lnTo>
                  <a:lnTo>
                    <a:pt x="39" y="374"/>
                  </a:lnTo>
                  <a:lnTo>
                    <a:pt x="57" y="380"/>
                  </a:lnTo>
                  <a:lnTo>
                    <a:pt x="57" y="434"/>
                  </a:lnTo>
                  <a:lnTo>
                    <a:pt x="48" y="470"/>
                  </a:lnTo>
                  <a:lnTo>
                    <a:pt x="57" y="485"/>
                  </a:lnTo>
                  <a:lnTo>
                    <a:pt x="75" y="503"/>
                  </a:lnTo>
                  <a:lnTo>
                    <a:pt x="119" y="494"/>
                  </a:lnTo>
                  <a:lnTo>
                    <a:pt x="128" y="509"/>
                  </a:lnTo>
                  <a:lnTo>
                    <a:pt x="113" y="527"/>
                  </a:lnTo>
                  <a:lnTo>
                    <a:pt x="93" y="560"/>
                  </a:lnTo>
                  <a:lnTo>
                    <a:pt x="93" y="569"/>
                  </a:lnTo>
                  <a:lnTo>
                    <a:pt x="105" y="578"/>
                  </a:lnTo>
                  <a:lnTo>
                    <a:pt x="194" y="542"/>
                  </a:lnTo>
                  <a:lnTo>
                    <a:pt x="227" y="560"/>
                  </a:lnTo>
                  <a:lnTo>
                    <a:pt x="236" y="551"/>
                  </a:lnTo>
                  <a:lnTo>
                    <a:pt x="227" y="533"/>
                  </a:lnTo>
                  <a:lnTo>
                    <a:pt x="230" y="518"/>
                  </a:lnTo>
                  <a:lnTo>
                    <a:pt x="242" y="437"/>
                  </a:lnTo>
                  <a:lnTo>
                    <a:pt x="257" y="416"/>
                  </a:lnTo>
                  <a:lnTo>
                    <a:pt x="263" y="392"/>
                  </a:lnTo>
                  <a:lnTo>
                    <a:pt x="278" y="359"/>
                  </a:lnTo>
                  <a:lnTo>
                    <a:pt x="272" y="344"/>
                  </a:lnTo>
                  <a:lnTo>
                    <a:pt x="272" y="317"/>
                  </a:lnTo>
                  <a:lnTo>
                    <a:pt x="311" y="272"/>
                  </a:lnTo>
                  <a:lnTo>
                    <a:pt x="308" y="242"/>
                  </a:lnTo>
                  <a:lnTo>
                    <a:pt x="335" y="200"/>
                  </a:lnTo>
                  <a:lnTo>
                    <a:pt x="359" y="206"/>
                  </a:lnTo>
                  <a:lnTo>
                    <a:pt x="410" y="170"/>
                  </a:lnTo>
                  <a:lnTo>
                    <a:pt x="419" y="153"/>
                  </a:lnTo>
                  <a:lnTo>
                    <a:pt x="386" y="93"/>
                  </a:lnTo>
                  <a:lnTo>
                    <a:pt x="365" y="63"/>
                  </a:lnTo>
                  <a:lnTo>
                    <a:pt x="380" y="51"/>
                  </a:lnTo>
                  <a:lnTo>
                    <a:pt x="362" y="33"/>
                  </a:lnTo>
                  <a:lnTo>
                    <a:pt x="314" y="33"/>
                  </a:lnTo>
                  <a:lnTo>
                    <a:pt x="293" y="9"/>
                  </a:lnTo>
                  <a:lnTo>
                    <a:pt x="254" y="48"/>
                  </a:lnTo>
                  <a:lnTo>
                    <a:pt x="239" y="42"/>
                  </a:lnTo>
                  <a:lnTo>
                    <a:pt x="257" y="12"/>
                  </a:lnTo>
                  <a:lnTo>
                    <a:pt x="254" y="3"/>
                  </a:lnTo>
                  <a:lnTo>
                    <a:pt x="239" y="0"/>
                  </a:lnTo>
                  <a:lnTo>
                    <a:pt x="194" y="24"/>
                  </a:lnTo>
                  <a:lnTo>
                    <a:pt x="158" y="36"/>
                  </a:lnTo>
                  <a:lnTo>
                    <a:pt x="131" y="33"/>
                  </a:lnTo>
                  <a:lnTo>
                    <a:pt x="66" y="90"/>
                  </a:lnTo>
                  <a:lnTo>
                    <a:pt x="33" y="102"/>
                  </a:lnTo>
                  <a:lnTo>
                    <a:pt x="9" y="126"/>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0" name="Freeform 44"/>
            <p:cNvSpPr>
              <a:spLocks/>
            </p:cNvSpPr>
            <p:nvPr/>
          </p:nvSpPr>
          <p:spPr bwMode="auto">
            <a:xfrm>
              <a:off x="4315074" y="4557737"/>
              <a:ext cx="677862" cy="747713"/>
            </a:xfrm>
            <a:custGeom>
              <a:avLst/>
              <a:gdLst>
                <a:gd name="T0" fmla="*/ 170 w 483"/>
                <a:gd name="T1" fmla="*/ 21 h 539"/>
                <a:gd name="T2" fmla="*/ 167 w 483"/>
                <a:gd name="T3" fmla="*/ 7 h 539"/>
                <a:gd name="T4" fmla="*/ 153 w 483"/>
                <a:gd name="T5" fmla="*/ 9 h 539"/>
                <a:gd name="T6" fmla="*/ 142 w 483"/>
                <a:gd name="T7" fmla="*/ 15 h 539"/>
                <a:gd name="T8" fmla="*/ 133 w 483"/>
                <a:gd name="T9" fmla="*/ 9 h 539"/>
                <a:gd name="T10" fmla="*/ 113 w 483"/>
                <a:gd name="T11" fmla="*/ 11 h 539"/>
                <a:gd name="T12" fmla="*/ 54 w 483"/>
                <a:gd name="T13" fmla="*/ 0 h 539"/>
                <a:gd name="T14" fmla="*/ 59 w 483"/>
                <a:gd name="T15" fmla="*/ 12 h 539"/>
                <a:gd name="T16" fmla="*/ 32 w 483"/>
                <a:gd name="T17" fmla="*/ 12 h 539"/>
                <a:gd name="T18" fmla="*/ 10 w 483"/>
                <a:gd name="T19" fmla="*/ 34 h 539"/>
                <a:gd name="T20" fmla="*/ 20 w 483"/>
                <a:gd name="T21" fmla="*/ 85 h 539"/>
                <a:gd name="T22" fmla="*/ 5 w 483"/>
                <a:gd name="T23" fmla="*/ 102 h 539"/>
                <a:gd name="T24" fmla="*/ 25 w 483"/>
                <a:gd name="T25" fmla="*/ 105 h 539"/>
                <a:gd name="T26" fmla="*/ 29 w 483"/>
                <a:gd name="T27" fmla="*/ 138 h 539"/>
                <a:gd name="T28" fmla="*/ 49 w 483"/>
                <a:gd name="T29" fmla="*/ 130 h 539"/>
                <a:gd name="T30" fmla="*/ 55 w 483"/>
                <a:gd name="T31" fmla="*/ 136 h 539"/>
                <a:gd name="T32" fmla="*/ 74 w 483"/>
                <a:gd name="T33" fmla="*/ 125 h 539"/>
                <a:gd name="T34" fmla="*/ 94 w 483"/>
                <a:gd name="T35" fmla="*/ 125 h 539"/>
                <a:gd name="T36" fmla="*/ 103 w 483"/>
                <a:gd name="T37" fmla="*/ 139 h 539"/>
                <a:gd name="T38" fmla="*/ 92 w 483"/>
                <a:gd name="T39" fmla="*/ 159 h 539"/>
                <a:gd name="T40" fmla="*/ 92 w 483"/>
                <a:gd name="T41" fmla="*/ 168 h 539"/>
                <a:gd name="T42" fmla="*/ 110 w 483"/>
                <a:gd name="T43" fmla="*/ 176 h 539"/>
                <a:gd name="T44" fmla="*/ 124 w 483"/>
                <a:gd name="T45" fmla="*/ 172 h 539"/>
                <a:gd name="T46" fmla="*/ 133 w 483"/>
                <a:gd name="T47" fmla="*/ 159 h 539"/>
                <a:gd name="T48" fmla="*/ 145 w 483"/>
                <a:gd name="T49" fmla="*/ 156 h 539"/>
                <a:gd name="T50" fmla="*/ 163 w 483"/>
                <a:gd name="T51" fmla="*/ 159 h 539"/>
                <a:gd name="T52" fmla="*/ 161 w 483"/>
                <a:gd name="T53" fmla="*/ 149 h 539"/>
                <a:gd name="T54" fmla="*/ 189 w 483"/>
                <a:gd name="T55" fmla="*/ 148 h 539"/>
                <a:gd name="T56" fmla="*/ 194 w 483"/>
                <a:gd name="T57" fmla="*/ 136 h 539"/>
                <a:gd name="T58" fmla="*/ 199 w 483"/>
                <a:gd name="T59" fmla="*/ 106 h 539"/>
                <a:gd name="T60" fmla="*/ 185 w 483"/>
                <a:gd name="T61" fmla="*/ 91 h 539"/>
                <a:gd name="T62" fmla="*/ 183 w 483"/>
                <a:gd name="T63" fmla="*/ 80 h 539"/>
                <a:gd name="T64" fmla="*/ 176 w 483"/>
                <a:gd name="T65" fmla="*/ 80 h 539"/>
                <a:gd name="T66" fmla="*/ 185 w 483"/>
                <a:gd name="T67" fmla="*/ 57 h 539"/>
                <a:gd name="T68" fmla="*/ 190 w 483"/>
                <a:gd name="T69" fmla="*/ 40 h 5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83" h="539">
                  <a:moveTo>
                    <a:pt x="435" y="72"/>
                  </a:moveTo>
                  <a:lnTo>
                    <a:pt x="414" y="66"/>
                  </a:lnTo>
                  <a:lnTo>
                    <a:pt x="405" y="54"/>
                  </a:lnTo>
                  <a:lnTo>
                    <a:pt x="405" y="21"/>
                  </a:lnTo>
                  <a:lnTo>
                    <a:pt x="396" y="6"/>
                  </a:lnTo>
                  <a:lnTo>
                    <a:pt x="372" y="27"/>
                  </a:lnTo>
                  <a:lnTo>
                    <a:pt x="360" y="45"/>
                  </a:lnTo>
                  <a:lnTo>
                    <a:pt x="345" y="45"/>
                  </a:lnTo>
                  <a:lnTo>
                    <a:pt x="342" y="18"/>
                  </a:lnTo>
                  <a:lnTo>
                    <a:pt x="321" y="27"/>
                  </a:lnTo>
                  <a:lnTo>
                    <a:pt x="291" y="45"/>
                  </a:lnTo>
                  <a:lnTo>
                    <a:pt x="273" y="33"/>
                  </a:lnTo>
                  <a:lnTo>
                    <a:pt x="237" y="9"/>
                  </a:lnTo>
                  <a:lnTo>
                    <a:pt x="132" y="0"/>
                  </a:lnTo>
                  <a:lnTo>
                    <a:pt x="123" y="12"/>
                  </a:lnTo>
                  <a:lnTo>
                    <a:pt x="144" y="36"/>
                  </a:lnTo>
                  <a:lnTo>
                    <a:pt x="117" y="54"/>
                  </a:lnTo>
                  <a:lnTo>
                    <a:pt x="78" y="36"/>
                  </a:lnTo>
                  <a:lnTo>
                    <a:pt x="39" y="72"/>
                  </a:lnTo>
                  <a:lnTo>
                    <a:pt x="24" y="104"/>
                  </a:lnTo>
                  <a:lnTo>
                    <a:pt x="27" y="179"/>
                  </a:lnTo>
                  <a:lnTo>
                    <a:pt x="48" y="257"/>
                  </a:lnTo>
                  <a:lnTo>
                    <a:pt x="0" y="308"/>
                  </a:lnTo>
                  <a:lnTo>
                    <a:pt x="6" y="314"/>
                  </a:lnTo>
                  <a:lnTo>
                    <a:pt x="48" y="302"/>
                  </a:lnTo>
                  <a:lnTo>
                    <a:pt x="60" y="320"/>
                  </a:lnTo>
                  <a:lnTo>
                    <a:pt x="51" y="377"/>
                  </a:lnTo>
                  <a:lnTo>
                    <a:pt x="72" y="419"/>
                  </a:lnTo>
                  <a:lnTo>
                    <a:pt x="96" y="425"/>
                  </a:lnTo>
                  <a:lnTo>
                    <a:pt x="117" y="395"/>
                  </a:lnTo>
                  <a:lnTo>
                    <a:pt x="129" y="419"/>
                  </a:lnTo>
                  <a:lnTo>
                    <a:pt x="135" y="416"/>
                  </a:lnTo>
                  <a:lnTo>
                    <a:pt x="171" y="383"/>
                  </a:lnTo>
                  <a:lnTo>
                    <a:pt x="180" y="383"/>
                  </a:lnTo>
                  <a:lnTo>
                    <a:pt x="198" y="377"/>
                  </a:lnTo>
                  <a:lnTo>
                    <a:pt x="228" y="383"/>
                  </a:lnTo>
                  <a:lnTo>
                    <a:pt x="228" y="416"/>
                  </a:lnTo>
                  <a:lnTo>
                    <a:pt x="249" y="422"/>
                  </a:lnTo>
                  <a:lnTo>
                    <a:pt x="243" y="452"/>
                  </a:lnTo>
                  <a:lnTo>
                    <a:pt x="222" y="485"/>
                  </a:lnTo>
                  <a:lnTo>
                    <a:pt x="213" y="515"/>
                  </a:lnTo>
                  <a:lnTo>
                    <a:pt x="222" y="515"/>
                  </a:lnTo>
                  <a:lnTo>
                    <a:pt x="246" y="494"/>
                  </a:lnTo>
                  <a:lnTo>
                    <a:pt x="267" y="539"/>
                  </a:lnTo>
                  <a:lnTo>
                    <a:pt x="285" y="527"/>
                  </a:lnTo>
                  <a:lnTo>
                    <a:pt x="303" y="527"/>
                  </a:lnTo>
                  <a:lnTo>
                    <a:pt x="321" y="515"/>
                  </a:lnTo>
                  <a:lnTo>
                    <a:pt x="321" y="485"/>
                  </a:lnTo>
                  <a:lnTo>
                    <a:pt x="330" y="479"/>
                  </a:lnTo>
                  <a:lnTo>
                    <a:pt x="351" y="479"/>
                  </a:lnTo>
                  <a:lnTo>
                    <a:pt x="390" y="497"/>
                  </a:lnTo>
                  <a:lnTo>
                    <a:pt x="396" y="485"/>
                  </a:lnTo>
                  <a:lnTo>
                    <a:pt x="387" y="467"/>
                  </a:lnTo>
                  <a:lnTo>
                    <a:pt x="390" y="458"/>
                  </a:lnTo>
                  <a:lnTo>
                    <a:pt x="414" y="437"/>
                  </a:lnTo>
                  <a:lnTo>
                    <a:pt x="459" y="449"/>
                  </a:lnTo>
                  <a:lnTo>
                    <a:pt x="483" y="431"/>
                  </a:lnTo>
                  <a:lnTo>
                    <a:pt x="474" y="416"/>
                  </a:lnTo>
                  <a:lnTo>
                    <a:pt x="483" y="380"/>
                  </a:lnTo>
                  <a:lnTo>
                    <a:pt x="483" y="326"/>
                  </a:lnTo>
                  <a:lnTo>
                    <a:pt x="465" y="320"/>
                  </a:lnTo>
                  <a:lnTo>
                    <a:pt x="450" y="281"/>
                  </a:lnTo>
                  <a:lnTo>
                    <a:pt x="450" y="251"/>
                  </a:lnTo>
                  <a:lnTo>
                    <a:pt x="444" y="245"/>
                  </a:lnTo>
                  <a:lnTo>
                    <a:pt x="432" y="251"/>
                  </a:lnTo>
                  <a:lnTo>
                    <a:pt x="426" y="242"/>
                  </a:lnTo>
                  <a:lnTo>
                    <a:pt x="432" y="194"/>
                  </a:lnTo>
                  <a:lnTo>
                    <a:pt x="450" y="179"/>
                  </a:lnTo>
                  <a:lnTo>
                    <a:pt x="465" y="149"/>
                  </a:lnTo>
                  <a:lnTo>
                    <a:pt x="462" y="122"/>
                  </a:lnTo>
                  <a:lnTo>
                    <a:pt x="435" y="7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1" name="Freeform 45"/>
            <p:cNvSpPr>
              <a:spLocks/>
            </p:cNvSpPr>
            <p:nvPr/>
          </p:nvSpPr>
          <p:spPr bwMode="auto">
            <a:xfrm>
              <a:off x="3659436" y="4702200"/>
              <a:ext cx="755650" cy="652462"/>
            </a:xfrm>
            <a:custGeom>
              <a:avLst/>
              <a:gdLst>
                <a:gd name="T0" fmla="*/ 61 w 539"/>
                <a:gd name="T1" fmla="*/ 51 h 471"/>
                <a:gd name="T2" fmla="*/ 56 w 539"/>
                <a:gd name="T3" fmla="*/ 63 h 471"/>
                <a:gd name="T4" fmla="*/ 47 w 539"/>
                <a:gd name="T5" fmla="*/ 67 h 471"/>
                <a:gd name="T6" fmla="*/ 27 w 539"/>
                <a:gd name="T7" fmla="*/ 63 h 471"/>
                <a:gd name="T8" fmla="*/ 23 w 539"/>
                <a:gd name="T9" fmla="*/ 67 h 471"/>
                <a:gd name="T10" fmla="*/ 12 w 539"/>
                <a:gd name="T11" fmla="*/ 64 h 471"/>
                <a:gd name="T12" fmla="*/ 0 w 539"/>
                <a:gd name="T13" fmla="*/ 76 h 471"/>
                <a:gd name="T14" fmla="*/ 5 w 539"/>
                <a:gd name="T15" fmla="*/ 79 h 471"/>
                <a:gd name="T16" fmla="*/ 5 w 539"/>
                <a:gd name="T17" fmla="*/ 87 h 471"/>
                <a:gd name="T18" fmla="*/ 10 w 539"/>
                <a:gd name="T19" fmla="*/ 94 h 471"/>
                <a:gd name="T20" fmla="*/ 31 w 539"/>
                <a:gd name="T21" fmla="*/ 88 h 471"/>
                <a:gd name="T22" fmla="*/ 37 w 539"/>
                <a:gd name="T23" fmla="*/ 94 h 471"/>
                <a:gd name="T24" fmla="*/ 27 w 539"/>
                <a:gd name="T25" fmla="*/ 124 h 471"/>
                <a:gd name="T26" fmla="*/ 39 w 539"/>
                <a:gd name="T27" fmla="*/ 133 h 471"/>
                <a:gd name="T28" fmla="*/ 36 w 539"/>
                <a:gd name="T29" fmla="*/ 152 h 471"/>
                <a:gd name="T30" fmla="*/ 48 w 539"/>
                <a:gd name="T31" fmla="*/ 153 h 471"/>
                <a:gd name="T32" fmla="*/ 61 w 539"/>
                <a:gd name="T33" fmla="*/ 142 h 471"/>
                <a:gd name="T34" fmla="*/ 66 w 539"/>
                <a:gd name="T35" fmla="*/ 147 h 471"/>
                <a:gd name="T36" fmla="*/ 93 w 539"/>
                <a:gd name="T37" fmla="*/ 154 h 471"/>
                <a:gd name="T38" fmla="*/ 95 w 539"/>
                <a:gd name="T39" fmla="*/ 152 h 471"/>
                <a:gd name="T40" fmla="*/ 97 w 539"/>
                <a:gd name="T41" fmla="*/ 145 h 471"/>
                <a:gd name="T42" fmla="*/ 103 w 539"/>
                <a:gd name="T43" fmla="*/ 140 h 471"/>
                <a:gd name="T44" fmla="*/ 137 w 539"/>
                <a:gd name="T45" fmla="*/ 122 h 471"/>
                <a:gd name="T46" fmla="*/ 144 w 539"/>
                <a:gd name="T47" fmla="*/ 128 h 471"/>
                <a:gd name="T48" fmla="*/ 166 w 539"/>
                <a:gd name="T49" fmla="*/ 133 h 471"/>
                <a:gd name="T50" fmla="*/ 176 w 539"/>
                <a:gd name="T51" fmla="*/ 122 h 471"/>
                <a:gd name="T52" fmla="*/ 183 w 539"/>
                <a:gd name="T53" fmla="*/ 124 h 471"/>
                <a:gd name="T54" fmla="*/ 191 w 539"/>
                <a:gd name="T55" fmla="*/ 124 h 471"/>
                <a:gd name="T56" fmla="*/ 191 w 539"/>
                <a:gd name="T57" fmla="*/ 121 h 471"/>
                <a:gd name="T58" fmla="*/ 201 w 539"/>
                <a:gd name="T59" fmla="*/ 117 h 471"/>
                <a:gd name="T60" fmla="*/ 201 w 539"/>
                <a:gd name="T61" fmla="*/ 114 h 471"/>
                <a:gd name="T62" fmla="*/ 208 w 539"/>
                <a:gd name="T63" fmla="*/ 111 h 471"/>
                <a:gd name="T64" fmla="*/ 209 w 539"/>
                <a:gd name="T65" fmla="*/ 111 h 471"/>
                <a:gd name="T66" fmla="*/ 220 w 539"/>
                <a:gd name="T67" fmla="*/ 103 h 471"/>
                <a:gd name="T68" fmla="*/ 212 w 539"/>
                <a:gd name="T69" fmla="*/ 88 h 471"/>
                <a:gd name="T70" fmla="*/ 217 w 539"/>
                <a:gd name="T71" fmla="*/ 71 h 471"/>
                <a:gd name="T72" fmla="*/ 210 w 539"/>
                <a:gd name="T73" fmla="*/ 64 h 471"/>
                <a:gd name="T74" fmla="*/ 193 w 539"/>
                <a:gd name="T75" fmla="*/ 69 h 471"/>
                <a:gd name="T76" fmla="*/ 191 w 539"/>
                <a:gd name="T77" fmla="*/ 67 h 471"/>
                <a:gd name="T78" fmla="*/ 210 w 539"/>
                <a:gd name="T79" fmla="*/ 50 h 471"/>
                <a:gd name="T80" fmla="*/ 201 w 539"/>
                <a:gd name="T81" fmla="*/ 24 h 471"/>
                <a:gd name="T82" fmla="*/ 191 w 539"/>
                <a:gd name="T83" fmla="*/ 31 h 471"/>
                <a:gd name="T84" fmla="*/ 179 w 539"/>
                <a:gd name="T85" fmla="*/ 22 h 471"/>
                <a:gd name="T86" fmla="*/ 168 w 539"/>
                <a:gd name="T87" fmla="*/ 12 h 471"/>
                <a:gd name="T88" fmla="*/ 168 w 539"/>
                <a:gd name="T89" fmla="*/ 4 h 471"/>
                <a:gd name="T90" fmla="*/ 161 w 539"/>
                <a:gd name="T91" fmla="*/ 4 h 471"/>
                <a:gd name="T92" fmla="*/ 152 w 539"/>
                <a:gd name="T93" fmla="*/ 6 h 471"/>
                <a:gd name="T94" fmla="*/ 139 w 539"/>
                <a:gd name="T95" fmla="*/ 0 h 471"/>
                <a:gd name="T96" fmla="*/ 132 w 539"/>
                <a:gd name="T97" fmla="*/ 13 h 471"/>
                <a:gd name="T98" fmla="*/ 119 w 539"/>
                <a:gd name="T99" fmla="*/ 13 h 471"/>
                <a:gd name="T100" fmla="*/ 111 w 539"/>
                <a:gd name="T101" fmla="*/ 24 h 471"/>
                <a:gd name="T102" fmla="*/ 106 w 539"/>
                <a:gd name="T103" fmla="*/ 21 h 471"/>
                <a:gd name="T104" fmla="*/ 97 w 539"/>
                <a:gd name="T105" fmla="*/ 24 h 471"/>
                <a:gd name="T106" fmla="*/ 85 w 539"/>
                <a:gd name="T107" fmla="*/ 19 h 471"/>
                <a:gd name="T108" fmla="*/ 73 w 539"/>
                <a:gd name="T109" fmla="*/ 27 h 471"/>
                <a:gd name="T110" fmla="*/ 73 w 539"/>
                <a:gd name="T111" fmla="*/ 32 h 471"/>
                <a:gd name="T112" fmla="*/ 94 w 539"/>
                <a:gd name="T113" fmla="*/ 41 h 471"/>
                <a:gd name="T114" fmla="*/ 100 w 539"/>
                <a:gd name="T115" fmla="*/ 48 h 471"/>
                <a:gd name="T116" fmla="*/ 85 w 539"/>
                <a:gd name="T117" fmla="*/ 51 h 471"/>
                <a:gd name="T118" fmla="*/ 61 w 539"/>
                <a:gd name="T119" fmla="*/ 51 h 4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39" h="471">
                  <a:moveTo>
                    <a:pt x="150" y="159"/>
                  </a:moveTo>
                  <a:lnTo>
                    <a:pt x="138" y="195"/>
                  </a:lnTo>
                  <a:lnTo>
                    <a:pt x="114" y="204"/>
                  </a:lnTo>
                  <a:lnTo>
                    <a:pt x="66" y="195"/>
                  </a:lnTo>
                  <a:lnTo>
                    <a:pt x="54" y="207"/>
                  </a:lnTo>
                  <a:lnTo>
                    <a:pt x="27" y="198"/>
                  </a:lnTo>
                  <a:lnTo>
                    <a:pt x="0" y="234"/>
                  </a:lnTo>
                  <a:lnTo>
                    <a:pt x="12" y="243"/>
                  </a:lnTo>
                  <a:lnTo>
                    <a:pt x="12" y="267"/>
                  </a:lnTo>
                  <a:lnTo>
                    <a:pt x="24" y="288"/>
                  </a:lnTo>
                  <a:lnTo>
                    <a:pt x="75" y="273"/>
                  </a:lnTo>
                  <a:lnTo>
                    <a:pt x="90" y="285"/>
                  </a:lnTo>
                  <a:lnTo>
                    <a:pt x="66" y="381"/>
                  </a:lnTo>
                  <a:lnTo>
                    <a:pt x="96" y="411"/>
                  </a:lnTo>
                  <a:lnTo>
                    <a:pt x="87" y="465"/>
                  </a:lnTo>
                  <a:lnTo>
                    <a:pt x="117" y="468"/>
                  </a:lnTo>
                  <a:lnTo>
                    <a:pt x="150" y="438"/>
                  </a:lnTo>
                  <a:lnTo>
                    <a:pt x="162" y="447"/>
                  </a:lnTo>
                  <a:lnTo>
                    <a:pt x="225" y="471"/>
                  </a:lnTo>
                  <a:lnTo>
                    <a:pt x="234" y="465"/>
                  </a:lnTo>
                  <a:lnTo>
                    <a:pt x="237" y="444"/>
                  </a:lnTo>
                  <a:lnTo>
                    <a:pt x="249" y="432"/>
                  </a:lnTo>
                  <a:lnTo>
                    <a:pt x="335" y="375"/>
                  </a:lnTo>
                  <a:lnTo>
                    <a:pt x="350" y="393"/>
                  </a:lnTo>
                  <a:lnTo>
                    <a:pt x="404" y="411"/>
                  </a:lnTo>
                  <a:lnTo>
                    <a:pt x="431" y="372"/>
                  </a:lnTo>
                  <a:lnTo>
                    <a:pt x="446" y="381"/>
                  </a:lnTo>
                  <a:lnTo>
                    <a:pt x="467" y="381"/>
                  </a:lnTo>
                  <a:lnTo>
                    <a:pt x="467" y="369"/>
                  </a:lnTo>
                  <a:lnTo>
                    <a:pt x="494" y="360"/>
                  </a:lnTo>
                  <a:lnTo>
                    <a:pt x="494" y="351"/>
                  </a:lnTo>
                  <a:lnTo>
                    <a:pt x="506" y="339"/>
                  </a:lnTo>
                  <a:lnTo>
                    <a:pt x="512" y="342"/>
                  </a:lnTo>
                  <a:lnTo>
                    <a:pt x="539" y="315"/>
                  </a:lnTo>
                  <a:lnTo>
                    <a:pt x="518" y="273"/>
                  </a:lnTo>
                  <a:lnTo>
                    <a:pt x="527" y="216"/>
                  </a:lnTo>
                  <a:lnTo>
                    <a:pt x="515" y="198"/>
                  </a:lnTo>
                  <a:lnTo>
                    <a:pt x="473" y="210"/>
                  </a:lnTo>
                  <a:lnTo>
                    <a:pt x="467" y="204"/>
                  </a:lnTo>
                  <a:lnTo>
                    <a:pt x="515" y="153"/>
                  </a:lnTo>
                  <a:lnTo>
                    <a:pt x="494" y="75"/>
                  </a:lnTo>
                  <a:lnTo>
                    <a:pt x="464" y="96"/>
                  </a:lnTo>
                  <a:lnTo>
                    <a:pt x="437" y="69"/>
                  </a:lnTo>
                  <a:lnTo>
                    <a:pt x="413" y="36"/>
                  </a:lnTo>
                  <a:lnTo>
                    <a:pt x="410" y="15"/>
                  </a:lnTo>
                  <a:lnTo>
                    <a:pt x="392" y="9"/>
                  </a:lnTo>
                  <a:lnTo>
                    <a:pt x="371" y="18"/>
                  </a:lnTo>
                  <a:lnTo>
                    <a:pt x="338" y="0"/>
                  </a:lnTo>
                  <a:lnTo>
                    <a:pt x="320" y="39"/>
                  </a:lnTo>
                  <a:lnTo>
                    <a:pt x="290" y="42"/>
                  </a:lnTo>
                  <a:lnTo>
                    <a:pt x="269" y="75"/>
                  </a:lnTo>
                  <a:lnTo>
                    <a:pt x="258" y="66"/>
                  </a:lnTo>
                  <a:lnTo>
                    <a:pt x="237" y="75"/>
                  </a:lnTo>
                  <a:lnTo>
                    <a:pt x="207" y="57"/>
                  </a:lnTo>
                  <a:lnTo>
                    <a:pt x="180" y="84"/>
                  </a:lnTo>
                  <a:lnTo>
                    <a:pt x="180" y="99"/>
                  </a:lnTo>
                  <a:lnTo>
                    <a:pt x="231" y="126"/>
                  </a:lnTo>
                  <a:lnTo>
                    <a:pt x="243" y="147"/>
                  </a:lnTo>
                  <a:lnTo>
                    <a:pt x="207" y="159"/>
                  </a:lnTo>
                  <a:lnTo>
                    <a:pt x="150" y="159"/>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2" name="Freeform 46"/>
            <p:cNvSpPr>
              <a:spLocks/>
            </p:cNvSpPr>
            <p:nvPr/>
          </p:nvSpPr>
          <p:spPr bwMode="auto">
            <a:xfrm>
              <a:off x="5424736" y="4257700"/>
              <a:ext cx="476250" cy="542925"/>
            </a:xfrm>
            <a:custGeom>
              <a:avLst/>
              <a:gdLst>
                <a:gd name="T0" fmla="*/ 102 w 339"/>
                <a:gd name="T1" fmla="*/ 121 h 392"/>
                <a:gd name="T2" fmla="*/ 79 w 339"/>
                <a:gd name="T3" fmla="*/ 126 h 392"/>
                <a:gd name="T4" fmla="*/ 67 w 339"/>
                <a:gd name="T5" fmla="*/ 116 h 392"/>
                <a:gd name="T6" fmla="*/ 59 w 339"/>
                <a:gd name="T7" fmla="*/ 124 h 392"/>
                <a:gd name="T8" fmla="*/ 45 w 339"/>
                <a:gd name="T9" fmla="*/ 124 h 392"/>
                <a:gd name="T10" fmla="*/ 40 w 339"/>
                <a:gd name="T11" fmla="*/ 116 h 392"/>
                <a:gd name="T12" fmla="*/ 34 w 339"/>
                <a:gd name="T13" fmla="*/ 104 h 392"/>
                <a:gd name="T14" fmla="*/ 22 w 339"/>
                <a:gd name="T15" fmla="*/ 102 h 392"/>
                <a:gd name="T16" fmla="*/ 9 w 339"/>
                <a:gd name="T17" fmla="*/ 83 h 392"/>
                <a:gd name="T18" fmla="*/ 0 w 339"/>
                <a:gd name="T19" fmla="*/ 72 h 392"/>
                <a:gd name="T20" fmla="*/ 5 w 339"/>
                <a:gd name="T21" fmla="*/ 69 h 392"/>
                <a:gd name="T22" fmla="*/ 9 w 339"/>
                <a:gd name="T23" fmla="*/ 66 h 392"/>
                <a:gd name="T24" fmla="*/ 22 w 339"/>
                <a:gd name="T25" fmla="*/ 50 h 392"/>
                <a:gd name="T26" fmla="*/ 22 w 339"/>
                <a:gd name="T27" fmla="*/ 39 h 392"/>
                <a:gd name="T28" fmla="*/ 27 w 339"/>
                <a:gd name="T29" fmla="*/ 34 h 392"/>
                <a:gd name="T30" fmla="*/ 37 w 339"/>
                <a:gd name="T31" fmla="*/ 32 h 392"/>
                <a:gd name="T32" fmla="*/ 40 w 339"/>
                <a:gd name="T33" fmla="*/ 29 h 392"/>
                <a:gd name="T34" fmla="*/ 37 w 339"/>
                <a:gd name="T35" fmla="*/ 22 h 392"/>
                <a:gd name="T36" fmla="*/ 41 w 339"/>
                <a:gd name="T37" fmla="*/ 17 h 392"/>
                <a:gd name="T38" fmla="*/ 41 w 339"/>
                <a:gd name="T39" fmla="*/ 4 h 392"/>
                <a:gd name="T40" fmla="*/ 49 w 339"/>
                <a:gd name="T41" fmla="*/ 4 h 392"/>
                <a:gd name="T42" fmla="*/ 63 w 339"/>
                <a:gd name="T43" fmla="*/ 8 h 392"/>
                <a:gd name="T44" fmla="*/ 78 w 339"/>
                <a:gd name="T45" fmla="*/ 10 h 392"/>
                <a:gd name="T46" fmla="*/ 89 w 339"/>
                <a:gd name="T47" fmla="*/ 0 h 392"/>
                <a:gd name="T48" fmla="*/ 102 w 339"/>
                <a:gd name="T49" fmla="*/ 9 h 392"/>
                <a:gd name="T50" fmla="*/ 95 w 339"/>
                <a:gd name="T51" fmla="*/ 12 h 392"/>
                <a:gd name="T52" fmla="*/ 90 w 339"/>
                <a:gd name="T53" fmla="*/ 21 h 392"/>
                <a:gd name="T54" fmla="*/ 79 w 339"/>
                <a:gd name="T55" fmla="*/ 22 h 392"/>
                <a:gd name="T56" fmla="*/ 76 w 339"/>
                <a:gd name="T57" fmla="*/ 24 h 392"/>
                <a:gd name="T58" fmla="*/ 85 w 339"/>
                <a:gd name="T59" fmla="*/ 29 h 392"/>
                <a:gd name="T60" fmla="*/ 103 w 339"/>
                <a:gd name="T61" fmla="*/ 22 h 392"/>
                <a:gd name="T62" fmla="*/ 134 w 339"/>
                <a:gd name="T63" fmla="*/ 33 h 392"/>
                <a:gd name="T64" fmla="*/ 139 w 339"/>
                <a:gd name="T65" fmla="*/ 53 h 392"/>
                <a:gd name="T66" fmla="*/ 125 w 339"/>
                <a:gd name="T67" fmla="*/ 53 h 392"/>
                <a:gd name="T68" fmla="*/ 125 w 339"/>
                <a:gd name="T69" fmla="*/ 59 h 392"/>
                <a:gd name="T70" fmla="*/ 132 w 339"/>
                <a:gd name="T71" fmla="*/ 69 h 392"/>
                <a:gd name="T72" fmla="*/ 125 w 339"/>
                <a:gd name="T73" fmla="*/ 72 h 392"/>
                <a:gd name="T74" fmla="*/ 133 w 339"/>
                <a:gd name="T75" fmla="*/ 81 h 392"/>
                <a:gd name="T76" fmla="*/ 123 w 339"/>
                <a:gd name="T77" fmla="*/ 91 h 392"/>
                <a:gd name="T78" fmla="*/ 118 w 339"/>
                <a:gd name="T79" fmla="*/ 86 h 392"/>
                <a:gd name="T80" fmla="*/ 102 w 339"/>
                <a:gd name="T81" fmla="*/ 116 h 392"/>
                <a:gd name="T82" fmla="*/ 102 w 339"/>
                <a:gd name="T83" fmla="*/ 121 h 3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39" h="392">
                  <a:moveTo>
                    <a:pt x="246" y="374"/>
                  </a:moveTo>
                  <a:lnTo>
                    <a:pt x="195" y="392"/>
                  </a:lnTo>
                  <a:lnTo>
                    <a:pt x="165" y="362"/>
                  </a:lnTo>
                  <a:lnTo>
                    <a:pt x="144" y="386"/>
                  </a:lnTo>
                  <a:lnTo>
                    <a:pt x="111" y="386"/>
                  </a:lnTo>
                  <a:lnTo>
                    <a:pt x="99" y="359"/>
                  </a:lnTo>
                  <a:lnTo>
                    <a:pt x="84" y="320"/>
                  </a:lnTo>
                  <a:lnTo>
                    <a:pt x="54" y="315"/>
                  </a:lnTo>
                  <a:lnTo>
                    <a:pt x="21" y="255"/>
                  </a:lnTo>
                  <a:lnTo>
                    <a:pt x="0" y="225"/>
                  </a:lnTo>
                  <a:lnTo>
                    <a:pt x="15" y="213"/>
                  </a:lnTo>
                  <a:lnTo>
                    <a:pt x="21" y="207"/>
                  </a:lnTo>
                  <a:lnTo>
                    <a:pt x="54" y="159"/>
                  </a:lnTo>
                  <a:lnTo>
                    <a:pt x="54" y="120"/>
                  </a:lnTo>
                  <a:lnTo>
                    <a:pt x="66" y="105"/>
                  </a:lnTo>
                  <a:lnTo>
                    <a:pt x="90" y="99"/>
                  </a:lnTo>
                  <a:lnTo>
                    <a:pt x="99" y="87"/>
                  </a:lnTo>
                  <a:lnTo>
                    <a:pt x="90" y="69"/>
                  </a:lnTo>
                  <a:lnTo>
                    <a:pt x="102" y="51"/>
                  </a:lnTo>
                  <a:lnTo>
                    <a:pt x="102" y="15"/>
                  </a:lnTo>
                  <a:lnTo>
                    <a:pt x="123" y="6"/>
                  </a:lnTo>
                  <a:lnTo>
                    <a:pt x="153" y="24"/>
                  </a:lnTo>
                  <a:lnTo>
                    <a:pt x="192" y="30"/>
                  </a:lnTo>
                  <a:lnTo>
                    <a:pt x="216" y="0"/>
                  </a:lnTo>
                  <a:lnTo>
                    <a:pt x="249" y="27"/>
                  </a:lnTo>
                  <a:lnTo>
                    <a:pt x="234" y="36"/>
                  </a:lnTo>
                  <a:lnTo>
                    <a:pt x="219" y="63"/>
                  </a:lnTo>
                  <a:lnTo>
                    <a:pt x="195" y="69"/>
                  </a:lnTo>
                  <a:lnTo>
                    <a:pt x="186" y="75"/>
                  </a:lnTo>
                  <a:lnTo>
                    <a:pt x="210" y="90"/>
                  </a:lnTo>
                  <a:lnTo>
                    <a:pt x="255" y="69"/>
                  </a:lnTo>
                  <a:lnTo>
                    <a:pt x="330" y="102"/>
                  </a:lnTo>
                  <a:lnTo>
                    <a:pt x="339" y="165"/>
                  </a:lnTo>
                  <a:lnTo>
                    <a:pt x="306" y="165"/>
                  </a:lnTo>
                  <a:lnTo>
                    <a:pt x="306" y="183"/>
                  </a:lnTo>
                  <a:lnTo>
                    <a:pt x="321" y="210"/>
                  </a:lnTo>
                  <a:lnTo>
                    <a:pt x="306" y="225"/>
                  </a:lnTo>
                  <a:lnTo>
                    <a:pt x="324" y="252"/>
                  </a:lnTo>
                  <a:lnTo>
                    <a:pt x="300" y="282"/>
                  </a:lnTo>
                  <a:lnTo>
                    <a:pt x="288" y="267"/>
                  </a:lnTo>
                  <a:lnTo>
                    <a:pt x="252" y="359"/>
                  </a:lnTo>
                  <a:lnTo>
                    <a:pt x="246" y="374"/>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3" name="Freeform 47"/>
            <p:cNvSpPr>
              <a:spLocks/>
            </p:cNvSpPr>
            <p:nvPr/>
          </p:nvSpPr>
          <p:spPr bwMode="auto">
            <a:xfrm>
              <a:off x="4980236" y="3852887"/>
              <a:ext cx="587375" cy="700088"/>
            </a:xfrm>
            <a:custGeom>
              <a:avLst/>
              <a:gdLst>
                <a:gd name="T0" fmla="*/ 41 w 419"/>
                <a:gd name="T1" fmla="*/ 0 h 504"/>
                <a:gd name="T2" fmla="*/ 70 w 419"/>
                <a:gd name="T3" fmla="*/ 15 h 504"/>
                <a:gd name="T4" fmla="*/ 93 w 419"/>
                <a:gd name="T5" fmla="*/ 22 h 504"/>
                <a:gd name="T6" fmla="*/ 105 w 419"/>
                <a:gd name="T7" fmla="*/ 24 h 504"/>
                <a:gd name="T8" fmla="*/ 112 w 419"/>
                <a:gd name="T9" fmla="*/ 45 h 504"/>
                <a:gd name="T10" fmla="*/ 129 w 419"/>
                <a:gd name="T11" fmla="*/ 51 h 504"/>
                <a:gd name="T12" fmla="*/ 143 w 419"/>
                <a:gd name="T13" fmla="*/ 46 h 504"/>
                <a:gd name="T14" fmla="*/ 147 w 419"/>
                <a:gd name="T15" fmla="*/ 57 h 504"/>
                <a:gd name="T16" fmla="*/ 131 w 419"/>
                <a:gd name="T17" fmla="*/ 64 h 504"/>
                <a:gd name="T18" fmla="*/ 124 w 419"/>
                <a:gd name="T19" fmla="*/ 76 h 504"/>
                <a:gd name="T20" fmla="*/ 143 w 419"/>
                <a:gd name="T21" fmla="*/ 89 h 504"/>
                <a:gd name="T22" fmla="*/ 171 w 419"/>
                <a:gd name="T23" fmla="*/ 100 h 504"/>
                <a:gd name="T24" fmla="*/ 166 w 419"/>
                <a:gd name="T25" fmla="*/ 119 h 504"/>
                <a:gd name="T26" fmla="*/ 166 w 419"/>
                <a:gd name="T27" fmla="*/ 128 h 504"/>
                <a:gd name="T28" fmla="*/ 151 w 419"/>
                <a:gd name="T29" fmla="*/ 134 h 504"/>
                <a:gd name="T30" fmla="*/ 138 w 419"/>
                <a:gd name="T31" fmla="*/ 164 h 504"/>
                <a:gd name="T32" fmla="*/ 127 w 419"/>
                <a:gd name="T33" fmla="*/ 160 h 504"/>
                <a:gd name="T34" fmla="*/ 101 w 419"/>
                <a:gd name="T35" fmla="*/ 152 h 504"/>
                <a:gd name="T36" fmla="*/ 78 w 419"/>
                <a:gd name="T37" fmla="*/ 163 h 504"/>
                <a:gd name="T38" fmla="*/ 84 w 419"/>
                <a:gd name="T39" fmla="*/ 149 h 504"/>
                <a:gd name="T40" fmla="*/ 59 w 419"/>
                <a:gd name="T41" fmla="*/ 157 h 504"/>
                <a:gd name="T42" fmla="*/ 48 w 419"/>
                <a:gd name="T43" fmla="*/ 121 h 504"/>
                <a:gd name="T44" fmla="*/ 37 w 419"/>
                <a:gd name="T45" fmla="*/ 117 h 504"/>
                <a:gd name="T46" fmla="*/ 28 w 419"/>
                <a:gd name="T47" fmla="*/ 98 h 504"/>
                <a:gd name="T48" fmla="*/ 39 w 419"/>
                <a:gd name="T49" fmla="*/ 85 h 504"/>
                <a:gd name="T50" fmla="*/ 34 w 419"/>
                <a:gd name="T51" fmla="*/ 71 h 504"/>
                <a:gd name="T52" fmla="*/ 12 w 419"/>
                <a:gd name="T53" fmla="*/ 68 h 504"/>
                <a:gd name="T54" fmla="*/ 12 w 419"/>
                <a:gd name="T55" fmla="*/ 51 h 504"/>
                <a:gd name="T56" fmla="*/ 20 w 419"/>
                <a:gd name="T57" fmla="*/ 37 h 504"/>
                <a:gd name="T58" fmla="*/ 24 w 419"/>
                <a:gd name="T59" fmla="*/ 21 h 504"/>
                <a:gd name="T60" fmla="*/ 37 w 419"/>
                <a:gd name="T61" fmla="*/ 30 h 504"/>
                <a:gd name="T62" fmla="*/ 53 w 419"/>
                <a:gd name="T63" fmla="*/ 21 h 504"/>
                <a:gd name="T64" fmla="*/ 37 w 419"/>
                <a:gd name="T65" fmla="*/ 9 h 5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9" h="504">
                  <a:moveTo>
                    <a:pt x="83" y="6"/>
                  </a:moveTo>
                  <a:lnTo>
                    <a:pt x="101" y="0"/>
                  </a:lnTo>
                  <a:lnTo>
                    <a:pt x="149" y="21"/>
                  </a:lnTo>
                  <a:lnTo>
                    <a:pt x="173" y="45"/>
                  </a:lnTo>
                  <a:lnTo>
                    <a:pt x="212" y="57"/>
                  </a:lnTo>
                  <a:lnTo>
                    <a:pt x="230" y="69"/>
                  </a:lnTo>
                  <a:lnTo>
                    <a:pt x="251" y="66"/>
                  </a:lnTo>
                  <a:lnTo>
                    <a:pt x="257" y="75"/>
                  </a:lnTo>
                  <a:lnTo>
                    <a:pt x="248" y="123"/>
                  </a:lnTo>
                  <a:lnTo>
                    <a:pt x="272" y="135"/>
                  </a:lnTo>
                  <a:lnTo>
                    <a:pt x="281" y="153"/>
                  </a:lnTo>
                  <a:lnTo>
                    <a:pt x="317" y="159"/>
                  </a:lnTo>
                  <a:lnTo>
                    <a:pt x="329" y="138"/>
                  </a:lnTo>
                  <a:lnTo>
                    <a:pt x="350" y="141"/>
                  </a:lnTo>
                  <a:lnTo>
                    <a:pt x="362" y="159"/>
                  </a:lnTo>
                  <a:lnTo>
                    <a:pt x="362" y="174"/>
                  </a:lnTo>
                  <a:lnTo>
                    <a:pt x="320" y="180"/>
                  </a:lnTo>
                  <a:lnTo>
                    <a:pt x="320" y="198"/>
                  </a:lnTo>
                  <a:lnTo>
                    <a:pt x="320" y="210"/>
                  </a:lnTo>
                  <a:lnTo>
                    <a:pt x="305" y="228"/>
                  </a:lnTo>
                  <a:lnTo>
                    <a:pt x="317" y="249"/>
                  </a:lnTo>
                  <a:lnTo>
                    <a:pt x="350" y="273"/>
                  </a:lnTo>
                  <a:lnTo>
                    <a:pt x="353" y="300"/>
                  </a:lnTo>
                  <a:lnTo>
                    <a:pt x="419" y="306"/>
                  </a:lnTo>
                  <a:lnTo>
                    <a:pt x="419" y="342"/>
                  </a:lnTo>
                  <a:lnTo>
                    <a:pt x="407" y="360"/>
                  </a:lnTo>
                  <a:lnTo>
                    <a:pt x="416" y="378"/>
                  </a:lnTo>
                  <a:lnTo>
                    <a:pt x="407" y="390"/>
                  </a:lnTo>
                  <a:lnTo>
                    <a:pt x="383" y="396"/>
                  </a:lnTo>
                  <a:lnTo>
                    <a:pt x="371" y="411"/>
                  </a:lnTo>
                  <a:lnTo>
                    <a:pt x="371" y="450"/>
                  </a:lnTo>
                  <a:lnTo>
                    <a:pt x="338" y="498"/>
                  </a:lnTo>
                  <a:lnTo>
                    <a:pt x="332" y="504"/>
                  </a:lnTo>
                  <a:lnTo>
                    <a:pt x="314" y="486"/>
                  </a:lnTo>
                  <a:lnTo>
                    <a:pt x="266" y="486"/>
                  </a:lnTo>
                  <a:lnTo>
                    <a:pt x="245" y="462"/>
                  </a:lnTo>
                  <a:lnTo>
                    <a:pt x="206" y="501"/>
                  </a:lnTo>
                  <a:lnTo>
                    <a:pt x="191" y="495"/>
                  </a:lnTo>
                  <a:lnTo>
                    <a:pt x="209" y="465"/>
                  </a:lnTo>
                  <a:lnTo>
                    <a:pt x="206" y="456"/>
                  </a:lnTo>
                  <a:lnTo>
                    <a:pt x="191" y="453"/>
                  </a:lnTo>
                  <a:lnTo>
                    <a:pt x="146" y="477"/>
                  </a:lnTo>
                  <a:lnTo>
                    <a:pt x="104" y="396"/>
                  </a:lnTo>
                  <a:lnTo>
                    <a:pt x="119" y="369"/>
                  </a:lnTo>
                  <a:lnTo>
                    <a:pt x="113" y="360"/>
                  </a:lnTo>
                  <a:lnTo>
                    <a:pt x="89" y="354"/>
                  </a:lnTo>
                  <a:lnTo>
                    <a:pt x="54" y="330"/>
                  </a:lnTo>
                  <a:lnTo>
                    <a:pt x="68" y="300"/>
                  </a:lnTo>
                  <a:lnTo>
                    <a:pt x="89" y="288"/>
                  </a:lnTo>
                  <a:lnTo>
                    <a:pt x="95" y="261"/>
                  </a:lnTo>
                  <a:lnTo>
                    <a:pt x="86" y="216"/>
                  </a:lnTo>
                  <a:lnTo>
                    <a:pt x="83" y="213"/>
                  </a:lnTo>
                  <a:lnTo>
                    <a:pt x="60" y="237"/>
                  </a:lnTo>
                  <a:lnTo>
                    <a:pt x="27" y="207"/>
                  </a:lnTo>
                  <a:lnTo>
                    <a:pt x="0" y="177"/>
                  </a:lnTo>
                  <a:lnTo>
                    <a:pt x="27" y="159"/>
                  </a:lnTo>
                  <a:lnTo>
                    <a:pt x="33" y="126"/>
                  </a:lnTo>
                  <a:lnTo>
                    <a:pt x="48" y="114"/>
                  </a:lnTo>
                  <a:lnTo>
                    <a:pt x="45" y="72"/>
                  </a:lnTo>
                  <a:lnTo>
                    <a:pt x="57" y="63"/>
                  </a:lnTo>
                  <a:lnTo>
                    <a:pt x="77" y="75"/>
                  </a:lnTo>
                  <a:lnTo>
                    <a:pt x="89" y="93"/>
                  </a:lnTo>
                  <a:lnTo>
                    <a:pt x="119" y="75"/>
                  </a:lnTo>
                  <a:lnTo>
                    <a:pt x="128" y="66"/>
                  </a:lnTo>
                  <a:lnTo>
                    <a:pt x="122" y="45"/>
                  </a:lnTo>
                  <a:lnTo>
                    <a:pt x="89" y="27"/>
                  </a:lnTo>
                  <a:lnTo>
                    <a:pt x="83" y="6"/>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4" name="Freeform 48"/>
            <p:cNvSpPr>
              <a:spLocks/>
            </p:cNvSpPr>
            <p:nvPr/>
          </p:nvSpPr>
          <p:spPr bwMode="auto">
            <a:xfrm>
              <a:off x="5726361" y="4186262"/>
              <a:ext cx="111125" cy="109538"/>
            </a:xfrm>
            <a:custGeom>
              <a:avLst/>
              <a:gdLst>
                <a:gd name="T0" fmla="*/ 15 w 78"/>
                <a:gd name="T1" fmla="*/ 27 h 78"/>
                <a:gd name="T2" fmla="*/ 0 w 78"/>
                <a:gd name="T3" fmla="*/ 18 h 78"/>
                <a:gd name="T4" fmla="*/ 8 w 78"/>
                <a:gd name="T5" fmla="*/ 12 h 78"/>
                <a:gd name="T6" fmla="*/ 13 w 78"/>
                <a:gd name="T7" fmla="*/ 0 h 78"/>
                <a:gd name="T8" fmla="*/ 28 w 78"/>
                <a:gd name="T9" fmla="*/ 4 h 78"/>
                <a:gd name="T10" fmla="*/ 35 w 78"/>
                <a:gd name="T11" fmla="*/ 12 h 78"/>
                <a:gd name="T12" fmla="*/ 30 w 78"/>
                <a:gd name="T13" fmla="*/ 18 h 78"/>
                <a:gd name="T14" fmla="*/ 15 w 78"/>
                <a:gd name="T15" fmla="*/ 27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8" h="78">
                  <a:moveTo>
                    <a:pt x="33" y="78"/>
                  </a:moveTo>
                  <a:lnTo>
                    <a:pt x="0" y="51"/>
                  </a:lnTo>
                  <a:lnTo>
                    <a:pt x="18" y="33"/>
                  </a:lnTo>
                  <a:lnTo>
                    <a:pt x="27" y="0"/>
                  </a:lnTo>
                  <a:lnTo>
                    <a:pt x="63" y="15"/>
                  </a:lnTo>
                  <a:lnTo>
                    <a:pt x="78" y="36"/>
                  </a:lnTo>
                  <a:lnTo>
                    <a:pt x="66" y="51"/>
                  </a:lnTo>
                  <a:lnTo>
                    <a:pt x="33" y="78"/>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5" name="Freeform 49"/>
            <p:cNvSpPr>
              <a:spLocks/>
            </p:cNvSpPr>
            <p:nvPr/>
          </p:nvSpPr>
          <p:spPr bwMode="auto">
            <a:xfrm>
              <a:off x="5121524" y="3748112"/>
              <a:ext cx="695325" cy="549275"/>
            </a:xfrm>
            <a:custGeom>
              <a:avLst/>
              <a:gdLst>
                <a:gd name="T0" fmla="*/ 189 w 495"/>
                <a:gd name="T1" fmla="*/ 103 h 396"/>
                <a:gd name="T2" fmla="*/ 185 w 495"/>
                <a:gd name="T3" fmla="*/ 114 h 396"/>
                <a:gd name="T4" fmla="*/ 178 w 495"/>
                <a:gd name="T5" fmla="*/ 118 h 396"/>
                <a:gd name="T6" fmla="*/ 168 w 495"/>
                <a:gd name="T7" fmla="*/ 129 h 396"/>
                <a:gd name="T8" fmla="*/ 153 w 495"/>
                <a:gd name="T9" fmla="*/ 127 h 396"/>
                <a:gd name="T10" fmla="*/ 140 w 495"/>
                <a:gd name="T11" fmla="*/ 122 h 396"/>
                <a:gd name="T12" fmla="*/ 131 w 495"/>
                <a:gd name="T13" fmla="*/ 124 h 396"/>
                <a:gd name="T14" fmla="*/ 103 w 495"/>
                <a:gd name="T15" fmla="*/ 122 h 396"/>
                <a:gd name="T16" fmla="*/ 103 w 495"/>
                <a:gd name="T17" fmla="*/ 114 h 396"/>
                <a:gd name="T18" fmla="*/ 89 w 495"/>
                <a:gd name="T19" fmla="*/ 105 h 396"/>
                <a:gd name="T20" fmla="*/ 84 w 495"/>
                <a:gd name="T21" fmla="*/ 99 h 396"/>
                <a:gd name="T22" fmla="*/ 90 w 495"/>
                <a:gd name="T23" fmla="*/ 94 h 396"/>
                <a:gd name="T24" fmla="*/ 90 w 495"/>
                <a:gd name="T25" fmla="*/ 89 h 396"/>
                <a:gd name="T26" fmla="*/ 90 w 495"/>
                <a:gd name="T27" fmla="*/ 84 h 396"/>
                <a:gd name="T28" fmla="*/ 107 w 495"/>
                <a:gd name="T29" fmla="*/ 81 h 396"/>
                <a:gd name="T30" fmla="*/ 107 w 495"/>
                <a:gd name="T31" fmla="*/ 76 h 396"/>
                <a:gd name="T32" fmla="*/ 103 w 495"/>
                <a:gd name="T33" fmla="*/ 72 h 396"/>
                <a:gd name="T34" fmla="*/ 94 w 495"/>
                <a:gd name="T35" fmla="*/ 70 h 396"/>
                <a:gd name="T36" fmla="*/ 89 w 495"/>
                <a:gd name="T37" fmla="*/ 76 h 396"/>
                <a:gd name="T38" fmla="*/ 74 w 495"/>
                <a:gd name="T39" fmla="*/ 75 h 396"/>
                <a:gd name="T40" fmla="*/ 70 w 495"/>
                <a:gd name="T41" fmla="*/ 69 h 396"/>
                <a:gd name="T42" fmla="*/ 60 w 495"/>
                <a:gd name="T43" fmla="*/ 64 h 396"/>
                <a:gd name="T44" fmla="*/ 64 w 495"/>
                <a:gd name="T45" fmla="*/ 49 h 396"/>
                <a:gd name="T46" fmla="*/ 61 w 495"/>
                <a:gd name="T47" fmla="*/ 46 h 396"/>
                <a:gd name="T48" fmla="*/ 54 w 495"/>
                <a:gd name="T49" fmla="*/ 46 h 396"/>
                <a:gd name="T50" fmla="*/ 45 w 495"/>
                <a:gd name="T51" fmla="*/ 43 h 396"/>
                <a:gd name="T52" fmla="*/ 29 w 495"/>
                <a:gd name="T53" fmla="*/ 39 h 396"/>
                <a:gd name="T54" fmla="*/ 20 w 495"/>
                <a:gd name="T55" fmla="*/ 31 h 396"/>
                <a:gd name="T56" fmla="*/ 0 w 495"/>
                <a:gd name="T57" fmla="*/ 24 h 396"/>
                <a:gd name="T58" fmla="*/ 3 w 495"/>
                <a:gd name="T59" fmla="*/ 17 h 396"/>
                <a:gd name="T60" fmla="*/ 10 w 495"/>
                <a:gd name="T61" fmla="*/ 15 h 396"/>
                <a:gd name="T62" fmla="*/ 25 w 495"/>
                <a:gd name="T63" fmla="*/ 24 h 396"/>
                <a:gd name="T64" fmla="*/ 29 w 495"/>
                <a:gd name="T65" fmla="*/ 24 h 396"/>
                <a:gd name="T66" fmla="*/ 44 w 495"/>
                <a:gd name="T67" fmla="*/ 24 h 396"/>
                <a:gd name="T68" fmla="*/ 52 w 495"/>
                <a:gd name="T69" fmla="*/ 19 h 396"/>
                <a:gd name="T70" fmla="*/ 63 w 495"/>
                <a:gd name="T71" fmla="*/ 26 h 396"/>
                <a:gd name="T72" fmla="*/ 68 w 495"/>
                <a:gd name="T73" fmla="*/ 19 h 396"/>
                <a:gd name="T74" fmla="*/ 70 w 495"/>
                <a:gd name="T75" fmla="*/ 15 h 396"/>
                <a:gd name="T76" fmla="*/ 78 w 495"/>
                <a:gd name="T77" fmla="*/ 11 h 396"/>
                <a:gd name="T78" fmla="*/ 81 w 495"/>
                <a:gd name="T79" fmla="*/ 4 h 396"/>
                <a:gd name="T80" fmla="*/ 90 w 495"/>
                <a:gd name="T81" fmla="*/ 0 h 396"/>
                <a:gd name="T82" fmla="*/ 113 w 495"/>
                <a:gd name="T83" fmla="*/ 13 h 396"/>
                <a:gd name="T84" fmla="*/ 131 w 495"/>
                <a:gd name="T85" fmla="*/ 19 h 396"/>
                <a:gd name="T86" fmla="*/ 163 w 495"/>
                <a:gd name="T87" fmla="*/ 60 h 396"/>
                <a:gd name="T88" fmla="*/ 162 w 495"/>
                <a:gd name="T89" fmla="*/ 64 h 396"/>
                <a:gd name="T90" fmla="*/ 183 w 495"/>
                <a:gd name="T91" fmla="*/ 72 h 396"/>
                <a:gd name="T92" fmla="*/ 189 w 495"/>
                <a:gd name="T93" fmla="*/ 80 h 396"/>
                <a:gd name="T94" fmla="*/ 200 w 495"/>
                <a:gd name="T95" fmla="*/ 84 h 396"/>
                <a:gd name="T96" fmla="*/ 203 w 495"/>
                <a:gd name="T97" fmla="*/ 91 h 396"/>
                <a:gd name="T98" fmla="*/ 197 w 495"/>
                <a:gd name="T99" fmla="*/ 94 h 396"/>
                <a:gd name="T100" fmla="*/ 185 w 495"/>
                <a:gd name="T101" fmla="*/ 91 h 396"/>
                <a:gd name="T102" fmla="*/ 170 w 495"/>
                <a:gd name="T103" fmla="*/ 91 h 396"/>
                <a:gd name="T104" fmla="*/ 156 w 495"/>
                <a:gd name="T105" fmla="*/ 87 h 396"/>
                <a:gd name="T106" fmla="*/ 151 w 495"/>
                <a:gd name="T107" fmla="*/ 91 h 396"/>
                <a:gd name="T108" fmla="*/ 164 w 495"/>
                <a:gd name="T109" fmla="*/ 94 h 396"/>
                <a:gd name="T110" fmla="*/ 177 w 495"/>
                <a:gd name="T111" fmla="*/ 98 h 396"/>
                <a:gd name="T112" fmla="*/ 189 w 495"/>
                <a:gd name="T113" fmla="*/ 103 h 3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95" h="396">
                  <a:moveTo>
                    <a:pt x="459" y="315"/>
                  </a:moveTo>
                  <a:lnTo>
                    <a:pt x="450" y="348"/>
                  </a:lnTo>
                  <a:lnTo>
                    <a:pt x="432" y="366"/>
                  </a:lnTo>
                  <a:lnTo>
                    <a:pt x="408" y="396"/>
                  </a:lnTo>
                  <a:lnTo>
                    <a:pt x="369" y="390"/>
                  </a:lnTo>
                  <a:lnTo>
                    <a:pt x="339" y="372"/>
                  </a:lnTo>
                  <a:lnTo>
                    <a:pt x="318" y="381"/>
                  </a:lnTo>
                  <a:lnTo>
                    <a:pt x="252" y="375"/>
                  </a:lnTo>
                  <a:lnTo>
                    <a:pt x="249" y="348"/>
                  </a:lnTo>
                  <a:lnTo>
                    <a:pt x="216" y="324"/>
                  </a:lnTo>
                  <a:lnTo>
                    <a:pt x="204" y="303"/>
                  </a:lnTo>
                  <a:lnTo>
                    <a:pt x="219" y="285"/>
                  </a:lnTo>
                  <a:lnTo>
                    <a:pt x="219" y="273"/>
                  </a:lnTo>
                  <a:lnTo>
                    <a:pt x="219" y="255"/>
                  </a:lnTo>
                  <a:lnTo>
                    <a:pt x="261" y="249"/>
                  </a:lnTo>
                  <a:lnTo>
                    <a:pt x="261" y="234"/>
                  </a:lnTo>
                  <a:lnTo>
                    <a:pt x="249" y="216"/>
                  </a:lnTo>
                  <a:lnTo>
                    <a:pt x="228" y="213"/>
                  </a:lnTo>
                  <a:lnTo>
                    <a:pt x="216" y="234"/>
                  </a:lnTo>
                  <a:lnTo>
                    <a:pt x="180" y="228"/>
                  </a:lnTo>
                  <a:lnTo>
                    <a:pt x="171" y="210"/>
                  </a:lnTo>
                  <a:lnTo>
                    <a:pt x="147" y="198"/>
                  </a:lnTo>
                  <a:lnTo>
                    <a:pt x="156" y="150"/>
                  </a:lnTo>
                  <a:lnTo>
                    <a:pt x="150" y="141"/>
                  </a:lnTo>
                  <a:lnTo>
                    <a:pt x="129" y="144"/>
                  </a:lnTo>
                  <a:lnTo>
                    <a:pt x="111" y="132"/>
                  </a:lnTo>
                  <a:lnTo>
                    <a:pt x="72" y="120"/>
                  </a:lnTo>
                  <a:lnTo>
                    <a:pt x="48" y="96"/>
                  </a:lnTo>
                  <a:lnTo>
                    <a:pt x="0" y="75"/>
                  </a:lnTo>
                  <a:lnTo>
                    <a:pt x="3" y="54"/>
                  </a:lnTo>
                  <a:lnTo>
                    <a:pt x="24" y="45"/>
                  </a:lnTo>
                  <a:lnTo>
                    <a:pt x="60" y="75"/>
                  </a:lnTo>
                  <a:lnTo>
                    <a:pt x="72" y="75"/>
                  </a:lnTo>
                  <a:lnTo>
                    <a:pt x="105" y="72"/>
                  </a:lnTo>
                  <a:lnTo>
                    <a:pt x="126" y="57"/>
                  </a:lnTo>
                  <a:lnTo>
                    <a:pt x="153" y="78"/>
                  </a:lnTo>
                  <a:lnTo>
                    <a:pt x="165" y="57"/>
                  </a:lnTo>
                  <a:lnTo>
                    <a:pt x="168" y="45"/>
                  </a:lnTo>
                  <a:lnTo>
                    <a:pt x="189" y="33"/>
                  </a:lnTo>
                  <a:lnTo>
                    <a:pt x="198" y="6"/>
                  </a:lnTo>
                  <a:lnTo>
                    <a:pt x="219" y="0"/>
                  </a:lnTo>
                  <a:lnTo>
                    <a:pt x="276" y="39"/>
                  </a:lnTo>
                  <a:lnTo>
                    <a:pt x="318" y="57"/>
                  </a:lnTo>
                  <a:lnTo>
                    <a:pt x="396" y="186"/>
                  </a:lnTo>
                  <a:lnTo>
                    <a:pt x="393" y="198"/>
                  </a:lnTo>
                  <a:lnTo>
                    <a:pt x="444" y="222"/>
                  </a:lnTo>
                  <a:lnTo>
                    <a:pt x="459" y="246"/>
                  </a:lnTo>
                  <a:lnTo>
                    <a:pt x="483" y="258"/>
                  </a:lnTo>
                  <a:lnTo>
                    <a:pt x="495" y="279"/>
                  </a:lnTo>
                  <a:lnTo>
                    <a:pt x="477" y="288"/>
                  </a:lnTo>
                  <a:lnTo>
                    <a:pt x="450" y="279"/>
                  </a:lnTo>
                  <a:lnTo>
                    <a:pt x="414" y="279"/>
                  </a:lnTo>
                  <a:lnTo>
                    <a:pt x="381" y="267"/>
                  </a:lnTo>
                  <a:lnTo>
                    <a:pt x="366" y="279"/>
                  </a:lnTo>
                  <a:lnTo>
                    <a:pt x="399" y="288"/>
                  </a:lnTo>
                  <a:lnTo>
                    <a:pt x="429" y="300"/>
                  </a:lnTo>
                  <a:lnTo>
                    <a:pt x="459" y="315"/>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6" name="Freeform 50"/>
            <p:cNvSpPr>
              <a:spLocks/>
            </p:cNvSpPr>
            <p:nvPr/>
          </p:nvSpPr>
          <p:spPr bwMode="auto">
            <a:xfrm>
              <a:off x="4237286" y="4111650"/>
              <a:ext cx="946150" cy="590550"/>
            </a:xfrm>
            <a:custGeom>
              <a:avLst/>
              <a:gdLst>
                <a:gd name="T0" fmla="*/ 38 w 674"/>
                <a:gd name="T1" fmla="*/ 128 h 425"/>
                <a:gd name="T2" fmla="*/ 71 w 674"/>
                <a:gd name="T3" fmla="*/ 123 h 425"/>
                <a:gd name="T4" fmla="*/ 73 w 674"/>
                <a:gd name="T5" fmla="*/ 109 h 425"/>
                <a:gd name="T6" fmla="*/ 121 w 674"/>
                <a:gd name="T7" fmla="*/ 108 h 425"/>
                <a:gd name="T8" fmla="*/ 143 w 674"/>
                <a:gd name="T9" fmla="*/ 118 h 425"/>
                <a:gd name="T10" fmla="*/ 164 w 674"/>
                <a:gd name="T11" fmla="*/ 111 h 425"/>
                <a:gd name="T12" fmla="*/ 171 w 674"/>
                <a:gd name="T13" fmla="*/ 118 h 425"/>
                <a:gd name="T14" fmla="*/ 186 w 674"/>
                <a:gd name="T15" fmla="*/ 106 h 425"/>
                <a:gd name="T16" fmla="*/ 189 w 674"/>
                <a:gd name="T17" fmla="*/ 123 h 425"/>
                <a:gd name="T18" fmla="*/ 202 w 674"/>
                <a:gd name="T19" fmla="*/ 128 h 425"/>
                <a:gd name="T20" fmla="*/ 226 w 674"/>
                <a:gd name="T21" fmla="*/ 117 h 425"/>
                <a:gd name="T22" fmla="*/ 264 w 674"/>
                <a:gd name="T23" fmla="*/ 99 h 425"/>
                <a:gd name="T24" fmla="*/ 262 w 674"/>
                <a:gd name="T25" fmla="*/ 69 h 425"/>
                <a:gd name="T26" fmla="*/ 265 w 674"/>
                <a:gd name="T27" fmla="*/ 57 h 425"/>
                <a:gd name="T28" fmla="*/ 241 w 674"/>
                <a:gd name="T29" fmla="*/ 46 h 425"/>
                <a:gd name="T30" fmla="*/ 222 w 674"/>
                <a:gd name="T31" fmla="*/ 46 h 425"/>
                <a:gd name="T32" fmla="*/ 195 w 674"/>
                <a:gd name="T33" fmla="*/ 40 h 425"/>
                <a:gd name="T34" fmla="*/ 183 w 674"/>
                <a:gd name="T35" fmla="*/ 27 h 425"/>
                <a:gd name="T36" fmla="*/ 168 w 674"/>
                <a:gd name="T37" fmla="*/ 27 h 425"/>
                <a:gd name="T38" fmla="*/ 136 w 674"/>
                <a:gd name="T39" fmla="*/ 27 h 425"/>
                <a:gd name="T40" fmla="*/ 80 w 674"/>
                <a:gd name="T41" fmla="*/ 0 h 425"/>
                <a:gd name="T42" fmla="*/ 68 w 674"/>
                <a:gd name="T43" fmla="*/ 4 h 425"/>
                <a:gd name="T44" fmla="*/ 34 w 674"/>
                <a:gd name="T45" fmla="*/ 4 h 425"/>
                <a:gd name="T46" fmla="*/ 38 w 674"/>
                <a:gd name="T47" fmla="*/ 13 h 425"/>
                <a:gd name="T48" fmla="*/ 54 w 674"/>
                <a:gd name="T49" fmla="*/ 17 h 425"/>
                <a:gd name="T50" fmla="*/ 36 w 674"/>
                <a:gd name="T51" fmla="*/ 27 h 425"/>
                <a:gd name="T52" fmla="*/ 36 w 674"/>
                <a:gd name="T53" fmla="*/ 38 h 425"/>
                <a:gd name="T54" fmla="*/ 46 w 674"/>
                <a:gd name="T55" fmla="*/ 50 h 425"/>
                <a:gd name="T56" fmla="*/ 59 w 674"/>
                <a:gd name="T57" fmla="*/ 76 h 425"/>
                <a:gd name="T58" fmla="*/ 50 w 674"/>
                <a:gd name="T59" fmla="*/ 80 h 425"/>
                <a:gd name="T60" fmla="*/ 7 w 674"/>
                <a:gd name="T61" fmla="*/ 95 h 425"/>
                <a:gd name="T62" fmla="*/ 5 w 674"/>
                <a:gd name="T63" fmla="*/ 106 h 425"/>
                <a:gd name="T64" fmla="*/ 14 w 674"/>
                <a:gd name="T65" fmla="*/ 121 h 4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74" h="425">
                  <a:moveTo>
                    <a:pt x="78" y="425"/>
                  </a:moveTo>
                  <a:lnTo>
                    <a:pt x="93" y="393"/>
                  </a:lnTo>
                  <a:lnTo>
                    <a:pt x="132" y="357"/>
                  </a:lnTo>
                  <a:lnTo>
                    <a:pt x="171" y="375"/>
                  </a:lnTo>
                  <a:lnTo>
                    <a:pt x="198" y="357"/>
                  </a:lnTo>
                  <a:lnTo>
                    <a:pt x="177" y="333"/>
                  </a:lnTo>
                  <a:lnTo>
                    <a:pt x="186" y="321"/>
                  </a:lnTo>
                  <a:lnTo>
                    <a:pt x="291" y="330"/>
                  </a:lnTo>
                  <a:lnTo>
                    <a:pt x="327" y="354"/>
                  </a:lnTo>
                  <a:lnTo>
                    <a:pt x="345" y="366"/>
                  </a:lnTo>
                  <a:lnTo>
                    <a:pt x="375" y="348"/>
                  </a:lnTo>
                  <a:lnTo>
                    <a:pt x="396" y="339"/>
                  </a:lnTo>
                  <a:lnTo>
                    <a:pt x="399" y="366"/>
                  </a:lnTo>
                  <a:lnTo>
                    <a:pt x="414" y="366"/>
                  </a:lnTo>
                  <a:lnTo>
                    <a:pt x="426" y="348"/>
                  </a:lnTo>
                  <a:lnTo>
                    <a:pt x="450" y="327"/>
                  </a:lnTo>
                  <a:lnTo>
                    <a:pt x="459" y="342"/>
                  </a:lnTo>
                  <a:lnTo>
                    <a:pt x="459" y="375"/>
                  </a:lnTo>
                  <a:lnTo>
                    <a:pt x="468" y="387"/>
                  </a:lnTo>
                  <a:lnTo>
                    <a:pt x="489" y="393"/>
                  </a:lnTo>
                  <a:lnTo>
                    <a:pt x="513" y="369"/>
                  </a:lnTo>
                  <a:lnTo>
                    <a:pt x="546" y="357"/>
                  </a:lnTo>
                  <a:lnTo>
                    <a:pt x="611" y="300"/>
                  </a:lnTo>
                  <a:lnTo>
                    <a:pt x="638" y="303"/>
                  </a:lnTo>
                  <a:lnTo>
                    <a:pt x="674" y="291"/>
                  </a:lnTo>
                  <a:lnTo>
                    <a:pt x="632" y="210"/>
                  </a:lnTo>
                  <a:lnTo>
                    <a:pt x="647" y="183"/>
                  </a:lnTo>
                  <a:lnTo>
                    <a:pt x="641" y="174"/>
                  </a:lnTo>
                  <a:lnTo>
                    <a:pt x="617" y="168"/>
                  </a:lnTo>
                  <a:lnTo>
                    <a:pt x="582" y="144"/>
                  </a:lnTo>
                  <a:lnTo>
                    <a:pt x="561" y="132"/>
                  </a:lnTo>
                  <a:lnTo>
                    <a:pt x="537" y="144"/>
                  </a:lnTo>
                  <a:lnTo>
                    <a:pt x="510" y="123"/>
                  </a:lnTo>
                  <a:lnTo>
                    <a:pt x="474" y="123"/>
                  </a:lnTo>
                  <a:lnTo>
                    <a:pt x="447" y="105"/>
                  </a:lnTo>
                  <a:lnTo>
                    <a:pt x="441" y="84"/>
                  </a:lnTo>
                  <a:lnTo>
                    <a:pt x="426" y="69"/>
                  </a:lnTo>
                  <a:lnTo>
                    <a:pt x="405" y="81"/>
                  </a:lnTo>
                  <a:lnTo>
                    <a:pt x="387" y="72"/>
                  </a:lnTo>
                  <a:lnTo>
                    <a:pt x="330" y="81"/>
                  </a:lnTo>
                  <a:lnTo>
                    <a:pt x="270" y="69"/>
                  </a:lnTo>
                  <a:lnTo>
                    <a:pt x="195" y="0"/>
                  </a:lnTo>
                  <a:lnTo>
                    <a:pt x="174" y="18"/>
                  </a:lnTo>
                  <a:lnTo>
                    <a:pt x="165" y="12"/>
                  </a:lnTo>
                  <a:lnTo>
                    <a:pt x="150" y="12"/>
                  </a:lnTo>
                  <a:lnTo>
                    <a:pt x="81" y="12"/>
                  </a:lnTo>
                  <a:lnTo>
                    <a:pt x="72" y="18"/>
                  </a:lnTo>
                  <a:lnTo>
                    <a:pt x="93" y="39"/>
                  </a:lnTo>
                  <a:lnTo>
                    <a:pt x="111" y="45"/>
                  </a:lnTo>
                  <a:lnTo>
                    <a:pt x="129" y="51"/>
                  </a:lnTo>
                  <a:lnTo>
                    <a:pt x="123" y="66"/>
                  </a:lnTo>
                  <a:lnTo>
                    <a:pt x="87" y="81"/>
                  </a:lnTo>
                  <a:lnTo>
                    <a:pt x="81" y="108"/>
                  </a:lnTo>
                  <a:lnTo>
                    <a:pt x="87" y="117"/>
                  </a:lnTo>
                  <a:lnTo>
                    <a:pt x="93" y="153"/>
                  </a:lnTo>
                  <a:lnTo>
                    <a:pt x="111" y="153"/>
                  </a:lnTo>
                  <a:lnTo>
                    <a:pt x="132" y="180"/>
                  </a:lnTo>
                  <a:lnTo>
                    <a:pt x="141" y="234"/>
                  </a:lnTo>
                  <a:lnTo>
                    <a:pt x="135" y="252"/>
                  </a:lnTo>
                  <a:lnTo>
                    <a:pt x="123" y="246"/>
                  </a:lnTo>
                  <a:lnTo>
                    <a:pt x="84" y="276"/>
                  </a:lnTo>
                  <a:lnTo>
                    <a:pt x="18" y="288"/>
                  </a:lnTo>
                  <a:lnTo>
                    <a:pt x="0" y="306"/>
                  </a:lnTo>
                  <a:lnTo>
                    <a:pt x="12" y="324"/>
                  </a:lnTo>
                  <a:lnTo>
                    <a:pt x="15" y="363"/>
                  </a:lnTo>
                  <a:lnTo>
                    <a:pt x="33" y="369"/>
                  </a:lnTo>
                  <a:lnTo>
                    <a:pt x="78" y="425"/>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7" name="Freeform 51"/>
            <p:cNvSpPr>
              <a:spLocks/>
            </p:cNvSpPr>
            <p:nvPr/>
          </p:nvSpPr>
          <p:spPr bwMode="auto">
            <a:xfrm>
              <a:off x="2911724" y="4022750"/>
              <a:ext cx="1524000" cy="1144587"/>
            </a:xfrm>
            <a:custGeom>
              <a:avLst/>
              <a:gdLst>
                <a:gd name="T0" fmla="*/ 175 w 1087"/>
                <a:gd name="T1" fmla="*/ 24 h 824"/>
                <a:gd name="T2" fmla="*/ 166 w 1087"/>
                <a:gd name="T3" fmla="*/ 8 h 824"/>
                <a:gd name="T4" fmla="*/ 195 w 1087"/>
                <a:gd name="T5" fmla="*/ 0 h 824"/>
                <a:gd name="T6" fmla="*/ 200 w 1087"/>
                <a:gd name="T7" fmla="*/ 15 h 824"/>
                <a:gd name="T8" fmla="*/ 226 w 1087"/>
                <a:gd name="T9" fmla="*/ 33 h 824"/>
                <a:gd name="T10" fmla="*/ 240 w 1087"/>
                <a:gd name="T11" fmla="*/ 33 h 824"/>
                <a:gd name="T12" fmla="*/ 250 w 1087"/>
                <a:gd name="T13" fmla="*/ 51 h 824"/>
                <a:gd name="T14" fmla="*/ 280 w 1087"/>
                <a:gd name="T15" fmla="*/ 49 h 824"/>
                <a:gd name="T16" fmla="*/ 290 w 1087"/>
                <a:gd name="T17" fmla="*/ 41 h 824"/>
                <a:gd name="T18" fmla="*/ 299 w 1087"/>
                <a:gd name="T19" fmla="*/ 49 h 824"/>
                <a:gd name="T20" fmla="*/ 331 w 1087"/>
                <a:gd name="T21" fmla="*/ 46 h 824"/>
                <a:gd name="T22" fmla="*/ 337 w 1087"/>
                <a:gd name="T23" fmla="*/ 51 h 824"/>
                <a:gd name="T24" fmla="*/ 367 w 1087"/>
                <a:gd name="T25" fmla="*/ 64 h 824"/>
                <a:gd name="T26" fmla="*/ 406 w 1087"/>
                <a:gd name="T27" fmla="*/ 67 h 824"/>
                <a:gd name="T28" fmla="*/ 425 w 1087"/>
                <a:gd name="T29" fmla="*/ 72 h 824"/>
                <a:gd name="T30" fmla="*/ 441 w 1087"/>
                <a:gd name="T31" fmla="*/ 80 h 824"/>
                <a:gd name="T32" fmla="*/ 443 w 1087"/>
                <a:gd name="T33" fmla="*/ 103 h 824"/>
                <a:gd name="T34" fmla="*/ 421 w 1087"/>
                <a:gd name="T35" fmla="*/ 111 h 824"/>
                <a:gd name="T36" fmla="*/ 386 w 1087"/>
                <a:gd name="T37" fmla="*/ 121 h 824"/>
                <a:gd name="T38" fmla="*/ 393 w 1087"/>
                <a:gd name="T39" fmla="*/ 140 h 824"/>
                <a:gd name="T40" fmla="*/ 419 w 1087"/>
                <a:gd name="T41" fmla="*/ 160 h 824"/>
                <a:gd name="T42" fmla="*/ 407 w 1087"/>
                <a:gd name="T43" fmla="*/ 192 h 824"/>
                <a:gd name="T44" fmla="*/ 386 w 1087"/>
                <a:gd name="T45" fmla="*/ 172 h 824"/>
                <a:gd name="T46" fmla="*/ 379 w 1087"/>
                <a:gd name="T47" fmla="*/ 163 h 824"/>
                <a:gd name="T48" fmla="*/ 356 w 1087"/>
                <a:gd name="T49" fmla="*/ 160 h 824"/>
                <a:gd name="T50" fmla="*/ 337 w 1087"/>
                <a:gd name="T51" fmla="*/ 173 h 824"/>
                <a:gd name="T52" fmla="*/ 323 w 1087"/>
                <a:gd name="T53" fmla="*/ 182 h 824"/>
                <a:gd name="T54" fmla="*/ 303 w 1087"/>
                <a:gd name="T55" fmla="*/ 179 h 824"/>
                <a:gd name="T56" fmla="*/ 290 w 1087"/>
                <a:gd name="T57" fmla="*/ 193 h 824"/>
                <a:gd name="T58" fmla="*/ 317 w 1087"/>
                <a:gd name="T59" fmla="*/ 208 h 824"/>
                <a:gd name="T60" fmla="*/ 280 w 1087"/>
                <a:gd name="T61" fmla="*/ 212 h 824"/>
                <a:gd name="T62" fmla="*/ 269 w 1087"/>
                <a:gd name="T63" fmla="*/ 202 h 824"/>
                <a:gd name="T64" fmla="*/ 245 w 1087"/>
                <a:gd name="T65" fmla="*/ 206 h 824"/>
                <a:gd name="T66" fmla="*/ 240 w 1087"/>
                <a:gd name="T67" fmla="*/ 191 h 824"/>
                <a:gd name="T68" fmla="*/ 228 w 1087"/>
                <a:gd name="T69" fmla="*/ 184 h 824"/>
                <a:gd name="T70" fmla="*/ 226 w 1087"/>
                <a:gd name="T71" fmla="*/ 193 h 824"/>
                <a:gd name="T72" fmla="*/ 211 w 1087"/>
                <a:gd name="T73" fmla="*/ 202 h 824"/>
                <a:gd name="T74" fmla="*/ 191 w 1087"/>
                <a:gd name="T75" fmla="*/ 231 h 824"/>
                <a:gd name="T76" fmla="*/ 183 w 1087"/>
                <a:gd name="T77" fmla="*/ 264 h 824"/>
                <a:gd name="T78" fmla="*/ 156 w 1087"/>
                <a:gd name="T79" fmla="*/ 269 h 824"/>
                <a:gd name="T80" fmla="*/ 115 w 1087"/>
                <a:gd name="T81" fmla="*/ 216 h 824"/>
                <a:gd name="T82" fmla="*/ 92 w 1087"/>
                <a:gd name="T83" fmla="*/ 207 h 824"/>
                <a:gd name="T84" fmla="*/ 93 w 1087"/>
                <a:gd name="T85" fmla="*/ 193 h 824"/>
                <a:gd name="T86" fmla="*/ 71 w 1087"/>
                <a:gd name="T87" fmla="*/ 193 h 824"/>
                <a:gd name="T88" fmla="*/ 54 w 1087"/>
                <a:gd name="T89" fmla="*/ 167 h 824"/>
                <a:gd name="T90" fmla="*/ 49 w 1087"/>
                <a:gd name="T91" fmla="*/ 118 h 824"/>
                <a:gd name="T92" fmla="*/ 48 w 1087"/>
                <a:gd name="T93" fmla="*/ 92 h 824"/>
                <a:gd name="T94" fmla="*/ 0 w 1087"/>
                <a:gd name="T95" fmla="*/ 46 h 824"/>
                <a:gd name="T96" fmla="*/ 7 w 1087"/>
                <a:gd name="T97" fmla="*/ 33 h 824"/>
                <a:gd name="T98" fmla="*/ 69 w 1087"/>
                <a:gd name="T99" fmla="*/ 33 h 824"/>
                <a:gd name="T100" fmla="*/ 91 w 1087"/>
                <a:gd name="T101" fmla="*/ 37 h 824"/>
                <a:gd name="T102" fmla="*/ 123 w 1087"/>
                <a:gd name="T103" fmla="*/ 51 h 824"/>
                <a:gd name="T104" fmla="*/ 127 w 1087"/>
                <a:gd name="T105" fmla="*/ 36 h 824"/>
                <a:gd name="T106" fmla="*/ 147 w 1087"/>
                <a:gd name="T107" fmla="*/ 38 h 824"/>
                <a:gd name="T108" fmla="*/ 167 w 1087"/>
                <a:gd name="T109" fmla="*/ 34 h 8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7" h="824">
                  <a:moveTo>
                    <a:pt x="410" y="102"/>
                  </a:moveTo>
                  <a:lnTo>
                    <a:pt x="425" y="72"/>
                  </a:lnTo>
                  <a:lnTo>
                    <a:pt x="410" y="54"/>
                  </a:lnTo>
                  <a:lnTo>
                    <a:pt x="407" y="24"/>
                  </a:lnTo>
                  <a:lnTo>
                    <a:pt x="464" y="0"/>
                  </a:lnTo>
                  <a:lnTo>
                    <a:pt x="476" y="0"/>
                  </a:lnTo>
                  <a:lnTo>
                    <a:pt x="485" y="21"/>
                  </a:lnTo>
                  <a:lnTo>
                    <a:pt x="488" y="48"/>
                  </a:lnTo>
                  <a:lnTo>
                    <a:pt x="515" y="66"/>
                  </a:lnTo>
                  <a:lnTo>
                    <a:pt x="551" y="102"/>
                  </a:lnTo>
                  <a:lnTo>
                    <a:pt x="572" y="90"/>
                  </a:lnTo>
                  <a:lnTo>
                    <a:pt x="587" y="102"/>
                  </a:lnTo>
                  <a:lnTo>
                    <a:pt x="590" y="138"/>
                  </a:lnTo>
                  <a:lnTo>
                    <a:pt x="614" y="156"/>
                  </a:lnTo>
                  <a:lnTo>
                    <a:pt x="674" y="159"/>
                  </a:lnTo>
                  <a:lnTo>
                    <a:pt x="683" y="150"/>
                  </a:lnTo>
                  <a:lnTo>
                    <a:pt x="680" y="132"/>
                  </a:lnTo>
                  <a:lnTo>
                    <a:pt x="713" y="123"/>
                  </a:lnTo>
                  <a:lnTo>
                    <a:pt x="731" y="129"/>
                  </a:lnTo>
                  <a:lnTo>
                    <a:pt x="734" y="150"/>
                  </a:lnTo>
                  <a:lnTo>
                    <a:pt x="749" y="150"/>
                  </a:lnTo>
                  <a:lnTo>
                    <a:pt x="808" y="138"/>
                  </a:lnTo>
                  <a:lnTo>
                    <a:pt x="820" y="144"/>
                  </a:lnTo>
                  <a:lnTo>
                    <a:pt x="823" y="159"/>
                  </a:lnTo>
                  <a:lnTo>
                    <a:pt x="847" y="168"/>
                  </a:lnTo>
                  <a:lnTo>
                    <a:pt x="898" y="192"/>
                  </a:lnTo>
                  <a:lnTo>
                    <a:pt x="928" y="180"/>
                  </a:lnTo>
                  <a:lnTo>
                    <a:pt x="994" y="204"/>
                  </a:lnTo>
                  <a:lnTo>
                    <a:pt x="1006" y="222"/>
                  </a:lnTo>
                  <a:lnTo>
                    <a:pt x="1039" y="216"/>
                  </a:lnTo>
                  <a:lnTo>
                    <a:pt x="1057" y="216"/>
                  </a:lnTo>
                  <a:lnTo>
                    <a:pt x="1078" y="243"/>
                  </a:lnTo>
                  <a:lnTo>
                    <a:pt x="1087" y="297"/>
                  </a:lnTo>
                  <a:lnTo>
                    <a:pt x="1081" y="315"/>
                  </a:lnTo>
                  <a:lnTo>
                    <a:pt x="1069" y="309"/>
                  </a:lnTo>
                  <a:lnTo>
                    <a:pt x="1030" y="339"/>
                  </a:lnTo>
                  <a:lnTo>
                    <a:pt x="964" y="351"/>
                  </a:lnTo>
                  <a:lnTo>
                    <a:pt x="946" y="369"/>
                  </a:lnTo>
                  <a:lnTo>
                    <a:pt x="958" y="387"/>
                  </a:lnTo>
                  <a:lnTo>
                    <a:pt x="961" y="426"/>
                  </a:lnTo>
                  <a:lnTo>
                    <a:pt x="979" y="432"/>
                  </a:lnTo>
                  <a:lnTo>
                    <a:pt x="1024" y="488"/>
                  </a:lnTo>
                  <a:lnTo>
                    <a:pt x="1027" y="563"/>
                  </a:lnTo>
                  <a:lnTo>
                    <a:pt x="997" y="584"/>
                  </a:lnTo>
                  <a:lnTo>
                    <a:pt x="970" y="557"/>
                  </a:lnTo>
                  <a:lnTo>
                    <a:pt x="946" y="524"/>
                  </a:lnTo>
                  <a:lnTo>
                    <a:pt x="943" y="503"/>
                  </a:lnTo>
                  <a:lnTo>
                    <a:pt x="925" y="497"/>
                  </a:lnTo>
                  <a:lnTo>
                    <a:pt x="904" y="506"/>
                  </a:lnTo>
                  <a:lnTo>
                    <a:pt x="871" y="488"/>
                  </a:lnTo>
                  <a:lnTo>
                    <a:pt x="853" y="527"/>
                  </a:lnTo>
                  <a:lnTo>
                    <a:pt x="823" y="530"/>
                  </a:lnTo>
                  <a:lnTo>
                    <a:pt x="802" y="563"/>
                  </a:lnTo>
                  <a:lnTo>
                    <a:pt x="791" y="554"/>
                  </a:lnTo>
                  <a:lnTo>
                    <a:pt x="770" y="563"/>
                  </a:lnTo>
                  <a:lnTo>
                    <a:pt x="740" y="545"/>
                  </a:lnTo>
                  <a:lnTo>
                    <a:pt x="713" y="572"/>
                  </a:lnTo>
                  <a:lnTo>
                    <a:pt x="713" y="587"/>
                  </a:lnTo>
                  <a:lnTo>
                    <a:pt x="764" y="614"/>
                  </a:lnTo>
                  <a:lnTo>
                    <a:pt x="776" y="635"/>
                  </a:lnTo>
                  <a:lnTo>
                    <a:pt x="740" y="647"/>
                  </a:lnTo>
                  <a:lnTo>
                    <a:pt x="683" y="647"/>
                  </a:lnTo>
                  <a:lnTo>
                    <a:pt x="677" y="623"/>
                  </a:lnTo>
                  <a:lnTo>
                    <a:pt x="656" y="617"/>
                  </a:lnTo>
                  <a:lnTo>
                    <a:pt x="623" y="635"/>
                  </a:lnTo>
                  <a:lnTo>
                    <a:pt x="599" y="626"/>
                  </a:lnTo>
                  <a:lnTo>
                    <a:pt x="599" y="596"/>
                  </a:lnTo>
                  <a:lnTo>
                    <a:pt x="587" y="581"/>
                  </a:lnTo>
                  <a:lnTo>
                    <a:pt x="587" y="566"/>
                  </a:lnTo>
                  <a:lnTo>
                    <a:pt x="554" y="560"/>
                  </a:lnTo>
                  <a:lnTo>
                    <a:pt x="545" y="569"/>
                  </a:lnTo>
                  <a:lnTo>
                    <a:pt x="551" y="590"/>
                  </a:lnTo>
                  <a:lnTo>
                    <a:pt x="524" y="602"/>
                  </a:lnTo>
                  <a:lnTo>
                    <a:pt x="518" y="617"/>
                  </a:lnTo>
                  <a:lnTo>
                    <a:pt x="524" y="638"/>
                  </a:lnTo>
                  <a:lnTo>
                    <a:pt x="467" y="704"/>
                  </a:lnTo>
                  <a:lnTo>
                    <a:pt x="476" y="782"/>
                  </a:lnTo>
                  <a:lnTo>
                    <a:pt x="449" y="806"/>
                  </a:lnTo>
                  <a:lnTo>
                    <a:pt x="437" y="791"/>
                  </a:lnTo>
                  <a:lnTo>
                    <a:pt x="383" y="824"/>
                  </a:lnTo>
                  <a:lnTo>
                    <a:pt x="362" y="812"/>
                  </a:lnTo>
                  <a:lnTo>
                    <a:pt x="281" y="659"/>
                  </a:lnTo>
                  <a:lnTo>
                    <a:pt x="251" y="635"/>
                  </a:lnTo>
                  <a:lnTo>
                    <a:pt x="224" y="629"/>
                  </a:lnTo>
                  <a:lnTo>
                    <a:pt x="212" y="608"/>
                  </a:lnTo>
                  <a:lnTo>
                    <a:pt x="227" y="587"/>
                  </a:lnTo>
                  <a:lnTo>
                    <a:pt x="206" y="569"/>
                  </a:lnTo>
                  <a:lnTo>
                    <a:pt x="176" y="590"/>
                  </a:lnTo>
                  <a:lnTo>
                    <a:pt x="149" y="596"/>
                  </a:lnTo>
                  <a:lnTo>
                    <a:pt x="131" y="512"/>
                  </a:lnTo>
                  <a:lnTo>
                    <a:pt x="128" y="494"/>
                  </a:lnTo>
                  <a:lnTo>
                    <a:pt x="122" y="363"/>
                  </a:lnTo>
                  <a:lnTo>
                    <a:pt x="98" y="297"/>
                  </a:lnTo>
                  <a:lnTo>
                    <a:pt x="116" y="282"/>
                  </a:lnTo>
                  <a:lnTo>
                    <a:pt x="65" y="186"/>
                  </a:lnTo>
                  <a:lnTo>
                    <a:pt x="0" y="138"/>
                  </a:lnTo>
                  <a:lnTo>
                    <a:pt x="9" y="108"/>
                  </a:lnTo>
                  <a:lnTo>
                    <a:pt x="18" y="99"/>
                  </a:lnTo>
                  <a:lnTo>
                    <a:pt x="110" y="84"/>
                  </a:lnTo>
                  <a:lnTo>
                    <a:pt x="170" y="102"/>
                  </a:lnTo>
                  <a:lnTo>
                    <a:pt x="206" y="93"/>
                  </a:lnTo>
                  <a:lnTo>
                    <a:pt x="221" y="114"/>
                  </a:lnTo>
                  <a:lnTo>
                    <a:pt x="266" y="159"/>
                  </a:lnTo>
                  <a:lnTo>
                    <a:pt x="302" y="153"/>
                  </a:lnTo>
                  <a:lnTo>
                    <a:pt x="302" y="126"/>
                  </a:lnTo>
                  <a:lnTo>
                    <a:pt x="311" y="108"/>
                  </a:lnTo>
                  <a:lnTo>
                    <a:pt x="347" y="93"/>
                  </a:lnTo>
                  <a:lnTo>
                    <a:pt x="362" y="117"/>
                  </a:lnTo>
                  <a:lnTo>
                    <a:pt x="383" y="102"/>
                  </a:lnTo>
                  <a:lnTo>
                    <a:pt x="410" y="105"/>
                  </a:lnTo>
                  <a:lnTo>
                    <a:pt x="410" y="10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8" name="Freeform 52"/>
            <p:cNvSpPr>
              <a:spLocks/>
            </p:cNvSpPr>
            <p:nvPr/>
          </p:nvSpPr>
          <p:spPr bwMode="auto">
            <a:xfrm>
              <a:off x="687636" y="3590950"/>
              <a:ext cx="2403475" cy="1289050"/>
            </a:xfrm>
            <a:custGeom>
              <a:avLst/>
              <a:gdLst>
                <a:gd name="T0" fmla="*/ 427 w 1713"/>
                <a:gd name="T1" fmla="*/ 290 h 928"/>
                <a:gd name="T2" fmla="*/ 439 w 1713"/>
                <a:gd name="T3" fmla="*/ 301 h 928"/>
                <a:gd name="T4" fmla="*/ 475 w 1713"/>
                <a:gd name="T5" fmla="*/ 290 h 928"/>
                <a:gd name="T6" fmla="*/ 497 w 1713"/>
                <a:gd name="T7" fmla="*/ 276 h 928"/>
                <a:gd name="T8" fmla="*/ 524 w 1713"/>
                <a:gd name="T9" fmla="*/ 269 h 928"/>
                <a:gd name="T10" fmla="*/ 553 w 1713"/>
                <a:gd name="T11" fmla="*/ 262 h 928"/>
                <a:gd name="T12" fmla="*/ 597 w 1713"/>
                <a:gd name="T13" fmla="*/ 254 h 928"/>
                <a:gd name="T14" fmla="*/ 598 w 1713"/>
                <a:gd name="T15" fmla="*/ 269 h 928"/>
                <a:gd name="T16" fmla="*/ 613 w 1713"/>
                <a:gd name="T17" fmla="*/ 270 h 928"/>
                <a:gd name="T18" fmla="*/ 604 w 1713"/>
                <a:gd name="T19" fmla="*/ 288 h 928"/>
                <a:gd name="T20" fmla="*/ 613 w 1713"/>
                <a:gd name="T21" fmla="*/ 290 h 928"/>
                <a:gd name="T22" fmla="*/ 651 w 1713"/>
                <a:gd name="T23" fmla="*/ 288 h 928"/>
                <a:gd name="T24" fmla="*/ 675 w 1713"/>
                <a:gd name="T25" fmla="*/ 294 h 928"/>
                <a:gd name="T26" fmla="*/ 684 w 1713"/>
                <a:gd name="T27" fmla="*/ 299 h 928"/>
                <a:gd name="T28" fmla="*/ 687 w 1713"/>
                <a:gd name="T29" fmla="*/ 276 h 928"/>
                <a:gd name="T30" fmla="*/ 703 w 1713"/>
                <a:gd name="T31" fmla="*/ 263 h 928"/>
                <a:gd name="T32" fmla="*/ 692 w 1713"/>
                <a:gd name="T33" fmla="*/ 200 h 928"/>
                <a:gd name="T34" fmla="*/ 677 w 1713"/>
                <a:gd name="T35" fmla="*/ 163 h 928"/>
                <a:gd name="T36" fmla="*/ 643 w 1713"/>
                <a:gd name="T37" fmla="*/ 150 h 928"/>
                <a:gd name="T38" fmla="*/ 622 w 1713"/>
                <a:gd name="T39" fmla="*/ 184 h 928"/>
                <a:gd name="T40" fmla="*/ 582 w 1713"/>
                <a:gd name="T41" fmla="*/ 166 h 928"/>
                <a:gd name="T42" fmla="*/ 506 w 1713"/>
                <a:gd name="T43" fmla="*/ 146 h 928"/>
                <a:gd name="T44" fmla="*/ 477 w 1713"/>
                <a:gd name="T45" fmla="*/ 140 h 928"/>
                <a:gd name="T46" fmla="*/ 417 w 1713"/>
                <a:gd name="T47" fmla="*/ 120 h 928"/>
                <a:gd name="T48" fmla="*/ 388 w 1713"/>
                <a:gd name="T49" fmla="*/ 64 h 928"/>
                <a:gd name="T50" fmla="*/ 400 w 1713"/>
                <a:gd name="T51" fmla="*/ 48 h 928"/>
                <a:gd name="T52" fmla="*/ 398 w 1713"/>
                <a:gd name="T53" fmla="*/ 24 h 928"/>
                <a:gd name="T54" fmla="*/ 402 w 1713"/>
                <a:gd name="T55" fmla="*/ 13 h 928"/>
                <a:gd name="T56" fmla="*/ 349 w 1713"/>
                <a:gd name="T57" fmla="*/ 0 h 928"/>
                <a:gd name="T58" fmla="*/ 312 w 1713"/>
                <a:gd name="T59" fmla="*/ 4 h 928"/>
                <a:gd name="T60" fmla="*/ 265 w 1713"/>
                <a:gd name="T61" fmla="*/ 17 h 928"/>
                <a:gd name="T62" fmla="*/ 219 w 1713"/>
                <a:gd name="T63" fmla="*/ 21 h 928"/>
                <a:gd name="T64" fmla="*/ 187 w 1713"/>
                <a:gd name="T65" fmla="*/ 8 h 928"/>
                <a:gd name="T66" fmla="*/ 135 w 1713"/>
                <a:gd name="T67" fmla="*/ 15 h 928"/>
                <a:gd name="T68" fmla="*/ 115 w 1713"/>
                <a:gd name="T69" fmla="*/ 6 h 928"/>
                <a:gd name="T70" fmla="*/ 76 w 1713"/>
                <a:gd name="T71" fmla="*/ 10 h 928"/>
                <a:gd name="T72" fmla="*/ 59 w 1713"/>
                <a:gd name="T73" fmla="*/ 30 h 928"/>
                <a:gd name="T74" fmla="*/ 47 w 1713"/>
                <a:gd name="T75" fmla="*/ 39 h 928"/>
                <a:gd name="T76" fmla="*/ 35 w 1713"/>
                <a:gd name="T77" fmla="*/ 46 h 928"/>
                <a:gd name="T78" fmla="*/ 28 w 1713"/>
                <a:gd name="T79" fmla="*/ 52 h 928"/>
                <a:gd name="T80" fmla="*/ 38 w 1713"/>
                <a:gd name="T81" fmla="*/ 71 h 928"/>
                <a:gd name="T82" fmla="*/ 36 w 1713"/>
                <a:gd name="T83" fmla="*/ 89 h 928"/>
                <a:gd name="T84" fmla="*/ 12 w 1713"/>
                <a:gd name="T85" fmla="*/ 81 h 928"/>
                <a:gd name="T86" fmla="*/ 0 w 1713"/>
                <a:gd name="T87" fmla="*/ 89 h 928"/>
                <a:gd name="T88" fmla="*/ 5 w 1713"/>
                <a:gd name="T89" fmla="*/ 105 h 928"/>
                <a:gd name="T90" fmla="*/ 5 w 1713"/>
                <a:gd name="T91" fmla="*/ 120 h 928"/>
                <a:gd name="T92" fmla="*/ 16 w 1713"/>
                <a:gd name="T93" fmla="*/ 126 h 928"/>
                <a:gd name="T94" fmla="*/ 47 w 1713"/>
                <a:gd name="T95" fmla="*/ 149 h 928"/>
                <a:gd name="T96" fmla="*/ 65 w 1713"/>
                <a:gd name="T97" fmla="*/ 172 h 928"/>
                <a:gd name="T98" fmla="*/ 78 w 1713"/>
                <a:gd name="T99" fmla="*/ 179 h 928"/>
                <a:gd name="T100" fmla="*/ 100 w 1713"/>
                <a:gd name="T101" fmla="*/ 178 h 928"/>
                <a:gd name="T102" fmla="*/ 150 w 1713"/>
                <a:gd name="T103" fmla="*/ 222 h 928"/>
                <a:gd name="T104" fmla="*/ 165 w 1713"/>
                <a:gd name="T105" fmla="*/ 216 h 928"/>
                <a:gd name="T106" fmla="*/ 168 w 1713"/>
                <a:gd name="T107" fmla="*/ 233 h 928"/>
                <a:gd name="T108" fmla="*/ 199 w 1713"/>
                <a:gd name="T109" fmla="*/ 246 h 928"/>
                <a:gd name="T110" fmla="*/ 224 w 1713"/>
                <a:gd name="T111" fmla="*/ 265 h 928"/>
                <a:gd name="T112" fmla="*/ 230 w 1713"/>
                <a:gd name="T113" fmla="*/ 275 h 928"/>
                <a:gd name="T114" fmla="*/ 258 w 1713"/>
                <a:gd name="T115" fmla="*/ 275 h 928"/>
                <a:gd name="T116" fmla="*/ 308 w 1713"/>
                <a:gd name="T117" fmla="*/ 281 h 928"/>
                <a:gd name="T118" fmla="*/ 329 w 1713"/>
                <a:gd name="T119" fmla="*/ 286 h 928"/>
                <a:gd name="T120" fmla="*/ 329 w 1713"/>
                <a:gd name="T121" fmla="*/ 304 h 928"/>
                <a:gd name="T122" fmla="*/ 372 w 1713"/>
                <a:gd name="T123" fmla="*/ 277 h 928"/>
                <a:gd name="T124" fmla="*/ 406 w 1713"/>
                <a:gd name="T125" fmla="*/ 288 h 9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713" h="928">
                  <a:moveTo>
                    <a:pt x="988" y="880"/>
                  </a:moveTo>
                  <a:lnTo>
                    <a:pt x="1042" y="886"/>
                  </a:lnTo>
                  <a:lnTo>
                    <a:pt x="1060" y="910"/>
                  </a:lnTo>
                  <a:lnTo>
                    <a:pt x="1069" y="916"/>
                  </a:lnTo>
                  <a:lnTo>
                    <a:pt x="1150" y="901"/>
                  </a:lnTo>
                  <a:lnTo>
                    <a:pt x="1156" y="886"/>
                  </a:lnTo>
                  <a:lnTo>
                    <a:pt x="1171" y="877"/>
                  </a:lnTo>
                  <a:lnTo>
                    <a:pt x="1210" y="844"/>
                  </a:lnTo>
                  <a:lnTo>
                    <a:pt x="1246" y="841"/>
                  </a:lnTo>
                  <a:lnTo>
                    <a:pt x="1276" y="820"/>
                  </a:lnTo>
                  <a:lnTo>
                    <a:pt x="1339" y="788"/>
                  </a:lnTo>
                  <a:lnTo>
                    <a:pt x="1345" y="799"/>
                  </a:lnTo>
                  <a:lnTo>
                    <a:pt x="1390" y="814"/>
                  </a:lnTo>
                  <a:lnTo>
                    <a:pt x="1456" y="779"/>
                  </a:lnTo>
                  <a:lnTo>
                    <a:pt x="1477" y="794"/>
                  </a:lnTo>
                  <a:lnTo>
                    <a:pt x="1459" y="820"/>
                  </a:lnTo>
                  <a:lnTo>
                    <a:pt x="1465" y="826"/>
                  </a:lnTo>
                  <a:lnTo>
                    <a:pt x="1492" y="826"/>
                  </a:lnTo>
                  <a:lnTo>
                    <a:pt x="1495" y="838"/>
                  </a:lnTo>
                  <a:lnTo>
                    <a:pt x="1471" y="880"/>
                  </a:lnTo>
                  <a:lnTo>
                    <a:pt x="1480" y="886"/>
                  </a:lnTo>
                  <a:lnTo>
                    <a:pt x="1492" y="886"/>
                  </a:lnTo>
                  <a:lnTo>
                    <a:pt x="1558" y="904"/>
                  </a:lnTo>
                  <a:lnTo>
                    <a:pt x="1588" y="880"/>
                  </a:lnTo>
                  <a:lnTo>
                    <a:pt x="1630" y="913"/>
                  </a:lnTo>
                  <a:lnTo>
                    <a:pt x="1644" y="898"/>
                  </a:lnTo>
                  <a:lnTo>
                    <a:pt x="1656" y="910"/>
                  </a:lnTo>
                  <a:lnTo>
                    <a:pt x="1668" y="910"/>
                  </a:lnTo>
                  <a:lnTo>
                    <a:pt x="1677" y="898"/>
                  </a:lnTo>
                  <a:lnTo>
                    <a:pt x="1674" y="844"/>
                  </a:lnTo>
                  <a:lnTo>
                    <a:pt x="1683" y="838"/>
                  </a:lnTo>
                  <a:lnTo>
                    <a:pt x="1713" y="805"/>
                  </a:lnTo>
                  <a:lnTo>
                    <a:pt x="1707" y="674"/>
                  </a:lnTo>
                  <a:lnTo>
                    <a:pt x="1683" y="608"/>
                  </a:lnTo>
                  <a:lnTo>
                    <a:pt x="1701" y="593"/>
                  </a:lnTo>
                  <a:lnTo>
                    <a:pt x="1650" y="497"/>
                  </a:lnTo>
                  <a:lnTo>
                    <a:pt x="1585" y="449"/>
                  </a:lnTo>
                  <a:lnTo>
                    <a:pt x="1567" y="461"/>
                  </a:lnTo>
                  <a:lnTo>
                    <a:pt x="1570" y="488"/>
                  </a:lnTo>
                  <a:lnTo>
                    <a:pt x="1516" y="560"/>
                  </a:lnTo>
                  <a:lnTo>
                    <a:pt x="1423" y="542"/>
                  </a:lnTo>
                  <a:lnTo>
                    <a:pt x="1417" y="506"/>
                  </a:lnTo>
                  <a:lnTo>
                    <a:pt x="1360" y="461"/>
                  </a:lnTo>
                  <a:lnTo>
                    <a:pt x="1234" y="443"/>
                  </a:lnTo>
                  <a:lnTo>
                    <a:pt x="1180" y="431"/>
                  </a:lnTo>
                  <a:lnTo>
                    <a:pt x="1162" y="431"/>
                  </a:lnTo>
                  <a:lnTo>
                    <a:pt x="1114" y="392"/>
                  </a:lnTo>
                  <a:lnTo>
                    <a:pt x="1015" y="368"/>
                  </a:lnTo>
                  <a:lnTo>
                    <a:pt x="946" y="236"/>
                  </a:lnTo>
                  <a:lnTo>
                    <a:pt x="946" y="200"/>
                  </a:lnTo>
                  <a:lnTo>
                    <a:pt x="973" y="188"/>
                  </a:lnTo>
                  <a:lnTo>
                    <a:pt x="973" y="146"/>
                  </a:lnTo>
                  <a:lnTo>
                    <a:pt x="991" y="95"/>
                  </a:lnTo>
                  <a:lnTo>
                    <a:pt x="970" y="74"/>
                  </a:lnTo>
                  <a:lnTo>
                    <a:pt x="1000" y="48"/>
                  </a:lnTo>
                  <a:lnTo>
                    <a:pt x="982" y="39"/>
                  </a:lnTo>
                  <a:lnTo>
                    <a:pt x="934" y="39"/>
                  </a:lnTo>
                  <a:lnTo>
                    <a:pt x="854" y="0"/>
                  </a:lnTo>
                  <a:lnTo>
                    <a:pt x="803" y="0"/>
                  </a:lnTo>
                  <a:lnTo>
                    <a:pt x="761" y="12"/>
                  </a:lnTo>
                  <a:lnTo>
                    <a:pt x="716" y="12"/>
                  </a:lnTo>
                  <a:lnTo>
                    <a:pt x="644" y="51"/>
                  </a:lnTo>
                  <a:lnTo>
                    <a:pt x="587" y="45"/>
                  </a:lnTo>
                  <a:lnTo>
                    <a:pt x="533" y="65"/>
                  </a:lnTo>
                  <a:lnTo>
                    <a:pt x="485" y="48"/>
                  </a:lnTo>
                  <a:lnTo>
                    <a:pt x="455" y="24"/>
                  </a:lnTo>
                  <a:lnTo>
                    <a:pt x="380" y="12"/>
                  </a:lnTo>
                  <a:lnTo>
                    <a:pt x="329" y="48"/>
                  </a:lnTo>
                  <a:lnTo>
                    <a:pt x="302" y="36"/>
                  </a:lnTo>
                  <a:lnTo>
                    <a:pt x="281" y="18"/>
                  </a:lnTo>
                  <a:lnTo>
                    <a:pt x="224" y="3"/>
                  </a:lnTo>
                  <a:lnTo>
                    <a:pt x="185" y="30"/>
                  </a:lnTo>
                  <a:lnTo>
                    <a:pt x="170" y="71"/>
                  </a:lnTo>
                  <a:lnTo>
                    <a:pt x="141" y="89"/>
                  </a:lnTo>
                  <a:lnTo>
                    <a:pt x="135" y="113"/>
                  </a:lnTo>
                  <a:lnTo>
                    <a:pt x="114" y="119"/>
                  </a:lnTo>
                  <a:lnTo>
                    <a:pt x="93" y="119"/>
                  </a:lnTo>
                  <a:lnTo>
                    <a:pt x="84" y="137"/>
                  </a:lnTo>
                  <a:lnTo>
                    <a:pt x="78" y="161"/>
                  </a:lnTo>
                  <a:lnTo>
                    <a:pt x="69" y="161"/>
                  </a:lnTo>
                  <a:lnTo>
                    <a:pt x="66" y="188"/>
                  </a:lnTo>
                  <a:lnTo>
                    <a:pt x="93" y="215"/>
                  </a:lnTo>
                  <a:lnTo>
                    <a:pt x="96" y="254"/>
                  </a:lnTo>
                  <a:lnTo>
                    <a:pt x="87" y="269"/>
                  </a:lnTo>
                  <a:lnTo>
                    <a:pt x="48" y="272"/>
                  </a:lnTo>
                  <a:lnTo>
                    <a:pt x="27" y="251"/>
                  </a:lnTo>
                  <a:lnTo>
                    <a:pt x="6" y="254"/>
                  </a:lnTo>
                  <a:lnTo>
                    <a:pt x="0" y="272"/>
                  </a:lnTo>
                  <a:lnTo>
                    <a:pt x="12" y="299"/>
                  </a:lnTo>
                  <a:lnTo>
                    <a:pt x="15" y="320"/>
                  </a:lnTo>
                  <a:lnTo>
                    <a:pt x="15" y="347"/>
                  </a:lnTo>
                  <a:lnTo>
                    <a:pt x="9" y="368"/>
                  </a:lnTo>
                  <a:lnTo>
                    <a:pt x="12" y="383"/>
                  </a:lnTo>
                  <a:lnTo>
                    <a:pt x="39" y="386"/>
                  </a:lnTo>
                  <a:lnTo>
                    <a:pt x="54" y="410"/>
                  </a:lnTo>
                  <a:lnTo>
                    <a:pt x="114" y="458"/>
                  </a:lnTo>
                  <a:lnTo>
                    <a:pt x="114" y="473"/>
                  </a:lnTo>
                  <a:lnTo>
                    <a:pt x="158" y="524"/>
                  </a:lnTo>
                  <a:lnTo>
                    <a:pt x="173" y="542"/>
                  </a:lnTo>
                  <a:lnTo>
                    <a:pt x="188" y="545"/>
                  </a:lnTo>
                  <a:lnTo>
                    <a:pt x="215" y="518"/>
                  </a:lnTo>
                  <a:lnTo>
                    <a:pt x="242" y="542"/>
                  </a:lnTo>
                  <a:lnTo>
                    <a:pt x="344" y="629"/>
                  </a:lnTo>
                  <a:lnTo>
                    <a:pt x="365" y="677"/>
                  </a:lnTo>
                  <a:lnTo>
                    <a:pt x="386" y="677"/>
                  </a:lnTo>
                  <a:lnTo>
                    <a:pt x="401" y="662"/>
                  </a:lnTo>
                  <a:lnTo>
                    <a:pt x="410" y="674"/>
                  </a:lnTo>
                  <a:lnTo>
                    <a:pt x="410" y="713"/>
                  </a:lnTo>
                  <a:lnTo>
                    <a:pt x="473" y="749"/>
                  </a:lnTo>
                  <a:lnTo>
                    <a:pt x="485" y="746"/>
                  </a:lnTo>
                  <a:lnTo>
                    <a:pt x="497" y="779"/>
                  </a:lnTo>
                  <a:lnTo>
                    <a:pt x="548" y="808"/>
                  </a:lnTo>
                  <a:lnTo>
                    <a:pt x="551" y="829"/>
                  </a:lnTo>
                  <a:lnTo>
                    <a:pt x="560" y="835"/>
                  </a:lnTo>
                  <a:lnTo>
                    <a:pt x="605" y="835"/>
                  </a:lnTo>
                  <a:lnTo>
                    <a:pt x="629" y="835"/>
                  </a:lnTo>
                  <a:lnTo>
                    <a:pt x="665" y="862"/>
                  </a:lnTo>
                  <a:lnTo>
                    <a:pt x="749" y="859"/>
                  </a:lnTo>
                  <a:lnTo>
                    <a:pt x="791" y="856"/>
                  </a:lnTo>
                  <a:lnTo>
                    <a:pt x="803" y="874"/>
                  </a:lnTo>
                  <a:lnTo>
                    <a:pt x="794" y="913"/>
                  </a:lnTo>
                  <a:lnTo>
                    <a:pt x="803" y="928"/>
                  </a:lnTo>
                  <a:lnTo>
                    <a:pt x="851" y="889"/>
                  </a:lnTo>
                  <a:lnTo>
                    <a:pt x="907" y="847"/>
                  </a:lnTo>
                  <a:lnTo>
                    <a:pt x="946" y="856"/>
                  </a:lnTo>
                  <a:lnTo>
                    <a:pt x="988" y="880"/>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59" name="Freeform 53"/>
            <p:cNvSpPr>
              <a:spLocks/>
            </p:cNvSpPr>
            <p:nvPr/>
          </p:nvSpPr>
          <p:spPr bwMode="auto">
            <a:xfrm>
              <a:off x="2013199" y="3267100"/>
              <a:ext cx="1552575" cy="1101725"/>
            </a:xfrm>
            <a:custGeom>
              <a:avLst/>
              <a:gdLst>
                <a:gd name="T0" fmla="*/ 37 w 1106"/>
                <a:gd name="T1" fmla="*/ 97 h 794"/>
                <a:gd name="T2" fmla="*/ 59 w 1106"/>
                <a:gd name="T3" fmla="*/ 87 h 794"/>
                <a:gd name="T4" fmla="*/ 49 w 1106"/>
                <a:gd name="T5" fmla="*/ 80 h 794"/>
                <a:gd name="T6" fmla="*/ 63 w 1106"/>
                <a:gd name="T7" fmla="*/ 72 h 794"/>
                <a:gd name="T8" fmla="*/ 45 w 1106"/>
                <a:gd name="T9" fmla="*/ 44 h 794"/>
                <a:gd name="T10" fmla="*/ 57 w 1106"/>
                <a:gd name="T11" fmla="*/ 17 h 794"/>
                <a:gd name="T12" fmla="*/ 148 w 1106"/>
                <a:gd name="T13" fmla="*/ 0 h 794"/>
                <a:gd name="T14" fmla="*/ 205 w 1106"/>
                <a:gd name="T15" fmla="*/ 10 h 794"/>
                <a:gd name="T16" fmla="*/ 235 w 1106"/>
                <a:gd name="T17" fmla="*/ 24 h 794"/>
                <a:gd name="T18" fmla="*/ 267 w 1106"/>
                <a:gd name="T19" fmla="*/ 15 h 794"/>
                <a:gd name="T20" fmla="*/ 307 w 1106"/>
                <a:gd name="T21" fmla="*/ 12 h 794"/>
                <a:gd name="T22" fmla="*/ 357 w 1106"/>
                <a:gd name="T23" fmla="*/ 22 h 794"/>
                <a:gd name="T24" fmla="*/ 390 w 1106"/>
                <a:gd name="T25" fmla="*/ 51 h 794"/>
                <a:gd name="T26" fmla="*/ 419 w 1106"/>
                <a:gd name="T27" fmla="*/ 60 h 794"/>
                <a:gd name="T28" fmla="*/ 447 w 1106"/>
                <a:gd name="T29" fmla="*/ 99 h 794"/>
                <a:gd name="T30" fmla="*/ 452 w 1106"/>
                <a:gd name="T31" fmla="*/ 128 h 794"/>
                <a:gd name="T32" fmla="*/ 437 w 1106"/>
                <a:gd name="T33" fmla="*/ 148 h 794"/>
                <a:gd name="T34" fmla="*/ 419 w 1106"/>
                <a:gd name="T35" fmla="*/ 159 h 794"/>
                <a:gd name="T36" fmla="*/ 411 w 1106"/>
                <a:gd name="T37" fmla="*/ 178 h 794"/>
                <a:gd name="T38" fmla="*/ 392 w 1106"/>
                <a:gd name="T39" fmla="*/ 168 h 794"/>
                <a:gd name="T40" fmla="*/ 393 w 1106"/>
                <a:gd name="T41" fmla="*/ 184 h 794"/>
                <a:gd name="T42" fmla="*/ 424 w 1106"/>
                <a:gd name="T43" fmla="*/ 196 h 794"/>
                <a:gd name="T44" fmla="*/ 438 w 1106"/>
                <a:gd name="T45" fmla="*/ 202 h 794"/>
                <a:gd name="T46" fmla="*/ 432 w 1106"/>
                <a:gd name="T47" fmla="*/ 213 h 794"/>
                <a:gd name="T48" fmla="*/ 411 w 1106"/>
                <a:gd name="T49" fmla="*/ 216 h 794"/>
                <a:gd name="T50" fmla="*/ 390 w 1106"/>
                <a:gd name="T51" fmla="*/ 214 h 794"/>
                <a:gd name="T52" fmla="*/ 388 w 1106"/>
                <a:gd name="T53" fmla="*/ 228 h 794"/>
                <a:gd name="T54" fmla="*/ 354 w 1106"/>
                <a:gd name="T55" fmla="*/ 215 h 794"/>
                <a:gd name="T56" fmla="*/ 332 w 1106"/>
                <a:gd name="T57" fmla="*/ 212 h 794"/>
                <a:gd name="T58" fmla="*/ 270 w 1106"/>
                <a:gd name="T59" fmla="*/ 210 h 794"/>
                <a:gd name="T60" fmla="*/ 263 w 1106"/>
                <a:gd name="T61" fmla="*/ 223 h 794"/>
                <a:gd name="T62" fmla="*/ 257 w 1106"/>
                <a:gd name="T63" fmla="*/ 236 h 794"/>
                <a:gd name="T64" fmla="*/ 196 w 1106"/>
                <a:gd name="T65" fmla="*/ 253 h 794"/>
                <a:gd name="T66" fmla="*/ 170 w 1106"/>
                <a:gd name="T67" fmla="*/ 226 h 794"/>
                <a:gd name="T68" fmla="*/ 95 w 1106"/>
                <a:gd name="T69" fmla="*/ 218 h 794"/>
                <a:gd name="T70" fmla="*/ 70 w 1106"/>
                <a:gd name="T71" fmla="*/ 206 h 794"/>
                <a:gd name="T72" fmla="*/ 0 w 1106"/>
                <a:gd name="T73" fmla="*/ 154 h 794"/>
                <a:gd name="T74" fmla="*/ 12 w 1106"/>
                <a:gd name="T75" fmla="*/ 139 h 794"/>
                <a:gd name="T76" fmla="*/ 19 w 1106"/>
                <a:gd name="T77" fmla="*/ 107 h 794"/>
                <a:gd name="T78" fmla="*/ 23 w 1106"/>
                <a:gd name="T79" fmla="*/ 92 h 79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06" h="794">
                  <a:moveTo>
                    <a:pt x="54" y="282"/>
                  </a:moveTo>
                  <a:lnTo>
                    <a:pt x="90" y="296"/>
                  </a:lnTo>
                  <a:lnTo>
                    <a:pt x="150" y="276"/>
                  </a:lnTo>
                  <a:lnTo>
                    <a:pt x="141" y="264"/>
                  </a:lnTo>
                  <a:lnTo>
                    <a:pt x="126" y="264"/>
                  </a:lnTo>
                  <a:lnTo>
                    <a:pt x="120" y="246"/>
                  </a:lnTo>
                  <a:lnTo>
                    <a:pt x="123" y="231"/>
                  </a:lnTo>
                  <a:lnTo>
                    <a:pt x="153" y="216"/>
                  </a:lnTo>
                  <a:lnTo>
                    <a:pt x="174" y="183"/>
                  </a:lnTo>
                  <a:lnTo>
                    <a:pt x="111" y="132"/>
                  </a:lnTo>
                  <a:lnTo>
                    <a:pt x="108" y="75"/>
                  </a:lnTo>
                  <a:lnTo>
                    <a:pt x="138" y="54"/>
                  </a:lnTo>
                  <a:lnTo>
                    <a:pt x="345" y="12"/>
                  </a:lnTo>
                  <a:lnTo>
                    <a:pt x="360" y="0"/>
                  </a:lnTo>
                  <a:lnTo>
                    <a:pt x="393" y="6"/>
                  </a:lnTo>
                  <a:lnTo>
                    <a:pt x="498" y="30"/>
                  </a:lnTo>
                  <a:lnTo>
                    <a:pt x="528" y="48"/>
                  </a:lnTo>
                  <a:lnTo>
                    <a:pt x="573" y="75"/>
                  </a:lnTo>
                  <a:lnTo>
                    <a:pt x="603" y="75"/>
                  </a:lnTo>
                  <a:lnTo>
                    <a:pt x="648" y="48"/>
                  </a:lnTo>
                  <a:lnTo>
                    <a:pt x="707" y="57"/>
                  </a:lnTo>
                  <a:lnTo>
                    <a:pt x="746" y="36"/>
                  </a:lnTo>
                  <a:lnTo>
                    <a:pt x="827" y="84"/>
                  </a:lnTo>
                  <a:lnTo>
                    <a:pt x="869" y="69"/>
                  </a:lnTo>
                  <a:lnTo>
                    <a:pt x="890" y="123"/>
                  </a:lnTo>
                  <a:lnTo>
                    <a:pt x="947" y="159"/>
                  </a:lnTo>
                  <a:lnTo>
                    <a:pt x="986" y="195"/>
                  </a:lnTo>
                  <a:lnTo>
                    <a:pt x="1016" y="183"/>
                  </a:lnTo>
                  <a:lnTo>
                    <a:pt x="1073" y="258"/>
                  </a:lnTo>
                  <a:lnTo>
                    <a:pt x="1085" y="305"/>
                  </a:lnTo>
                  <a:lnTo>
                    <a:pt x="1106" y="335"/>
                  </a:lnTo>
                  <a:lnTo>
                    <a:pt x="1097" y="392"/>
                  </a:lnTo>
                  <a:lnTo>
                    <a:pt x="1052" y="428"/>
                  </a:lnTo>
                  <a:lnTo>
                    <a:pt x="1061" y="449"/>
                  </a:lnTo>
                  <a:lnTo>
                    <a:pt x="1043" y="467"/>
                  </a:lnTo>
                  <a:lnTo>
                    <a:pt x="1022" y="488"/>
                  </a:lnTo>
                  <a:lnTo>
                    <a:pt x="1022" y="527"/>
                  </a:lnTo>
                  <a:lnTo>
                    <a:pt x="1001" y="545"/>
                  </a:lnTo>
                  <a:lnTo>
                    <a:pt x="974" y="536"/>
                  </a:lnTo>
                  <a:lnTo>
                    <a:pt x="953" y="515"/>
                  </a:lnTo>
                  <a:lnTo>
                    <a:pt x="944" y="539"/>
                  </a:lnTo>
                  <a:lnTo>
                    <a:pt x="956" y="560"/>
                  </a:lnTo>
                  <a:lnTo>
                    <a:pt x="992" y="563"/>
                  </a:lnTo>
                  <a:lnTo>
                    <a:pt x="1028" y="599"/>
                  </a:lnTo>
                  <a:lnTo>
                    <a:pt x="1049" y="599"/>
                  </a:lnTo>
                  <a:lnTo>
                    <a:pt x="1064" y="617"/>
                  </a:lnTo>
                  <a:lnTo>
                    <a:pt x="1049" y="647"/>
                  </a:lnTo>
                  <a:lnTo>
                    <a:pt x="1049" y="650"/>
                  </a:lnTo>
                  <a:lnTo>
                    <a:pt x="1022" y="647"/>
                  </a:lnTo>
                  <a:lnTo>
                    <a:pt x="1001" y="662"/>
                  </a:lnTo>
                  <a:lnTo>
                    <a:pt x="986" y="638"/>
                  </a:lnTo>
                  <a:lnTo>
                    <a:pt x="950" y="653"/>
                  </a:lnTo>
                  <a:lnTo>
                    <a:pt x="941" y="671"/>
                  </a:lnTo>
                  <a:lnTo>
                    <a:pt x="941" y="698"/>
                  </a:lnTo>
                  <a:lnTo>
                    <a:pt x="905" y="704"/>
                  </a:lnTo>
                  <a:lnTo>
                    <a:pt x="860" y="659"/>
                  </a:lnTo>
                  <a:lnTo>
                    <a:pt x="845" y="638"/>
                  </a:lnTo>
                  <a:lnTo>
                    <a:pt x="809" y="647"/>
                  </a:lnTo>
                  <a:lnTo>
                    <a:pt x="749" y="629"/>
                  </a:lnTo>
                  <a:lnTo>
                    <a:pt x="657" y="644"/>
                  </a:lnTo>
                  <a:lnTo>
                    <a:pt x="648" y="653"/>
                  </a:lnTo>
                  <a:lnTo>
                    <a:pt x="639" y="683"/>
                  </a:lnTo>
                  <a:lnTo>
                    <a:pt x="621" y="695"/>
                  </a:lnTo>
                  <a:lnTo>
                    <a:pt x="624" y="722"/>
                  </a:lnTo>
                  <a:lnTo>
                    <a:pt x="570" y="794"/>
                  </a:lnTo>
                  <a:lnTo>
                    <a:pt x="477" y="776"/>
                  </a:lnTo>
                  <a:lnTo>
                    <a:pt x="471" y="740"/>
                  </a:lnTo>
                  <a:lnTo>
                    <a:pt x="414" y="695"/>
                  </a:lnTo>
                  <a:lnTo>
                    <a:pt x="288" y="677"/>
                  </a:lnTo>
                  <a:lnTo>
                    <a:pt x="234" y="665"/>
                  </a:lnTo>
                  <a:lnTo>
                    <a:pt x="216" y="665"/>
                  </a:lnTo>
                  <a:lnTo>
                    <a:pt x="168" y="626"/>
                  </a:lnTo>
                  <a:lnTo>
                    <a:pt x="69" y="602"/>
                  </a:lnTo>
                  <a:lnTo>
                    <a:pt x="0" y="470"/>
                  </a:lnTo>
                  <a:lnTo>
                    <a:pt x="0" y="434"/>
                  </a:lnTo>
                  <a:lnTo>
                    <a:pt x="27" y="422"/>
                  </a:lnTo>
                  <a:lnTo>
                    <a:pt x="27" y="380"/>
                  </a:lnTo>
                  <a:lnTo>
                    <a:pt x="45" y="329"/>
                  </a:lnTo>
                  <a:lnTo>
                    <a:pt x="24" y="308"/>
                  </a:lnTo>
                  <a:lnTo>
                    <a:pt x="54" y="28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0" name="Freeform 54"/>
            <p:cNvSpPr>
              <a:spLocks/>
            </p:cNvSpPr>
            <p:nvPr/>
          </p:nvSpPr>
          <p:spPr bwMode="auto">
            <a:xfrm>
              <a:off x="2549774" y="2825775"/>
              <a:ext cx="1676400" cy="1419225"/>
            </a:xfrm>
            <a:custGeom>
              <a:avLst/>
              <a:gdLst>
                <a:gd name="T0" fmla="*/ 0 w 1195"/>
                <a:gd name="T1" fmla="*/ 63 h 1022"/>
                <a:gd name="T2" fmla="*/ 19 w 1195"/>
                <a:gd name="T3" fmla="*/ 48 h 1022"/>
                <a:gd name="T4" fmla="*/ 75 w 1195"/>
                <a:gd name="T5" fmla="*/ 21 h 1022"/>
                <a:gd name="T6" fmla="*/ 90 w 1195"/>
                <a:gd name="T7" fmla="*/ 6 h 1022"/>
                <a:gd name="T8" fmla="*/ 103 w 1195"/>
                <a:gd name="T9" fmla="*/ 3 h 1022"/>
                <a:gd name="T10" fmla="*/ 123 w 1195"/>
                <a:gd name="T11" fmla="*/ 12 h 1022"/>
                <a:gd name="T12" fmla="*/ 125 w 1195"/>
                <a:gd name="T13" fmla="*/ 45 h 1022"/>
                <a:gd name="T14" fmla="*/ 154 w 1195"/>
                <a:gd name="T15" fmla="*/ 73 h 1022"/>
                <a:gd name="T16" fmla="*/ 204 w 1195"/>
                <a:gd name="T17" fmla="*/ 64 h 1022"/>
                <a:gd name="T18" fmla="*/ 218 w 1195"/>
                <a:gd name="T19" fmla="*/ 72 h 1022"/>
                <a:gd name="T20" fmla="*/ 195 w 1195"/>
                <a:gd name="T21" fmla="*/ 91 h 1022"/>
                <a:gd name="T22" fmla="*/ 219 w 1195"/>
                <a:gd name="T23" fmla="*/ 110 h 1022"/>
                <a:gd name="T24" fmla="*/ 229 w 1195"/>
                <a:gd name="T25" fmla="*/ 113 h 1022"/>
                <a:gd name="T26" fmla="*/ 241 w 1195"/>
                <a:gd name="T27" fmla="*/ 125 h 1022"/>
                <a:gd name="T28" fmla="*/ 285 w 1195"/>
                <a:gd name="T29" fmla="*/ 126 h 1022"/>
                <a:gd name="T30" fmla="*/ 328 w 1195"/>
                <a:gd name="T31" fmla="*/ 114 h 1022"/>
                <a:gd name="T32" fmla="*/ 332 w 1195"/>
                <a:gd name="T33" fmla="*/ 134 h 1022"/>
                <a:gd name="T34" fmla="*/ 319 w 1195"/>
                <a:gd name="T35" fmla="*/ 148 h 1022"/>
                <a:gd name="T36" fmla="*/ 317 w 1195"/>
                <a:gd name="T37" fmla="*/ 165 h 1022"/>
                <a:gd name="T38" fmla="*/ 348 w 1195"/>
                <a:gd name="T39" fmla="*/ 175 h 1022"/>
                <a:gd name="T40" fmla="*/ 379 w 1195"/>
                <a:gd name="T41" fmla="*/ 218 h 1022"/>
                <a:gd name="T42" fmla="*/ 393 w 1195"/>
                <a:gd name="T43" fmla="*/ 234 h 1022"/>
                <a:gd name="T44" fmla="*/ 408 w 1195"/>
                <a:gd name="T45" fmla="*/ 243 h 1022"/>
                <a:gd name="T46" fmla="*/ 414 w 1195"/>
                <a:gd name="T47" fmla="*/ 233 h 1022"/>
                <a:gd name="T48" fmla="*/ 429 w 1195"/>
                <a:gd name="T49" fmla="*/ 219 h 1022"/>
                <a:gd name="T50" fmla="*/ 414 w 1195"/>
                <a:gd name="T51" fmla="*/ 208 h 1022"/>
                <a:gd name="T52" fmla="*/ 423 w 1195"/>
                <a:gd name="T53" fmla="*/ 182 h 1022"/>
                <a:gd name="T54" fmla="*/ 438 w 1195"/>
                <a:gd name="T55" fmla="*/ 185 h 1022"/>
                <a:gd name="T56" fmla="*/ 471 w 1195"/>
                <a:gd name="T57" fmla="*/ 200 h 1022"/>
                <a:gd name="T58" fmla="*/ 490 w 1195"/>
                <a:gd name="T59" fmla="*/ 216 h 1022"/>
                <a:gd name="T60" fmla="*/ 486 w 1195"/>
                <a:gd name="T61" fmla="*/ 236 h 1022"/>
                <a:gd name="T62" fmla="*/ 462 w 1195"/>
                <a:gd name="T63" fmla="*/ 243 h 1022"/>
                <a:gd name="T64" fmla="*/ 457 w 1195"/>
                <a:gd name="T65" fmla="*/ 250 h 1022"/>
                <a:gd name="T66" fmla="*/ 440 w 1195"/>
                <a:gd name="T67" fmla="*/ 254 h 1022"/>
                <a:gd name="T68" fmla="*/ 421 w 1195"/>
                <a:gd name="T69" fmla="*/ 251 h 1022"/>
                <a:gd name="T70" fmla="*/ 421 w 1195"/>
                <a:gd name="T71" fmla="*/ 258 h 1022"/>
                <a:gd name="T72" fmla="*/ 411 w 1195"/>
                <a:gd name="T73" fmla="*/ 269 h 1022"/>
                <a:gd name="T74" fmla="*/ 416 w 1195"/>
                <a:gd name="T75" fmla="*/ 290 h 1022"/>
                <a:gd name="T76" fmla="*/ 416 w 1195"/>
                <a:gd name="T77" fmla="*/ 300 h 1022"/>
                <a:gd name="T78" fmla="*/ 396 w 1195"/>
                <a:gd name="T79" fmla="*/ 304 h 1022"/>
                <a:gd name="T80" fmla="*/ 398 w 1195"/>
                <a:gd name="T81" fmla="*/ 322 h 1022"/>
                <a:gd name="T82" fmla="*/ 387 w 1195"/>
                <a:gd name="T83" fmla="*/ 331 h 1022"/>
                <a:gd name="T84" fmla="*/ 358 w 1195"/>
                <a:gd name="T85" fmla="*/ 334 h 1022"/>
                <a:gd name="T86" fmla="*/ 347 w 1195"/>
                <a:gd name="T87" fmla="*/ 316 h 1022"/>
                <a:gd name="T88" fmla="*/ 332 w 1195"/>
                <a:gd name="T89" fmla="*/ 316 h 1022"/>
                <a:gd name="T90" fmla="*/ 305 w 1195"/>
                <a:gd name="T91" fmla="*/ 299 h 1022"/>
                <a:gd name="T92" fmla="*/ 300 w 1195"/>
                <a:gd name="T93" fmla="*/ 283 h 1022"/>
                <a:gd name="T94" fmla="*/ 273 w 1195"/>
                <a:gd name="T95" fmla="*/ 290 h 1022"/>
                <a:gd name="T96" fmla="*/ 265 w 1195"/>
                <a:gd name="T97" fmla="*/ 300 h 1022"/>
                <a:gd name="T98" fmla="*/ 236 w 1195"/>
                <a:gd name="T99" fmla="*/ 288 h 1022"/>
                <a:gd name="T100" fmla="*/ 234 w 1195"/>
                <a:gd name="T101" fmla="*/ 274 h 1022"/>
                <a:gd name="T102" fmla="*/ 254 w 1195"/>
                <a:gd name="T103" fmla="*/ 283 h 1022"/>
                <a:gd name="T104" fmla="*/ 263 w 1195"/>
                <a:gd name="T105" fmla="*/ 263 h 1022"/>
                <a:gd name="T106" fmla="*/ 279 w 1195"/>
                <a:gd name="T107" fmla="*/ 251 h 1022"/>
                <a:gd name="T108" fmla="*/ 293 w 1195"/>
                <a:gd name="T109" fmla="*/ 233 h 1022"/>
                <a:gd name="T110" fmla="*/ 289 w 1195"/>
                <a:gd name="T111" fmla="*/ 203 h 1022"/>
                <a:gd name="T112" fmla="*/ 260 w 1195"/>
                <a:gd name="T113" fmla="*/ 165 h 1022"/>
                <a:gd name="T114" fmla="*/ 232 w 1195"/>
                <a:gd name="T115" fmla="*/ 157 h 1022"/>
                <a:gd name="T116" fmla="*/ 200 w 1195"/>
                <a:gd name="T117" fmla="*/ 126 h 1022"/>
                <a:gd name="T118" fmla="*/ 149 w 1195"/>
                <a:gd name="T119" fmla="*/ 117 h 1022"/>
                <a:gd name="T120" fmla="*/ 110 w 1195"/>
                <a:gd name="T121" fmla="*/ 118 h 1022"/>
                <a:gd name="T122" fmla="*/ 79 w 1195"/>
                <a:gd name="T123" fmla="*/ 128 h 1022"/>
                <a:gd name="T124" fmla="*/ 48 w 1195"/>
                <a:gd name="T125" fmla="*/ 114 h 10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95" h="1022">
                  <a:moveTo>
                    <a:pt x="12" y="324"/>
                  </a:moveTo>
                  <a:lnTo>
                    <a:pt x="0" y="192"/>
                  </a:lnTo>
                  <a:lnTo>
                    <a:pt x="6" y="165"/>
                  </a:lnTo>
                  <a:lnTo>
                    <a:pt x="45" y="147"/>
                  </a:lnTo>
                  <a:lnTo>
                    <a:pt x="99" y="102"/>
                  </a:lnTo>
                  <a:lnTo>
                    <a:pt x="183" y="66"/>
                  </a:lnTo>
                  <a:lnTo>
                    <a:pt x="219" y="51"/>
                  </a:lnTo>
                  <a:lnTo>
                    <a:pt x="219" y="18"/>
                  </a:lnTo>
                  <a:lnTo>
                    <a:pt x="234" y="0"/>
                  </a:lnTo>
                  <a:lnTo>
                    <a:pt x="249" y="3"/>
                  </a:lnTo>
                  <a:lnTo>
                    <a:pt x="303" y="12"/>
                  </a:lnTo>
                  <a:lnTo>
                    <a:pt x="303" y="36"/>
                  </a:lnTo>
                  <a:lnTo>
                    <a:pt x="311" y="75"/>
                  </a:lnTo>
                  <a:lnTo>
                    <a:pt x="306" y="138"/>
                  </a:lnTo>
                  <a:lnTo>
                    <a:pt x="353" y="210"/>
                  </a:lnTo>
                  <a:lnTo>
                    <a:pt x="377" y="225"/>
                  </a:lnTo>
                  <a:lnTo>
                    <a:pt x="416" y="195"/>
                  </a:lnTo>
                  <a:lnTo>
                    <a:pt x="500" y="195"/>
                  </a:lnTo>
                  <a:lnTo>
                    <a:pt x="518" y="204"/>
                  </a:lnTo>
                  <a:lnTo>
                    <a:pt x="530" y="222"/>
                  </a:lnTo>
                  <a:lnTo>
                    <a:pt x="521" y="240"/>
                  </a:lnTo>
                  <a:lnTo>
                    <a:pt x="476" y="279"/>
                  </a:lnTo>
                  <a:lnTo>
                    <a:pt x="482" y="297"/>
                  </a:lnTo>
                  <a:lnTo>
                    <a:pt x="533" y="336"/>
                  </a:lnTo>
                  <a:lnTo>
                    <a:pt x="554" y="336"/>
                  </a:lnTo>
                  <a:lnTo>
                    <a:pt x="560" y="345"/>
                  </a:lnTo>
                  <a:lnTo>
                    <a:pt x="554" y="360"/>
                  </a:lnTo>
                  <a:lnTo>
                    <a:pt x="587" y="384"/>
                  </a:lnTo>
                  <a:lnTo>
                    <a:pt x="662" y="396"/>
                  </a:lnTo>
                  <a:lnTo>
                    <a:pt x="698" y="387"/>
                  </a:lnTo>
                  <a:lnTo>
                    <a:pt x="743" y="342"/>
                  </a:lnTo>
                  <a:lnTo>
                    <a:pt x="800" y="348"/>
                  </a:lnTo>
                  <a:lnTo>
                    <a:pt x="821" y="381"/>
                  </a:lnTo>
                  <a:lnTo>
                    <a:pt x="809" y="411"/>
                  </a:lnTo>
                  <a:lnTo>
                    <a:pt x="812" y="432"/>
                  </a:lnTo>
                  <a:lnTo>
                    <a:pt x="782" y="450"/>
                  </a:lnTo>
                  <a:lnTo>
                    <a:pt x="770" y="465"/>
                  </a:lnTo>
                  <a:lnTo>
                    <a:pt x="773" y="504"/>
                  </a:lnTo>
                  <a:lnTo>
                    <a:pt x="827" y="540"/>
                  </a:lnTo>
                  <a:lnTo>
                    <a:pt x="848" y="534"/>
                  </a:lnTo>
                  <a:lnTo>
                    <a:pt x="911" y="608"/>
                  </a:lnTo>
                  <a:lnTo>
                    <a:pt x="923" y="665"/>
                  </a:lnTo>
                  <a:lnTo>
                    <a:pt x="917" y="692"/>
                  </a:lnTo>
                  <a:lnTo>
                    <a:pt x="959" y="716"/>
                  </a:lnTo>
                  <a:lnTo>
                    <a:pt x="959" y="734"/>
                  </a:lnTo>
                  <a:lnTo>
                    <a:pt x="998" y="743"/>
                  </a:lnTo>
                  <a:lnTo>
                    <a:pt x="1010" y="743"/>
                  </a:lnTo>
                  <a:lnTo>
                    <a:pt x="1010" y="710"/>
                  </a:lnTo>
                  <a:lnTo>
                    <a:pt x="1040" y="707"/>
                  </a:lnTo>
                  <a:lnTo>
                    <a:pt x="1046" y="668"/>
                  </a:lnTo>
                  <a:lnTo>
                    <a:pt x="1025" y="653"/>
                  </a:lnTo>
                  <a:lnTo>
                    <a:pt x="1010" y="635"/>
                  </a:lnTo>
                  <a:lnTo>
                    <a:pt x="1016" y="564"/>
                  </a:lnTo>
                  <a:lnTo>
                    <a:pt x="1034" y="555"/>
                  </a:lnTo>
                  <a:lnTo>
                    <a:pt x="1060" y="567"/>
                  </a:lnTo>
                  <a:lnTo>
                    <a:pt x="1072" y="564"/>
                  </a:lnTo>
                  <a:lnTo>
                    <a:pt x="1078" y="576"/>
                  </a:lnTo>
                  <a:lnTo>
                    <a:pt x="1150" y="611"/>
                  </a:lnTo>
                  <a:lnTo>
                    <a:pt x="1189" y="635"/>
                  </a:lnTo>
                  <a:lnTo>
                    <a:pt x="1195" y="659"/>
                  </a:lnTo>
                  <a:lnTo>
                    <a:pt x="1174" y="689"/>
                  </a:lnTo>
                  <a:lnTo>
                    <a:pt x="1186" y="722"/>
                  </a:lnTo>
                  <a:lnTo>
                    <a:pt x="1180" y="740"/>
                  </a:lnTo>
                  <a:lnTo>
                    <a:pt x="1126" y="743"/>
                  </a:lnTo>
                  <a:lnTo>
                    <a:pt x="1114" y="749"/>
                  </a:lnTo>
                  <a:lnTo>
                    <a:pt x="1117" y="761"/>
                  </a:lnTo>
                  <a:lnTo>
                    <a:pt x="1117" y="776"/>
                  </a:lnTo>
                  <a:lnTo>
                    <a:pt x="1075" y="779"/>
                  </a:lnTo>
                  <a:lnTo>
                    <a:pt x="1054" y="767"/>
                  </a:lnTo>
                  <a:lnTo>
                    <a:pt x="1025" y="767"/>
                  </a:lnTo>
                  <a:lnTo>
                    <a:pt x="1019" y="776"/>
                  </a:lnTo>
                  <a:lnTo>
                    <a:pt x="1025" y="791"/>
                  </a:lnTo>
                  <a:lnTo>
                    <a:pt x="1010" y="806"/>
                  </a:lnTo>
                  <a:lnTo>
                    <a:pt x="1004" y="824"/>
                  </a:lnTo>
                  <a:lnTo>
                    <a:pt x="1034" y="848"/>
                  </a:lnTo>
                  <a:lnTo>
                    <a:pt x="1013" y="887"/>
                  </a:lnTo>
                  <a:lnTo>
                    <a:pt x="1022" y="908"/>
                  </a:lnTo>
                  <a:lnTo>
                    <a:pt x="1019" y="920"/>
                  </a:lnTo>
                  <a:lnTo>
                    <a:pt x="989" y="920"/>
                  </a:lnTo>
                  <a:lnTo>
                    <a:pt x="965" y="929"/>
                  </a:lnTo>
                  <a:lnTo>
                    <a:pt x="983" y="956"/>
                  </a:lnTo>
                  <a:lnTo>
                    <a:pt x="971" y="986"/>
                  </a:lnTo>
                  <a:lnTo>
                    <a:pt x="938" y="995"/>
                  </a:lnTo>
                  <a:lnTo>
                    <a:pt x="941" y="1013"/>
                  </a:lnTo>
                  <a:lnTo>
                    <a:pt x="932" y="1022"/>
                  </a:lnTo>
                  <a:lnTo>
                    <a:pt x="872" y="1019"/>
                  </a:lnTo>
                  <a:lnTo>
                    <a:pt x="848" y="1001"/>
                  </a:lnTo>
                  <a:lnTo>
                    <a:pt x="845" y="965"/>
                  </a:lnTo>
                  <a:lnTo>
                    <a:pt x="830" y="953"/>
                  </a:lnTo>
                  <a:lnTo>
                    <a:pt x="809" y="965"/>
                  </a:lnTo>
                  <a:lnTo>
                    <a:pt x="773" y="929"/>
                  </a:lnTo>
                  <a:lnTo>
                    <a:pt x="746" y="911"/>
                  </a:lnTo>
                  <a:lnTo>
                    <a:pt x="743" y="884"/>
                  </a:lnTo>
                  <a:lnTo>
                    <a:pt x="734" y="863"/>
                  </a:lnTo>
                  <a:lnTo>
                    <a:pt x="722" y="863"/>
                  </a:lnTo>
                  <a:lnTo>
                    <a:pt x="665" y="887"/>
                  </a:lnTo>
                  <a:lnTo>
                    <a:pt x="668" y="917"/>
                  </a:lnTo>
                  <a:lnTo>
                    <a:pt x="647" y="917"/>
                  </a:lnTo>
                  <a:lnTo>
                    <a:pt x="611" y="881"/>
                  </a:lnTo>
                  <a:lnTo>
                    <a:pt x="575" y="878"/>
                  </a:lnTo>
                  <a:lnTo>
                    <a:pt x="563" y="857"/>
                  </a:lnTo>
                  <a:lnTo>
                    <a:pt x="572" y="833"/>
                  </a:lnTo>
                  <a:lnTo>
                    <a:pt x="593" y="854"/>
                  </a:lnTo>
                  <a:lnTo>
                    <a:pt x="620" y="863"/>
                  </a:lnTo>
                  <a:lnTo>
                    <a:pt x="641" y="845"/>
                  </a:lnTo>
                  <a:lnTo>
                    <a:pt x="641" y="806"/>
                  </a:lnTo>
                  <a:lnTo>
                    <a:pt x="662" y="785"/>
                  </a:lnTo>
                  <a:lnTo>
                    <a:pt x="680" y="767"/>
                  </a:lnTo>
                  <a:lnTo>
                    <a:pt x="671" y="746"/>
                  </a:lnTo>
                  <a:lnTo>
                    <a:pt x="716" y="710"/>
                  </a:lnTo>
                  <a:lnTo>
                    <a:pt x="725" y="653"/>
                  </a:lnTo>
                  <a:lnTo>
                    <a:pt x="704" y="623"/>
                  </a:lnTo>
                  <a:lnTo>
                    <a:pt x="692" y="576"/>
                  </a:lnTo>
                  <a:lnTo>
                    <a:pt x="635" y="501"/>
                  </a:lnTo>
                  <a:lnTo>
                    <a:pt x="605" y="513"/>
                  </a:lnTo>
                  <a:lnTo>
                    <a:pt x="566" y="477"/>
                  </a:lnTo>
                  <a:lnTo>
                    <a:pt x="509" y="441"/>
                  </a:lnTo>
                  <a:lnTo>
                    <a:pt x="488" y="387"/>
                  </a:lnTo>
                  <a:lnTo>
                    <a:pt x="446" y="402"/>
                  </a:lnTo>
                  <a:lnTo>
                    <a:pt x="365" y="354"/>
                  </a:lnTo>
                  <a:lnTo>
                    <a:pt x="326" y="375"/>
                  </a:lnTo>
                  <a:lnTo>
                    <a:pt x="267" y="366"/>
                  </a:lnTo>
                  <a:lnTo>
                    <a:pt x="222" y="393"/>
                  </a:lnTo>
                  <a:lnTo>
                    <a:pt x="192" y="393"/>
                  </a:lnTo>
                  <a:lnTo>
                    <a:pt x="147" y="366"/>
                  </a:lnTo>
                  <a:lnTo>
                    <a:pt x="117" y="348"/>
                  </a:lnTo>
                  <a:lnTo>
                    <a:pt x="12" y="324"/>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1" name="Freeform 55"/>
            <p:cNvSpPr>
              <a:spLocks/>
            </p:cNvSpPr>
            <p:nvPr/>
          </p:nvSpPr>
          <p:spPr bwMode="auto">
            <a:xfrm>
              <a:off x="395536" y="1820887"/>
              <a:ext cx="2481263" cy="1860550"/>
            </a:xfrm>
            <a:custGeom>
              <a:avLst/>
              <a:gdLst>
                <a:gd name="T0" fmla="*/ 501 w 1768"/>
                <a:gd name="T1" fmla="*/ 15 h 1342"/>
                <a:gd name="T2" fmla="*/ 523 w 1768"/>
                <a:gd name="T3" fmla="*/ 37 h 1342"/>
                <a:gd name="T4" fmla="*/ 556 w 1768"/>
                <a:gd name="T5" fmla="*/ 53 h 1342"/>
                <a:gd name="T6" fmla="*/ 581 w 1768"/>
                <a:gd name="T7" fmla="*/ 96 h 1342"/>
                <a:gd name="T8" fmla="*/ 566 w 1768"/>
                <a:gd name="T9" fmla="*/ 129 h 1342"/>
                <a:gd name="T10" fmla="*/ 646 w 1768"/>
                <a:gd name="T11" fmla="*/ 155 h 1342"/>
                <a:gd name="T12" fmla="*/ 700 w 1768"/>
                <a:gd name="T13" fmla="*/ 189 h 1342"/>
                <a:gd name="T14" fmla="*/ 728 w 1768"/>
                <a:gd name="T15" fmla="*/ 236 h 1342"/>
                <a:gd name="T16" fmla="*/ 707 w 1768"/>
                <a:gd name="T17" fmla="*/ 257 h 1342"/>
                <a:gd name="T18" fmla="*/ 634 w 1768"/>
                <a:gd name="T19" fmla="*/ 289 h 1342"/>
                <a:gd name="T20" fmla="*/ 624 w 1768"/>
                <a:gd name="T21" fmla="*/ 338 h 1342"/>
                <a:gd name="T22" fmla="*/ 519 w 1768"/>
                <a:gd name="T23" fmla="*/ 363 h 1342"/>
                <a:gd name="T24" fmla="*/ 538 w 1768"/>
                <a:gd name="T25" fmla="*/ 408 h 1342"/>
                <a:gd name="T26" fmla="*/ 527 w 1768"/>
                <a:gd name="T27" fmla="*/ 424 h 1342"/>
                <a:gd name="T28" fmla="*/ 512 w 1768"/>
                <a:gd name="T29" fmla="*/ 433 h 1342"/>
                <a:gd name="T30" fmla="*/ 469 w 1768"/>
                <a:gd name="T31" fmla="*/ 427 h 1342"/>
                <a:gd name="T32" fmla="*/ 399 w 1768"/>
                <a:gd name="T33" fmla="*/ 418 h 1342"/>
                <a:gd name="T34" fmla="*/ 328 w 1768"/>
                <a:gd name="T35" fmla="*/ 429 h 1342"/>
                <a:gd name="T36" fmla="*/ 274 w 1768"/>
                <a:gd name="T37" fmla="*/ 422 h 1342"/>
                <a:gd name="T38" fmla="*/ 210 w 1768"/>
                <a:gd name="T39" fmla="*/ 424 h 1342"/>
                <a:gd name="T40" fmla="*/ 174 w 1768"/>
                <a:gd name="T41" fmla="*/ 412 h 1342"/>
                <a:gd name="T42" fmla="*/ 136 w 1768"/>
                <a:gd name="T43" fmla="*/ 392 h 1342"/>
                <a:gd name="T44" fmla="*/ 55 w 1768"/>
                <a:gd name="T45" fmla="*/ 379 h 1342"/>
                <a:gd name="T46" fmla="*/ 45 w 1768"/>
                <a:gd name="T47" fmla="*/ 356 h 1342"/>
                <a:gd name="T48" fmla="*/ 29 w 1768"/>
                <a:gd name="T49" fmla="*/ 338 h 1342"/>
                <a:gd name="T50" fmla="*/ 16 w 1768"/>
                <a:gd name="T51" fmla="*/ 321 h 1342"/>
                <a:gd name="T52" fmla="*/ 27 w 1768"/>
                <a:gd name="T53" fmla="*/ 302 h 1342"/>
                <a:gd name="T54" fmla="*/ 5 w 1768"/>
                <a:gd name="T55" fmla="*/ 277 h 1342"/>
                <a:gd name="T56" fmla="*/ 5 w 1768"/>
                <a:gd name="T57" fmla="*/ 251 h 1342"/>
                <a:gd name="T58" fmla="*/ 17 w 1768"/>
                <a:gd name="T59" fmla="*/ 234 h 1342"/>
                <a:gd name="T60" fmla="*/ 59 w 1768"/>
                <a:gd name="T61" fmla="*/ 222 h 1342"/>
                <a:gd name="T62" fmla="*/ 78 w 1768"/>
                <a:gd name="T63" fmla="*/ 224 h 1342"/>
                <a:gd name="T64" fmla="*/ 102 w 1768"/>
                <a:gd name="T65" fmla="*/ 232 h 1342"/>
                <a:gd name="T66" fmla="*/ 174 w 1768"/>
                <a:gd name="T67" fmla="*/ 214 h 1342"/>
                <a:gd name="T68" fmla="*/ 237 w 1768"/>
                <a:gd name="T69" fmla="*/ 182 h 1342"/>
                <a:gd name="T70" fmla="*/ 257 w 1768"/>
                <a:gd name="T71" fmla="*/ 168 h 1342"/>
                <a:gd name="T72" fmla="*/ 246 w 1768"/>
                <a:gd name="T73" fmla="*/ 114 h 1342"/>
                <a:gd name="T74" fmla="*/ 301 w 1768"/>
                <a:gd name="T75" fmla="*/ 105 h 1342"/>
                <a:gd name="T76" fmla="*/ 325 w 1768"/>
                <a:gd name="T77" fmla="*/ 114 h 1342"/>
                <a:gd name="T78" fmla="*/ 351 w 1768"/>
                <a:gd name="T79" fmla="*/ 55 h 1342"/>
                <a:gd name="T80" fmla="*/ 397 w 1768"/>
                <a:gd name="T81" fmla="*/ 63 h 1342"/>
                <a:gd name="T82" fmla="*/ 436 w 1768"/>
                <a:gd name="T83" fmla="*/ 27 h 1342"/>
                <a:gd name="T84" fmla="*/ 469 w 1768"/>
                <a:gd name="T85" fmla="*/ 13 h 1342"/>
                <a:gd name="T86" fmla="*/ 498 w 1768"/>
                <a:gd name="T87" fmla="*/ 4 h 13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68" h="1342">
                  <a:moveTo>
                    <a:pt x="1207" y="12"/>
                  </a:moveTo>
                  <a:lnTo>
                    <a:pt x="1225" y="12"/>
                  </a:lnTo>
                  <a:lnTo>
                    <a:pt x="1213" y="48"/>
                  </a:lnTo>
                  <a:lnTo>
                    <a:pt x="1228" y="66"/>
                  </a:lnTo>
                  <a:lnTo>
                    <a:pt x="1231" y="78"/>
                  </a:lnTo>
                  <a:lnTo>
                    <a:pt x="1267" y="114"/>
                  </a:lnTo>
                  <a:lnTo>
                    <a:pt x="1276" y="141"/>
                  </a:lnTo>
                  <a:lnTo>
                    <a:pt x="1324" y="144"/>
                  </a:lnTo>
                  <a:lnTo>
                    <a:pt x="1345" y="162"/>
                  </a:lnTo>
                  <a:lnTo>
                    <a:pt x="1357" y="162"/>
                  </a:lnTo>
                  <a:lnTo>
                    <a:pt x="1384" y="222"/>
                  </a:lnTo>
                  <a:lnTo>
                    <a:pt x="1411" y="294"/>
                  </a:lnTo>
                  <a:lnTo>
                    <a:pt x="1396" y="336"/>
                  </a:lnTo>
                  <a:lnTo>
                    <a:pt x="1399" y="351"/>
                  </a:lnTo>
                  <a:lnTo>
                    <a:pt x="1375" y="396"/>
                  </a:lnTo>
                  <a:lnTo>
                    <a:pt x="1381" y="429"/>
                  </a:lnTo>
                  <a:lnTo>
                    <a:pt x="1471" y="468"/>
                  </a:lnTo>
                  <a:lnTo>
                    <a:pt x="1567" y="480"/>
                  </a:lnTo>
                  <a:lnTo>
                    <a:pt x="1666" y="549"/>
                  </a:lnTo>
                  <a:lnTo>
                    <a:pt x="1696" y="561"/>
                  </a:lnTo>
                  <a:lnTo>
                    <a:pt x="1699" y="579"/>
                  </a:lnTo>
                  <a:lnTo>
                    <a:pt x="1720" y="623"/>
                  </a:lnTo>
                  <a:lnTo>
                    <a:pt x="1741" y="677"/>
                  </a:lnTo>
                  <a:lnTo>
                    <a:pt x="1768" y="725"/>
                  </a:lnTo>
                  <a:lnTo>
                    <a:pt x="1753" y="743"/>
                  </a:lnTo>
                  <a:lnTo>
                    <a:pt x="1753" y="776"/>
                  </a:lnTo>
                  <a:lnTo>
                    <a:pt x="1717" y="791"/>
                  </a:lnTo>
                  <a:lnTo>
                    <a:pt x="1633" y="827"/>
                  </a:lnTo>
                  <a:lnTo>
                    <a:pt x="1579" y="872"/>
                  </a:lnTo>
                  <a:lnTo>
                    <a:pt x="1540" y="890"/>
                  </a:lnTo>
                  <a:lnTo>
                    <a:pt x="1534" y="917"/>
                  </a:lnTo>
                  <a:lnTo>
                    <a:pt x="1546" y="1049"/>
                  </a:lnTo>
                  <a:lnTo>
                    <a:pt x="1513" y="1043"/>
                  </a:lnTo>
                  <a:lnTo>
                    <a:pt x="1498" y="1055"/>
                  </a:lnTo>
                  <a:lnTo>
                    <a:pt x="1291" y="1097"/>
                  </a:lnTo>
                  <a:lnTo>
                    <a:pt x="1261" y="1118"/>
                  </a:lnTo>
                  <a:lnTo>
                    <a:pt x="1264" y="1175"/>
                  </a:lnTo>
                  <a:lnTo>
                    <a:pt x="1327" y="1226"/>
                  </a:lnTo>
                  <a:lnTo>
                    <a:pt x="1306" y="1259"/>
                  </a:lnTo>
                  <a:lnTo>
                    <a:pt x="1276" y="1274"/>
                  </a:lnTo>
                  <a:lnTo>
                    <a:pt x="1273" y="1289"/>
                  </a:lnTo>
                  <a:lnTo>
                    <a:pt x="1279" y="1307"/>
                  </a:lnTo>
                  <a:lnTo>
                    <a:pt x="1294" y="1307"/>
                  </a:lnTo>
                  <a:lnTo>
                    <a:pt x="1303" y="1319"/>
                  </a:lnTo>
                  <a:lnTo>
                    <a:pt x="1243" y="1339"/>
                  </a:lnTo>
                  <a:lnTo>
                    <a:pt x="1207" y="1325"/>
                  </a:lnTo>
                  <a:lnTo>
                    <a:pt x="1189" y="1316"/>
                  </a:lnTo>
                  <a:lnTo>
                    <a:pt x="1141" y="1316"/>
                  </a:lnTo>
                  <a:lnTo>
                    <a:pt x="1061" y="1277"/>
                  </a:lnTo>
                  <a:lnTo>
                    <a:pt x="1010" y="1277"/>
                  </a:lnTo>
                  <a:lnTo>
                    <a:pt x="968" y="1289"/>
                  </a:lnTo>
                  <a:lnTo>
                    <a:pt x="923" y="1289"/>
                  </a:lnTo>
                  <a:lnTo>
                    <a:pt x="851" y="1328"/>
                  </a:lnTo>
                  <a:lnTo>
                    <a:pt x="794" y="1322"/>
                  </a:lnTo>
                  <a:lnTo>
                    <a:pt x="740" y="1342"/>
                  </a:lnTo>
                  <a:lnTo>
                    <a:pt x="692" y="1325"/>
                  </a:lnTo>
                  <a:lnTo>
                    <a:pt x="662" y="1301"/>
                  </a:lnTo>
                  <a:lnTo>
                    <a:pt x="587" y="1289"/>
                  </a:lnTo>
                  <a:lnTo>
                    <a:pt x="536" y="1325"/>
                  </a:lnTo>
                  <a:lnTo>
                    <a:pt x="509" y="1313"/>
                  </a:lnTo>
                  <a:lnTo>
                    <a:pt x="488" y="1295"/>
                  </a:lnTo>
                  <a:lnTo>
                    <a:pt x="431" y="1280"/>
                  </a:lnTo>
                  <a:lnTo>
                    <a:pt x="422" y="1271"/>
                  </a:lnTo>
                  <a:lnTo>
                    <a:pt x="401" y="1271"/>
                  </a:lnTo>
                  <a:lnTo>
                    <a:pt x="365" y="1217"/>
                  </a:lnTo>
                  <a:lnTo>
                    <a:pt x="333" y="1208"/>
                  </a:lnTo>
                  <a:lnTo>
                    <a:pt x="246" y="1235"/>
                  </a:lnTo>
                  <a:lnTo>
                    <a:pt x="210" y="1226"/>
                  </a:lnTo>
                  <a:lnTo>
                    <a:pt x="135" y="1172"/>
                  </a:lnTo>
                  <a:lnTo>
                    <a:pt x="114" y="1169"/>
                  </a:lnTo>
                  <a:lnTo>
                    <a:pt x="99" y="1133"/>
                  </a:lnTo>
                  <a:lnTo>
                    <a:pt x="111" y="1097"/>
                  </a:lnTo>
                  <a:lnTo>
                    <a:pt x="105" y="1079"/>
                  </a:lnTo>
                  <a:lnTo>
                    <a:pt x="78" y="1061"/>
                  </a:lnTo>
                  <a:lnTo>
                    <a:pt x="69" y="1043"/>
                  </a:lnTo>
                  <a:lnTo>
                    <a:pt x="12" y="1010"/>
                  </a:lnTo>
                  <a:lnTo>
                    <a:pt x="12" y="1001"/>
                  </a:lnTo>
                  <a:lnTo>
                    <a:pt x="39" y="989"/>
                  </a:lnTo>
                  <a:lnTo>
                    <a:pt x="57" y="998"/>
                  </a:lnTo>
                  <a:lnTo>
                    <a:pt x="72" y="983"/>
                  </a:lnTo>
                  <a:lnTo>
                    <a:pt x="66" y="929"/>
                  </a:lnTo>
                  <a:lnTo>
                    <a:pt x="72" y="884"/>
                  </a:lnTo>
                  <a:lnTo>
                    <a:pt x="36" y="845"/>
                  </a:lnTo>
                  <a:lnTo>
                    <a:pt x="9" y="854"/>
                  </a:lnTo>
                  <a:lnTo>
                    <a:pt x="0" y="827"/>
                  </a:lnTo>
                  <a:lnTo>
                    <a:pt x="15" y="800"/>
                  </a:lnTo>
                  <a:lnTo>
                    <a:pt x="6" y="773"/>
                  </a:lnTo>
                  <a:lnTo>
                    <a:pt x="30" y="752"/>
                  </a:lnTo>
                  <a:lnTo>
                    <a:pt x="42" y="743"/>
                  </a:lnTo>
                  <a:lnTo>
                    <a:pt x="42" y="722"/>
                  </a:lnTo>
                  <a:lnTo>
                    <a:pt x="75" y="704"/>
                  </a:lnTo>
                  <a:lnTo>
                    <a:pt x="111" y="698"/>
                  </a:lnTo>
                  <a:lnTo>
                    <a:pt x="141" y="686"/>
                  </a:lnTo>
                  <a:lnTo>
                    <a:pt x="165" y="695"/>
                  </a:lnTo>
                  <a:lnTo>
                    <a:pt x="183" y="686"/>
                  </a:lnTo>
                  <a:lnTo>
                    <a:pt x="189" y="692"/>
                  </a:lnTo>
                  <a:lnTo>
                    <a:pt x="192" y="713"/>
                  </a:lnTo>
                  <a:lnTo>
                    <a:pt x="207" y="722"/>
                  </a:lnTo>
                  <a:lnTo>
                    <a:pt x="246" y="719"/>
                  </a:lnTo>
                  <a:lnTo>
                    <a:pt x="291" y="671"/>
                  </a:lnTo>
                  <a:lnTo>
                    <a:pt x="377" y="689"/>
                  </a:lnTo>
                  <a:lnTo>
                    <a:pt x="422" y="659"/>
                  </a:lnTo>
                  <a:lnTo>
                    <a:pt x="554" y="629"/>
                  </a:lnTo>
                  <a:lnTo>
                    <a:pt x="563" y="611"/>
                  </a:lnTo>
                  <a:lnTo>
                    <a:pt x="575" y="561"/>
                  </a:lnTo>
                  <a:lnTo>
                    <a:pt x="611" y="531"/>
                  </a:lnTo>
                  <a:lnTo>
                    <a:pt x="623" y="531"/>
                  </a:lnTo>
                  <a:lnTo>
                    <a:pt x="623" y="516"/>
                  </a:lnTo>
                  <a:lnTo>
                    <a:pt x="626" y="390"/>
                  </a:lnTo>
                  <a:lnTo>
                    <a:pt x="632" y="366"/>
                  </a:lnTo>
                  <a:lnTo>
                    <a:pt x="596" y="351"/>
                  </a:lnTo>
                  <a:lnTo>
                    <a:pt x="593" y="342"/>
                  </a:lnTo>
                  <a:lnTo>
                    <a:pt x="632" y="330"/>
                  </a:lnTo>
                  <a:lnTo>
                    <a:pt x="731" y="321"/>
                  </a:lnTo>
                  <a:lnTo>
                    <a:pt x="746" y="342"/>
                  </a:lnTo>
                  <a:lnTo>
                    <a:pt x="779" y="351"/>
                  </a:lnTo>
                  <a:lnTo>
                    <a:pt x="788" y="351"/>
                  </a:lnTo>
                  <a:lnTo>
                    <a:pt x="803" y="333"/>
                  </a:lnTo>
                  <a:lnTo>
                    <a:pt x="785" y="315"/>
                  </a:lnTo>
                  <a:lnTo>
                    <a:pt x="857" y="168"/>
                  </a:lnTo>
                  <a:lnTo>
                    <a:pt x="869" y="159"/>
                  </a:lnTo>
                  <a:lnTo>
                    <a:pt x="935" y="192"/>
                  </a:lnTo>
                  <a:lnTo>
                    <a:pt x="965" y="192"/>
                  </a:lnTo>
                  <a:lnTo>
                    <a:pt x="977" y="210"/>
                  </a:lnTo>
                  <a:lnTo>
                    <a:pt x="1040" y="192"/>
                  </a:lnTo>
                  <a:lnTo>
                    <a:pt x="1058" y="84"/>
                  </a:lnTo>
                  <a:lnTo>
                    <a:pt x="1085" y="66"/>
                  </a:lnTo>
                  <a:lnTo>
                    <a:pt x="1117" y="66"/>
                  </a:lnTo>
                  <a:lnTo>
                    <a:pt x="1138" y="39"/>
                  </a:lnTo>
                  <a:lnTo>
                    <a:pt x="1147" y="12"/>
                  </a:lnTo>
                  <a:lnTo>
                    <a:pt x="1165" y="0"/>
                  </a:lnTo>
                  <a:lnTo>
                    <a:pt x="1207" y="1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2" name="Freeform 56"/>
            <p:cNvSpPr>
              <a:spLocks/>
            </p:cNvSpPr>
            <p:nvPr/>
          </p:nvSpPr>
          <p:spPr bwMode="auto">
            <a:xfrm>
              <a:off x="3903911" y="3241700"/>
              <a:ext cx="608013" cy="1090612"/>
            </a:xfrm>
            <a:custGeom>
              <a:avLst/>
              <a:gdLst>
                <a:gd name="T0" fmla="*/ 148 w 434"/>
                <a:gd name="T1" fmla="*/ 153 h 785"/>
                <a:gd name="T2" fmla="*/ 144 w 434"/>
                <a:gd name="T3" fmla="*/ 87 h 785"/>
                <a:gd name="T4" fmla="*/ 156 w 434"/>
                <a:gd name="T5" fmla="*/ 64 h 785"/>
                <a:gd name="T6" fmla="*/ 156 w 434"/>
                <a:gd name="T7" fmla="*/ 34 h 785"/>
                <a:gd name="T8" fmla="*/ 163 w 434"/>
                <a:gd name="T9" fmla="*/ 13 h 785"/>
                <a:gd name="T10" fmla="*/ 157 w 434"/>
                <a:gd name="T11" fmla="*/ 0 h 785"/>
                <a:gd name="T12" fmla="*/ 130 w 434"/>
                <a:gd name="T13" fmla="*/ 8 h 785"/>
                <a:gd name="T14" fmla="*/ 121 w 434"/>
                <a:gd name="T15" fmla="*/ 27 h 785"/>
                <a:gd name="T16" fmla="*/ 111 w 434"/>
                <a:gd name="T17" fmla="*/ 33 h 785"/>
                <a:gd name="T18" fmla="*/ 76 w 434"/>
                <a:gd name="T19" fmla="*/ 65 h 785"/>
                <a:gd name="T20" fmla="*/ 49 w 434"/>
                <a:gd name="T21" fmla="*/ 64 h 785"/>
                <a:gd name="T22" fmla="*/ 44 w 434"/>
                <a:gd name="T23" fmla="*/ 87 h 785"/>
                <a:gd name="T24" fmla="*/ 76 w 434"/>
                <a:gd name="T25" fmla="*/ 102 h 785"/>
                <a:gd name="T26" fmla="*/ 94 w 434"/>
                <a:gd name="T27" fmla="*/ 118 h 785"/>
                <a:gd name="T28" fmla="*/ 91 w 434"/>
                <a:gd name="T29" fmla="*/ 139 h 785"/>
                <a:gd name="T30" fmla="*/ 66 w 434"/>
                <a:gd name="T31" fmla="*/ 145 h 785"/>
                <a:gd name="T32" fmla="*/ 62 w 434"/>
                <a:gd name="T33" fmla="*/ 150 h 785"/>
                <a:gd name="T34" fmla="*/ 45 w 434"/>
                <a:gd name="T35" fmla="*/ 157 h 785"/>
                <a:gd name="T36" fmla="*/ 25 w 434"/>
                <a:gd name="T37" fmla="*/ 153 h 785"/>
                <a:gd name="T38" fmla="*/ 25 w 434"/>
                <a:gd name="T39" fmla="*/ 160 h 785"/>
                <a:gd name="T40" fmla="*/ 16 w 434"/>
                <a:gd name="T41" fmla="*/ 172 h 785"/>
                <a:gd name="T42" fmla="*/ 20 w 434"/>
                <a:gd name="T43" fmla="*/ 192 h 785"/>
                <a:gd name="T44" fmla="*/ 23 w 434"/>
                <a:gd name="T45" fmla="*/ 202 h 785"/>
                <a:gd name="T46" fmla="*/ 0 w 434"/>
                <a:gd name="T47" fmla="*/ 206 h 785"/>
                <a:gd name="T48" fmla="*/ 5 w 434"/>
                <a:gd name="T49" fmla="*/ 224 h 785"/>
                <a:gd name="T50" fmla="*/ 12 w 434"/>
                <a:gd name="T51" fmla="*/ 233 h 785"/>
                <a:gd name="T52" fmla="*/ 41 w 434"/>
                <a:gd name="T53" fmla="*/ 230 h 785"/>
                <a:gd name="T54" fmla="*/ 48 w 434"/>
                <a:gd name="T55" fmla="*/ 236 h 785"/>
                <a:gd name="T56" fmla="*/ 79 w 434"/>
                <a:gd name="T57" fmla="*/ 247 h 785"/>
                <a:gd name="T58" fmla="*/ 118 w 434"/>
                <a:gd name="T59" fmla="*/ 251 h 785"/>
                <a:gd name="T60" fmla="*/ 135 w 434"/>
                <a:gd name="T61" fmla="*/ 254 h 785"/>
                <a:gd name="T62" fmla="*/ 132 w 434"/>
                <a:gd name="T63" fmla="*/ 240 h 785"/>
                <a:gd name="T64" fmla="*/ 148 w 434"/>
                <a:gd name="T65" fmla="*/ 226 h 785"/>
                <a:gd name="T66" fmla="*/ 144 w 434"/>
                <a:gd name="T67" fmla="*/ 220 h 785"/>
                <a:gd name="T68" fmla="*/ 127 w 434"/>
                <a:gd name="T69" fmla="*/ 210 h 785"/>
                <a:gd name="T70" fmla="*/ 160 w 434"/>
                <a:gd name="T71" fmla="*/ 208 h 785"/>
                <a:gd name="T72" fmla="*/ 169 w 434"/>
                <a:gd name="T73" fmla="*/ 210 h 785"/>
                <a:gd name="T74" fmla="*/ 177 w 434"/>
                <a:gd name="T75" fmla="*/ 197 h 785"/>
                <a:gd name="T76" fmla="*/ 152 w 434"/>
                <a:gd name="T77" fmla="*/ 162 h 7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4" h="785">
                  <a:moveTo>
                    <a:pt x="371" y="497"/>
                  </a:moveTo>
                  <a:lnTo>
                    <a:pt x="362" y="467"/>
                  </a:lnTo>
                  <a:lnTo>
                    <a:pt x="380" y="398"/>
                  </a:lnTo>
                  <a:lnTo>
                    <a:pt x="350" y="264"/>
                  </a:lnTo>
                  <a:lnTo>
                    <a:pt x="371" y="231"/>
                  </a:lnTo>
                  <a:lnTo>
                    <a:pt x="380" y="198"/>
                  </a:lnTo>
                  <a:lnTo>
                    <a:pt x="353" y="144"/>
                  </a:lnTo>
                  <a:lnTo>
                    <a:pt x="380" y="105"/>
                  </a:lnTo>
                  <a:lnTo>
                    <a:pt x="383" y="69"/>
                  </a:lnTo>
                  <a:lnTo>
                    <a:pt x="398" y="42"/>
                  </a:lnTo>
                  <a:lnTo>
                    <a:pt x="395" y="9"/>
                  </a:lnTo>
                  <a:lnTo>
                    <a:pt x="383" y="0"/>
                  </a:lnTo>
                  <a:lnTo>
                    <a:pt x="365" y="21"/>
                  </a:lnTo>
                  <a:lnTo>
                    <a:pt x="317" y="24"/>
                  </a:lnTo>
                  <a:lnTo>
                    <a:pt x="293" y="60"/>
                  </a:lnTo>
                  <a:lnTo>
                    <a:pt x="293" y="81"/>
                  </a:lnTo>
                  <a:lnTo>
                    <a:pt x="290" y="93"/>
                  </a:lnTo>
                  <a:lnTo>
                    <a:pt x="269" y="102"/>
                  </a:lnTo>
                  <a:lnTo>
                    <a:pt x="194" y="207"/>
                  </a:lnTo>
                  <a:lnTo>
                    <a:pt x="185" y="201"/>
                  </a:lnTo>
                  <a:lnTo>
                    <a:pt x="164" y="195"/>
                  </a:lnTo>
                  <a:lnTo>
                    <a:pt x="122" y="198"/>
                  </a:lnTo>
                  <a:lnTo>
                    <a:pt x="107" y="219"/>
                  </a:lnTo>
                  <a:lnTo>
                    <a:pt x="107" y="264"/>
                  </a:lnTo>
                  <a:lnTo>
                    <a:pt x="113" y="276"/>
                  </a:lnTo>
                  <a:lnTo>
                    <a:pt x="185" y="311"/>
                  </a:lnTo>
                  <a:lnTo>
                    <a:pt x="224" y="335"/>
                  </a:lnTo>
                  <a:lnTo>
                    <a:pt x="230" y="359"/>
                  </a:lnTo>
                  <a:lnTo>
                    <a:pt x="209" y="389"/>
                  </a:lnTo>
                  <a:lnTo>
                    <a:pt x="221" y="422"/>
                  </a:lnTo>
                  <a:lnTo>
                    <a:pt x="215" y="440"/>
                  </a:lnTo>
                  <a:lnTo>
                    <a:pt x="161" y="443"/>
                  </a:lnTo>
                  <a:lnTo>
                    <a:pt x="149" y="449"/>
                  </a:lnTo>
                  <a:lnTo>
                    <a:pt x="152" y="461"/>
                  </a:lnTo>
                  <a:lnTo>
                    <a:pt x="152" y="476"/>
                  </a:lnTo>
                  <a:lnTo>
                    <a:pt x="110" y="479"/>
                  </a:lnTo>
                  <a:lnTo>
                    <a:pt x="89" y="467"/>
                  </a:lnTo>
                  <a:lnTo>
                    <a:pt x="60" y="467"/>
                  </a:lnTo>
                  <a:lnTo>
                    <a:pt x="54" y="476"/>
                  </a:lnTo>
                  <a:lnTo>
                    <a:pt x="60" y="491"/>
                  </a:lnTo>
                  <a:lnTo>
                    <a:pt x="45" y="506"/>
                  </a:lnTo>
                  <a:lnTo>
                    <a:pt x="39" y="524"/>
                  </a:lnTo>
                  <a:lnTo>
                    <a:pt x="69" y="548"/>
                  </a:lnTo>
                  <a:lnTo>
                    <a:pt x="48" y="587"/>
                  </a:lnTo>
                  <a:lnTo>
                    <a:pt x="57" y="608"/>
                  </a:lnTo>
                  <a:lnTo>
                    <a:pt x="54" y="620"/>
                  </a:lnTo>
                  <a:lnTo>
                    <a:pt x="24" y="620"/>
                  </a:lnTo>
                  <a:lnTo>
                    <a:pt x="0" y="629"/>
                  </a:lnTo>
                  <a:lnTo>
                    <a:pt x="18" y="656"/>
                  </a:lnTo>
                  <a:lnTo>
                    <a:pt x="6" y="686"/>
                  </a:lnTo>
                  <a:lnTo>
                    <a:pt x="24" y="692"/>
                  </a:lnTo>
                  <a:lnTo>
                    <a:pt x="27" y="713"/>
                  </a:lnTo>
                  <a:lnTo>
                    <a:pt x="42" y="713"/>
                  </a:lnTo>
                  <a:lnTo>
                    <a:pt x="101" y="701"/>
                  </a:lnTo>
                  <a:lnTo>
                    <a:pt x="113" y="707"/>
                  </a:lnTo>
                  <a:lnTo>
                    <a:pt x="116" y="722"/>
                  </a:lnTo>
                  <a:lnTo>
                    <a:pt x="140" y="731"/>
                  </a:lnTo>
                  <a:lnTo>
                    <a:pt x="191" y="755"/>
                  </a:lnTo>
                  <a:lnTo>
                    <a:pt x="221" y="743"/>
                  </a:lnTo>
                  <a:lnTo>
                    <a:pt x="287" y="767"/>
                  </a:lnTo>
                  <a:lnTo>
                    <a:pt x="299" y="785"/>
                  </a:lnTo>
                  <a:lnTo>
                    <a:pt x="332" y="779"/>
                  </a:lnTo>
                  <a:lnTo>
                    <a:pt x="326" y="743"/>
                  </a:lnTo>
                  <a:lnTo>
                    <a:pt x="320" y="734"/>
                  </a:lnTo>
                  <a:lnTo>
                    <a:pt x="326" y="707"/>
                  </a:lnTo>
                  <a:lnTo>
                    <a:pt x="362" y="692"/>
                  </a:lnTo>
                  <a:lnTo>
                    <a:pt x="368" y="677"/>
                  </a:lnTo>
                  <a:lnTo>
                    <a:pt x="350" y="671"/>
                  </a:lnTo>
                  <a:lnTo>
                    <a:pt x="332" y="665"/>
                  </a:lnTo>
                  <a:lnTo>
                    <a:pt x="311" y="644"/>
                  </a:lnTo>
                  <a:lnTo>
                    <a:pt x="320" y="638"/>
                  </a:lnTo>
                  <a:lnTo>
                    <a:pt x="389" y="638"/>
                  </a:lnTo>
                  <a:lnTo>
                    <a:pt x="404" y="638"/>
                  </a:lnTo>
                  <a:lnTo>
                    <a:pt x="413" y="644"/>
                  </a:lnTo>
                  <a:lnTo>
                    <a:pt x="434" y="626"/>
                  </a:lnTo>
                  <a:lnTo>
                    <a:pt x="434" y="599"/>
                  </a:lnTo>
                  <a:lnTo>
                    <a:pt x="371" y="506"/>
                  </a:lnTo>
                  <a:lnTo>
                    <a:pt x="371" y="497"/>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3" name="Freeform 57"/>
            <p:cNvSpPr>
              <a:spLocks/>
            </p:cNvSpPr>
            <p:nvPr/>
          </p:nvSpPr>
          <p:spPr bwMode="auto">
            <a:xfrm>
              <a:off x="4423024" y="3659212"/>
              <a:ext cx="736600" cy="650875"/>
            </a:xfrm>
            <a:custGeom>
              <a:avLst/>
              <a:gdLst>
                <a:gd name="T0" fmla="*/ 27 w 524"/>
                <a:gd name="T1" fmla="*/ 105 h 470"/>
                <a:gd name="T2" fmla="*/ 57 w 524"/>
                <a:gd name="T3" fmla="*/ 128 h 470"/>
                <a:gd name="T4" fmla="*/ 82 w 524"/>
                <a:gd name="T5" fmla="*/ 131 h 470"/>
                <a:gd name="T6" fmla="*/ 105 w 524"/>
                <a:gd name="T7" fmla="*/ 130 h 470"/>
                <a:gd name="T8" fmla="*/ 114 w 524"/>
                <a:gd name="T9" fmla="*/ 131 h 470"/>
                <a:gd name="T10" fmla="*/ 122 w 524"/>
                <a:gd name="T11" fmla="*/ 128 h 470"/>
                <a:gd name="T12" fmla="*/ 128 w 524"/>
                <a:gd name="T13" fmla="*/ 132 h 470"/>
                <a:gd name="T14" fmla="*/ 132 w 524"/>
                <a:gd name="T15" fmla="*/ 139 h 470"/>
                <a:gd name="T16" fmla="*/ 142 w 524"/>
                <a:gd name="T17" fmla="*/ 147 h 470"/>
                <a:gd name="T18" fmla="*/ 158 w 524"/>
                <a:gd name="T19" fmla="*/ 147 h 470"/>
                <a:gd name="T20" fmla="*/ 169 w 524"/>
                <a:gd name="T21" fmla="*/ 153 h 470"/>
                <a:gd name="T22" fmla="*/ 179 w 524"/>
                <a:gd name="T23" fmla="*/ 147 h 470"/>
                <a:gd name="T24" fmla="*/ 187 w 524"/>
                <a:gd name="T25" fmla="*/ 153 h 470"/>
                <a:gd name="T26" fmla="*/ 193 w 524"/>
                <a:gd name="T27" fmla="*/ 143 h 470"/>
                <a:gd name="T28" fmla="*/ 202 w 524"/>
                <a:gd name="T29" fmla="*/ 139 h 470"/>
                <a:gd name="T30" fmla="*/ 204 w 524"/>
                <a:gd name="T31" fmla="*/ 131 h 470"/>
                <a:gd name="T32" fmla="*/ 201 w 524"/>
                <a:gd name="T33" fmla="*/ 116 h 470"/>
                <a:gd name="T34" fmla="*/ 199 w 524"/>
                <a:gd name="T35" fmla="*/ 114 h 470"/>
                <a:gd name="T36" fmla="*/ 190 w 524"/>
                <a:gd name="T37" fmla="*/ 122 h 470"/>
                <a:gd name="T38" fmla="*/ 176 w 524"/>
                <a:gd name="T39" fmla="*/ 113 h 470"/>
                <a:gd name="T40" fmla="*/ 165 w 524"/>
                <a:gd name="T41" fmla="*/ 104 h 470"/>
                <a:gd name="T42" fmla="*/ 176 w 524"/>
                <a:gd name="T43" fmla="*/ 97 h 470"/>
                <a:gd name="T44" fmla="*/ 179 w 524"/>
                <a:gd name="T45" fmla="*/ 87 h 470"/>
                <a:gd name="T46" fmla="*/ 185 w 524"/>
                <a:gd name="T47" fmla="*/ 83 h 470"/>
                <a:gd name="T48" fmla="*/ 184 w 524"/>
                <a:gd name="T49" fmla="*/ 70 h 470"/>
                <a:gd name="T50" fmla="*/ 188 w 524"/>
                <a:gd name="T51" fmla="*/ 66 h 470"/>
                <a:gd name="T52" fmla="*/ 197 w 524"/>
                <a:gd name="T53" fmla="*/ 71 h 470"/>
                <a:gd name="T54" fmla="*/ 202 w 524"/>
                <a:gd name="T55" fmla="*/ 75 h 470"/>
                <a:gd name="T56" fmla="*/ 215 w 524"/>
                <a:gd name="T57" fmla="*/ 71 h 470"/>
                <a:gd name="T58" fmla="*/ 218 w 524"/>
                <a:gd name="T59" fmla="*/ 67 h 470"/>
                <a:gd name="T60" fmla="*/ 215 w 524"/>
                <a:gd name="T61" fmla="*/ 60 h 470"/>
                <a:gd name="T62" fmla="*/ 202 w 524"/>
                <a:gd name="T63" fmla="*/ 55 h 470"/>
                <a:gd name="T64" fmla="*/ 199 w 524"/>
                <a:gd name="T65" fmla="*/ 47 h 470"/>
                <a:gd name="T66" fmla="*/ 176 w 524"/>
                <a:gd name="T67" fmla="*/ 50 h 470"/>
                <a:gd name="T68" fmla="*/ 161 w 524"/>
                <a:gd name="T69" fmla="*/ 40 h 470"/>
                <a:gd name="T70" fmla="*/ 155 w 524"/>
                <a:gd name="T71" fmla="*/ 38 h 470"/>
                <a:gd name="T72" fmla="*/ 155 w 524"/>
                <a:gd name="T73" fmla="*/ 31 h 470"/>
                <a:gd name="T74" fmla="*/ 187 w 524"/>
                <a:gd name="T75" fmla="*/ 4 h 470"/>
                <a:gd name="T76" fmla="*/ 176 w 524"/>
                <a:gd name="T77" fmla="*/ 4 h 470"/>
                <a:gd name="T78" fmla="*/ 169 w 524"/>
                <a:gd name="T79" fmla="*/ 9 h 470"/>
                <a:gd name="T80" fmla="*/ 165 w 524"/>
                <a:gd name="T81" fmla="*/ 5 h 470"/>
                <a:gd name="T82" fmla="*/ 165 w 524"/>
                <a:gd name="T83" fmla="*/ 3 h 470"/>
                <a:gd name="T84" fmla="*/ 159 w 524"/>
                <a:gd name="T85" fmla="*/ 0 h 470"/>
                <a:gd name="T86" fmla="*/ 145 w 524"/>
                <a:gd name="T87" fmla="*/ 4 h 470"/>
                <a:gd name="T88" fmla="*/ 105 w 524"/>
                <a:gd name="T89" fmla="*/ 0 h 470"/>
                <a:gd name="T90" fmla="*/ 105 w 524"/>
                <a:gd name="T91" fmla="*/ 24 h 470"/>
                <a:gd name="T92" fmla="*/ 87 w 524"/>
                <a:gd name="T93" fmla="*/ 36 h 470"/>
                <a:gd name="T94" fmla="*/ 62 w 524"/>
                <a:gd name="T95" fmla="*/ 40 h 470"/>
                <a:gd name="T96" fmla="*/ 27 w 524"/>
                <a:gd name="T97" fmla="*/ 57 h 470"/>
                <a:gd name="T98" fmla="*/ 0 w 524"/>
                <a:gd name="T99" fmla="*/ 63 h 470"/>
                <a:gd name="T100" fmla="*/ 0 w 524"/>
                <a:gd name="T101" fmla="*/ 67 h 470"/>
                <a:gd name="T102" fmla="*/ 27 w 524"/>
                <a:gd name="T103" fmla="*/ 97 h 470"/>
                <a:gd name="T104" fmla="*/ 27 w 524"/>
                <a:gd name="T105" fmla="*/ 105 h 4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24" h="470">
                  <a:moveTo>
                    <a:pt x="63" y="326"/>
                  </a:moveTo>
                  <a:lnTo>
                    <a:pt x="138" y="395"/>
                  </a:lnTo>
                  <a:lnTo>
                    <a:pt x="198" y="407"/>
                  </a:lnTo>
                  <a:lnTo>
                    <a:pt x="255" y="398"/>
                  </a:lnTo>
                  <a:lnTo>
                    <a:pt x="273" y="407"/>
                  </a:lnTo>
                  <a:lnTo>
                    <a:pt x="294" y="395"/>
                  </a:lnTo>
                  <a:lnTo>
                    <a:pt x="309" y="410"/>
                  </a:lnTo>
                  <a:lnTo>
                    <a:pt x="315" y="431"/>
                  </a:lnTo>
                  <a:lnTo>
                    <a:pt x="342" y="449"/>
                  </a:lnTo>
                  <a:lnTo>
                    <a:pt x="378" y="449"/>
                  </a:lnTo>
                  <a:lnTo>
                    <a:pt x="405" y="470"/>
                  </a:lnTo>
                  <a:lnTo>
                    <a:pt x="429" y="458"/>
                  </a:lnTo>
                  <a:lnTo>
                    <a:pt x="450" y="470"/>
                  </a:lnTo>
                  <a:lnTo>
                    <a:pt x="464" y="440"/>
                  </a:lnTo>
                  <a:lnTo>
                    <a:pt x="485" y="428"/>
                  </a:lnTo>
                  <a:lnTo>
                    <a:pt x="491" y="401"/>
                  </a:lnTo>
                  <a:lnTo>
                    <a:pt x="482" y="356"/>
                  </a:lnTo>
                  <a:lnTo>
                    <a:pt x="479" y="353"/>
                  </a:lnTo>
                  <a:lnTo>
                    <a:pt x="456" y="377"/>
                  </a:lnTo>
                  <a:lnTo>
                    <a:pt x="423" y="347"/>
                  </a:lnTo>
                  <a:lnTo>
                    <a:pt x="396" y="317"/>
                  </a:lnTo>
                  <a:lnTo>
                    <a:pt x="423" y="299"/>
                  </a:lnTo>
                  <a:lnTo>
                    <a:pt x="429" y="266"/>
                  </a:lnTo>
                  <a:lnTo>
                    <a:pt x="444" y="254"/>
                  </a:lnTo>
                  <a:lnTo>
                    <a:pt x="441" y="212"/>
                  </a:lnTo>
                  <a:lnTo>
                    <a:pt x="453" y="203"/>
                  </a:lnTo>
                  <a:lnTo>
                    <a:pt x="473" y="215"/>
                  </a:lnTo>
                  <a:lnTo>
                    <a:pt x="485" y="233"/>
                  </a:lnTo>
                  <a:lnTo>
                    <a:pt x="515" y="215"/>
                  </a:lnTo>
                  <a:lnTo>
                    <a:pt x="524" y="206"/>
                  </a:lnTo>
                  <a:lnTo>
                    <a:pt x="518" y="185"/>
                  </a:lnTo>
                  <a:lnTo>
                    <a:pt x="485" y="167"/>
                  </a:lnTo>
                  <a:lnTo>
                    <a:pt x="479" y="146"/>
                  </a:lnTo>
                  <a:lnTo>
                    <a:pt x="423" y="152"/>
                  </a:lnTo>
                  <a:lnTo>
                    <a:pt x="387" y="122"/>
                  </a:lnTo>
                  <a:lnTo>
                    <a:pt x="372" y="116"/>
                  </a:lnTo>
                  <a:lnTo>
                    <a:pt x="372" y="95"/>
                  </a:lnTo>
                  <a:lnTo>
                    <a:pt x="450" y="8"/>
                  </a:lnTo>
                  <a:lnTo>
                    <a:pt x="423" y="14"/>
                  </a:lnTo>
                  <a:lnTo>
                    <a:pt x="405" y="26"/>
                  </a:lnTo>
                  <a:lnTo>
                    <a:pt x="396" y="17"/>
                  </a:lnTo>
                  <a:lnTo>
                    <a:pt x="396" y="3"/>
                  </a:lnTo>
                  <a:lnTo>
                    <a:pt x="384" y="0"/>
                  </a:lnTo>
                  <a:lnTo>
                    <a:pt x="348" y="11"/>
                  </a:lnTo>
                  <a:lnTo>
                    <a:pt x="255" y="0"/>
                  </a:lnTo>
                  <a:lnTo>
                    <a:pt x="252" y="74"/>
                  </a:lnTo>
                  <a:lnTo>
                    <a:pt x="207" y="110"/>
                  </a:lnTo>
                  <a:lnTo>
                    <a:pt x="150" y="122"/>
                  </a:lnTo>
                  <a:lnTo>
                    <a:pt x="66" y="179"/>
                  </a:lnTo>
                  <a:lnTo>
                    <a:pt x="0" y="197"/>
                  </a:lnTo>
                  <a:lnTo>
                    <a:pt x="0" y="206"/>
                  </a:lnTo>
                  <a:lnTo>
                    <a:pt x="63" y="299"/>
                  </a:lnTo>
                  <a:lnTo>
                    <a:pt x="63" y="326"/>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4" name="Freeform 58"/>
            <p:cNvSpPr>
              <a:spLocks/>
            </p:cNvSpPr>
            <p:nvPr/>
          </p:nvSpPr>
          <p:spPr bwMode="auto">
            <a:xfrm>
              <a:off x="4394449" y="3067075"/>
              <a:ext cx="423862" cy="865187"/>
            </a:xfrm>
            <a:custGeom>
              <a:avLst/>
              <a:gdLst>
                <a:gd name="T0" fmla="*/ 9 w 303"/>
                <a:gd name="T1" fmla="*/ 203 h 623"/>
                <a:gd name="T2" fmla="*/ 36 w 303"/>
                <a:gd name="T3" fmla="*/ 198 h 623"/>
                <a:gd name="T4" fmla="*/ 70 w 303"/>
                <a:gd name="T5" fmla="*/ 179 h 623"/>
                <a:gd name="T6" fmla="*/ 93 w 303"/>
                <a:gd name="T7" fmla="*/ 175 h 623"/>
                <a:gd name="T8" fmla="*/ 112 w 303"/>
                <a:gd name="T9" fmla="*/ 164 h 623"/>
                <a:gd name="T10" fmla="*/ 112 w 303"/>
                <a:gd name="T11" fmla="*/ 139 h 623"/>
                <a:gd name="T12" fmla="*/ 103 w 303"/>
                <a:gd name="T13" fmla="*/ 131 h 623"/>
                <a:gd name="T14" fmla="*/ 108 w 303"/>
                <a:gd name="T15" fmla="*/ 123 h 623"/>
                <a:gd name="T16" fmla="*/ 112 w 303"/>
                <a:gd name="T17" fmla="*/ 117 h 623"/>
                <a:gd name="T18" fmla="*/ 115 w 303"/>
                <a:gd name="T19" fmla="*/ 105 h 623"/>
                <a:gd name="T20" fmla="*/ 121 w 303"/>
                <a:gd name="T21" fmla="*/ 99 h 623"/>
                <a:gd name="T22" fmla="*/ 112 w 303"/>
                <a:gd name="T23" fmla="*/ 84 h 623"/>
                <a:gd name="T24" fmla="*/ 98 w 303"/>
                <a:gd name="T25" fmla="*/ 72 h 623"/>
                <a:gd name="T26" fmla="*/ 105 w 303"/>
                <a:gd name="T27" fmla="*/ 53 h 623"/>
                <a:gd name="T28" fmla="*/ 122 w 303"/>
                <a:gd name="T29" fmla="*/ 45 h 623"/>
                <a:gd name="T30" fmla="*/ 123 w 303"/>
                <a:gd name="T31" fmla="*/ 33 h 623"/>
                <a:gd name="T32" fmla="*/ 117 w 303"/>
                <a:gd name="T33" fmla="*/ 21 h 623"/>
                <a:gd name="T34" fmla="*/ 117 w 303"/>
                <a:gd name="T35" fmla="*/ 7 h 623"/>
                <a:gd name="T36" fmla="*/ 108 w 303"/>
                <a:gd name="T37" fmla="*/ 0 h 623"/>
                <a:gd name="T38" fmla="*/ 83 w 303"/>
                <a:gd name="T39" fmla="*/ 10 h 623"/>
                <a:gd name="T40" fmla="*/ 79 w 303"/>
                <a:gd name="T41" fmla="*/ 7 h 623"/>
                <a:gd name="T42" fmla="*/ 65 w 303"/>
                <a:gd name="T43" fmla="*/ 13 h 623"/>
                <a:gd name="T44" fmla="*/ 56 w 303"/>
                <a:gd name="T45" fmla="*/ 13 h 623"/>
                <a:gd name="T46" fmla="*/ 36 w 303"/>
                <a:gd name="T47" fmla="*/ 37 h 623"/>
                <a:gd name="T48" fmla="*/ 29 w 303"/>
                <a:gd name="T49" fmla="*/ 37 h 623"/>
                <a:gd name="T50" fmla="*/ 18 w 303"/>
                <a:gd name="T51" fmla="*/ 45 h 623"/>
                <a:gd name="T52" fmla="*/ 20 w 303"/>
                <a:gd name="T53" fmla="*/ 55 h 623"/>
                <a:gd name="T54" fmla="*/ 14 w 303"/>
                <a:gd name="T55" fmla="*/ 64 h 623"/>
                <a:gd name="T56" fmla="*/ 13 w 303"/>
                <a:gd name="T57" fmla="*/ 75 h 623"/>
                <a:gd name="T58" fmla="*/ 3 w 303"/>
                <a:gd name="T59" fmla="*/ 88 h 623"/>
                <a:gd name="T60" fmla="*/ 13 w 303"/>
                <a:gd name="T61" fmla="*/ 105 h 623"/>
                <a:gd name="T62" fmla="*/ 9 w 303"/>
                <a:gd name="T63" fmla="*/ 117 h 623"/>
                <a:gd name="T64" fmla="*/ 0 w 303"/>
                <a:gd name="T65" fmla="*/ 127 h 623"/>
                <a:gd name="T66" fmla="*/ 13 w 303"/>
                <a:gd name="T67" fmla="*/ 171 h 623"/>
                <a:gd name="T68" fmla="*/ 5 w 303"/>
                <a:gd name="T69" fmla="*/ 193 h 623"/>
                <a:gd name="T70" fmla="*/ 9 w 303"/>
                <a:gd name="T71" fmla="*/ 203 h 6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03" h="623">
                  <a:moveTo>
                    <a:pt x="21" y="623"/>
                  </a:moveTo>
                  <a:lnTo>
                    <a:pt x="87" y="605"/>
                  </a:lnTo>
                  <a:lnTo>
                    <a:pt x="171" y="548"/>
                  </a:lnTo>
                  <a:lnTo>
                    <a:pt x="228" y="536"/>
                  </a:lnTo>
                  <a:lnTo>
                    <a:pt x="273" y="500"/>
                  </a:lnTo>
                  <a:lnTo>
                    <a:pt x="276" y="426"/>
                  </a:lnTo>
                  <a:lnTo>
                    <a:pt x="255" y="399"/>
                  </a:lnTo>
                  <a:lnTo>
                    <a:pt x="264" y="378"/>
                  </a:lnTo>
                  <a:lnTo>
                    <a:pt x="276" y="357"/>
                  </a:lnTo>
                  <a:lnTo>
                    <a:pt x="282" y="324"/>
                  </a:lnTo>
                  <a:lnTo>
                    <a:pt x="294" y="303"/>
                  </a:lnTo>
                  <a:lnTo>
                    <a:pt x="273" y="258"/>
                  </a:lnTo>
                  <a:lnTo>
                    <a:pt x="240" y="219"/>
                  </a:lnTo>
                  <a:lnTo>
                    <a:pt x="258" y="162"/>
                  </a:lnTo>
                  <a:lnTo>
                    <a:pt x="297" y="135"/>
                  </a:lnTo>
                  <a:lnTo>
                    <a:pt x="303" y="99"/>
                  </a:lnTo>
                  <a:lnTo>
                    <a:pt x="288" y="63"/>
                  </a:lnTo>
                  <a:lnTo>
                    <a:pt x="288" y="21"/>
                  </a:lnTo>
                  <a:lnTo>
                    <a:pt x="264" y="0"/>
                  </a:lnTo>
                  <a:lnTo>
                    <a:pt x="204" y="30"/>
                  </a:lnTo>
                  <a:lnTo>
                    <a:pt x="195" y="21"/>
                  </a:lnTo>
                  <a:lnTo>
                    <a:pt x="162" y="42"/>
                  </a:lnTo>
                  <a:lnTo>
                    <a:pt x="138" y="42"/>
                  </a:lnTo>
                  <a:lnTo>
                    <a:pt x="87" y="114"/>
                  </a:lnTo>
                  <a:lnTo>
                    <a:pt x="72" y="114"/>
                  </a:lnTo>
                  <a:lnTo>
                    <a:pt x="45" y="135"/>
                  </a:lnTo>
                  <a:lnTo>
                    <a:pt x="48" y="168"/>
                  </a:lnTo>
                  <a:lnTo>
                    <a:pt x="33" y="195"/>
                  </a:lnTo>
                  <a:lnTo>
                    <a:pt x="30" y="231"/>
                  </a:lnTo>
                  <a:lnTo>
                    <a:pt x="3" y="270"/>
                  </a:lnTo>
                  <a:lnTo>
                    <a:pt x="30" y="324"/>
                  </a:lnTo>
                  <a:lnTo>
                    <a:pt x="21" y="357"/>
                  </a:lnTo>
                  <a:lnTo>
                    <a:pt x="0" y="390"/>
                  </a:lnTo>
                  <a:lnTo>
                    <a:pt x="30" y="524"/>
                  </a:lnTo>
                  <a:lnTo>
                    <a:pt x="12" y="593"/>
                  </a:lnTo>
                  <a:lnTo>
                    <a:pt x="21" y="623"/>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5" name="Freeform 59"/>
            <p:cNvSpPr>
              <a:spLocks/>
            </p:cNvSpPr>
            <p:nvPr/>
          </p:nvSpPr>
          <p:spPr bwMode="auto">
            <a:xfrm>
              <a:off x="4946899" y="3333775"/>
              <a:ext cx="792162" cy="536575"/>
            </a:xfrm>
            <a:custGeom>
              <a:avLst/>
              <a:gdLst>
                <a:gd name="T0" fmla="*/ 50 w 566"/>
                <a:gd name="T1" fmla="*/ 122 h 386"/>
                <a:gd name="T2" fmla="*/ 53 w 566"/>
                <a:gd name="T3" fmla="*/ 115 h 386"/>
                <a:gd name="T4" fmla="*/ 60 w 566"/>
                <a:gd name="T5" fmla="*/ 111 h 386"/>
                <a:gd name="T6" fmla="*/ 75 w 566"/>
                <a:gd name="T7" fmla="*/ 122 h 386"/>
                <a:gd name="T8" fmla="*/ 79 w 566"/>
                <a:gd name="T9" fmla="*/ 122 h 386"/>
                <a:gd name="T10" fmla="*/ 92 w 566"/>
                <a:gd name="T11" fmla="*/ 121 h 386"/>
                <a:gd name="T12" fmla="*/ 101 w 566"/>
                <a:gd name="T13" fmla="*/ 116 h 386"/>
                <a:gd name="T14" fmla="*/ 112 w 566"/>
                <a:gd name="T15" fmla="*/ 123 h 386"/>
                <a:gd name="T16" fmla="*/ 118 w 566"/>
                <a:gd name="T17" fmla="*/ 116 h 386"/>
                <a:gd name="T18" fmla="*/ 119 w 566"/>
                <a:gd name="T19" fmla="*/ 111 h 386"/>
                <a:gd name="T20" fmla="*/ 127 w 566"/>
                <a:gd name="T21" fmla="*/ 108 h 386"/>
                <a:gd name="T22" fmla="*/ 131 w 566"/>
                <a:gd name="T23" fmla="*/ 99 h 386"/>
                <a:gd name="T24" fmla="*/ 139 w 566"/>
                <a:gd name="T25" fmla="*/ 97 h 386"/>
                <a:gd name="T26" fmla="*/ 164 w 566"/>
                <a:gd name="T27" fmla="*/ 63 h 386"/>
                <a:gd name="T28" fmla="*/ 159 w 566"/>
                <a:gd name="T29" fmla="*/ 57 h 386"/>
                <a:gd name="T30" fmla="*/ 164 w 566"/>
                <a:gd name="T31" fmla="*/ 54 h 386"/>
                <a:gd name="T32" fmla="*/ 172 w 566"/>
                <a:gd name="T33" fmla="*/ 55 h 386"/>
                <a:gd name="T34" fmla="*/ 180 w 566"/>
                <a:gd name="T35" fmla="*/ 51 h 386"/>
                <a:gd name="T36" fmla="*/ 182 w 566"/>
                <a:gd name="T37" fmla="*/ 43 h 386"/>
                <a:gd name="T38" fmla="*/ 206 w 566"/>
                <a:gd name="T39" fmla="*/ 27 h 386"/>
                <a:gd name="T40" fmla="*/ 221 w 566"/>
                <a:gd name="T41" fmla="*/ 23 h 386"/>
                <a:gd name="T42" fmla="*/ 229 w 566"/>
                <a:gd name="T43" fmla="*/ 17 h 386"/>
                <a:gd name="T44" fmla="*/ 227 w 566"/>
                <a:gd name="T45" fmla="*/ 4 h 386"/>
                <a:gd name="T46" fmla="*/ 216 w 566"/>
                <a:gd name="T47" fmla="*/ 4 h 386"/>
                <a:gd name="T48" fmla="*/ 189 w 566"/>
                <a:gd name="T49" fmla="*/ 6 h 386"/>
                <a:gd name="T50" fmla="*/ 173 w 566"/>
                <a:gd name="T51" fmla="*/ 0 h 386"/>
                <a:gd name="T52" fmla="*/ 164 w 566"/>
                <a:gd name="T53" fmla="*/ 3 h 386"/>
                <a:gd name="T54" fmla="*/ 137 w 566"/>
                <a:gd name="T55" fmla="*/ 27 h 386"/>
                <a:gd name="T56" fmla="*/ 131 w 566"/>
                <a:gd name="T57" fmla="*/ 31 h 386"/>
                <a:gd name="T58" fmla="*/ 114 w 566"/>
                <a:gd name="T59" fmla="*/ 26 h 386"/>
                <a:gd name="T60" fmla="*/ 112 w 566"/>
                <a:gd name="T61" fmla="*/ 19 h 386"/>
                <a:gd name="T62" fmla="*/ 110 w 566"/>
                <a:gd name="T63" fmla="*/ 7 h 386"/>
                <a:gd name="T64" fmla="*/ 101 w 566"/>
                <a:gd name="T65" fmla="*/ 4 h 386"/>
                <a:gd name="T66" fmla="*/ 84 w 566"/>
                <a:gd name="T67" fmla="*/ 6 h 386"/>
                <a:gd name="T68" fmla="*/ 76 w 566"/>
                <a:gd name="T69" fmla="*/ 0 h 386"/>
                <a:gd name="T70" fmla="*/ 62 w 566"/>
                <a:gd name="T71" fmla="*/ 15 h 386"/>
                <a:gd name="T72" fmla="*/ 47 w 566"/>
                <a:gd name="T73" fmla="*/ 17 h 386"/>
                <a:gd name="T74" fmla="*/ 28 w 566"/>
                <a:gd name="T75" fmla="*/ 32 h 386"/>
                <a:gd name="T76" fmla="*/ 5 w 566"/>
                <a:gd name="T77" fmla="*/ 64 h 386"/>
                <a:gd name="T78" fmla="*/ 12 w 566"/>
                <a:gd name="T79" fmla="*/ 73 h 386"/>
                <a:gd name="T80" fmla="*/ 10 w 566"/>
                <a:gd name="T81" fmla="*/ 78 h 386"/>
                <a:gd name="T82" fmla="*/ 10 w 566"/>
                <a:gd name="T83" fmla="*/ 81 h 386"/>
                <a:gd name="T84" fmla="*/ 14 w 566"/>
                <a:gd name="T85" fmla="*/ 84 h 386"/>
                <a:gd name="T86" fmla="*/ 21 w 566"/>
                <a:gd name="T87" fmla="*/ 80 h 386"/>
                <a:gd name="T88" fmla="*/ 31 w 566"/>
                <a:gd name="T89" fmla="*/ 79 h 386"/>
                <a:gd name="T90" fmla="*/ 0 w 566"/>
                <a:gd name="T91" fmla="*/ 107 h 386"/>
                <a:gd name="T92" fmla="*/ 0 w 566"/>
                <a:gd name="T93" fmla="*/ 114 h 386"/>
                <a:gd name="T94" fmla="*/ 5 w 566"/>
                <a:gd name="T95" fmla="*/ 116 h 386"/>
                <a:gd name="T96" fmla="*/ 21 w 566"/>
                <a:gd name="T97" fmla="*/ 125 h 386"/>
                <a:gd name="T98" fmla="*/ 44 w 566"/>
                <a:gd name="T99" fmla="*/ 124 h 386"/>
                <a:gd name="T100" fmla="*/ 50 w 566"/>
                <a:gd name="T101" fmla="*/ 122 h 3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66" h="386">
                  <a:moveTo>
                    <a:pt x="125" y="374"/>
                  </a:moveTo>
                  <a:lnTo>
                    <a:pt x="128" y="353"/>
                  </a:lnTo>
                  <a:lnTo>
                    <a:pt x="149" y="344"/>
                  </a:lnTo>
                  <a:lnTo>
                    <a:pt x="185" y="374"/>
                  </a:lnTo>
                  <a:lnTo>
                    <a:pt x="197" y="374"/>
                  </a:lnTo>
                  <a:lnTo>
                    <a:pt x="230" y="371"/>
                  </a:lnTo>
                  <a:lnTo>
                    <a:pt x="251" y="356"/>
                  </a:lnTo>
                  <a:lnTo>
                    <a:pt x="278" y="377"/>
                  </a:lnTo>
                  <a:lnTo>
                    <a:pt x="290" y="356"/>
                  </a:lnTo>
                  <a:lnTo>
                    <a:pt x="293" y="344"/>
                  </a:lnTo>
                  <a:lnTo>
                    <a:pt x="314" y="332"/>
                  </a:lnTo>
                  <a:lnTo>
                    <a:pt x="323" y="305"/>
                  </a:lnTo>
                  <a:lnTo>
                    <a:pt x="344" y="299"/>
                  </a:lnTo>
                  <a:lnTo>
                    <a:pt x="407" y="195"/>
                  </a:lnTo>
                  <a:lnTo>
                    <a:pt x="395" y="177"/>
                  </a:lnTo>
                  <a:lnTo>
                    <a:pt x="407" y="165"/>
                  </a:lnTo>
                  <a:lnTo>
                    <a:pt x="422" y="168"/>
                  </a:lnTo>
                  <a:lnTo>
                    <a:pt x="443" y="159"/>
                  </a:lnTo>
                  <a:lnTo>
                    <a:pt x="452" y="132"/>
                  </a:lnTo>
                  <a:lnTo>
                    <a:pt x="506" y="84"/>
                  </a:lnTo>
                  <a:lnTo>
                    <a:pt x="545" y="72"/>
                  </a:lnTo>
                  <a:lnTo>
                    <a:pt x="566" y="54"/>
                  </a:lnTo>
                  <a:lnTo>
                    <a:pt x="560" y="15"/>
                  </a:lnTo>
                  <a:lnTo>
                    <a:pt x="533" y="12"/>
                  </a:lnTo>
                  <a:lnTo>
                    <a:pt x="470" y="18"/>
                  </a:lnTo>
                  <a:lnTo>
                    <a:pt x="428" y="0"/>
                  </a:lnTo>
                  <a:lnTo>
                    <a:pt x="404" y="3"/>
                  </a:lnTo>
                  <a:lnTo>
                    <a:pt x="341" y="84"/>
                  </a:lnTo>
                  <a:lnTo>
                    <a:pt x="323" y="96"/>
                  </a:lnTo>
                  <a:lnTo>
                    <a:pt x="281" y="78"/>
                  </a:lnTo>
                  <a:lnTo>
                    <a:pt x="278" y="57"/>
                  </a:lnTo>
                  <a:lnTo>
                    <a:pt x="269" y="21"/>
                  </a:lnTo>
                  <a:lnTo>
                    <a:pt x="248" y="9"/>
                  </a:lnTo>
                  <a:lnTo>
                    <a:pt x="209" y="18"/>
                  </a:lnTo>
                  <a:lnTo>
                    <a:pt x="188" y="0"/>
                  </a:lnTo>
                  <a:lnTo>
                    <a:pt x="152" y="45"/>
                  </a:lnTo>
                  <a:lnTo>
                    <a:pt x="116" y="54"/>
                  </a:lnTo>
                  <a:lnTo>
                    <a:pt x="69" y="99"/>
                  </a:lnTo>
                  <a:lnTo>
                    <a:pt x="12" y="198"/>
                  </a:lnTo>
                  <a:lnTo>
                    <a:pt x="27" y="225"/>
                  </a:lnTo>
                  <a:lnTo>
                    <a:pt x="24" y="237"/>
                  </a:lnTo>
                  <a:lnTo>
                    <a:pt x="24" y="251"/>
                  </a:lnTo>
                  <a:lnTo>
                    <a:pt x="33" y="260"/>
                  </a:lnTo>
                  <a:lnTo>
                    <a:pt x="51" y="248"/>
                  </a:lnTo>
                  <a:lnTo>
                    <a:pt x="78" y="242"/>
                  </a:lnTo>
                  <a:lnTo>
                    <a:pt x="0" y="329"/>
                  </a:lnTo>
                  <a:lnTo>
                    <a:pt x="0" y="350"/>
                  </a:lnTo>
                  <a:lnTo>
                    <a:pt x="15" y="356"/>
                  </a:lnTo>
                  <a:lnTo>
                    <a:pt x="51" y="386"/>
                  </a:lnTo>
                  <a:lnTo>
                    <a:pt x="107" y="380"/>
                  </a:lnTo>
                  <a:lnTo>
                    <a:pt x="125" y="374"/>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6" name="Freeform 60"/>
            <p:cNvSpPr>
              <a:spLocks/>
            </p:cNvSpPr>
            <p:nvPr/>
          </p:nvSpPr>
          <p:spPr bwMode="auto">
            <a:xfrm>
              <a:off x="4723061" y="2735287"/>
              <a:ext cx="658813" cy="938213"/>
            </a:xfrm>
            <a:custGeom>
              <a:avLst/>
              <a:gdLst>
                <a:gd name="T0" fmla="*/ 77 w 470"/>
                <a:gd name="T1" fmla="*/ 213 h 677"/>
                <a:gd name="T2" fmla="*/ 94 w 470"/>
                <a:gd name="T3" fmla="*/ 172 h 677"/>
                <a:gd name="T4" fmla="*/ 128 w 470"/>
                <a:gd name="T5" fmla="*/ 155 h 677"/>
                <a:gd name="T6" fmla="*/ 135 w 470"/>
                <a:gd name="T7" fmla="*/ 138 h 677"/>
                <a:gd name="T8" fmla="*/ 121 w 470"/>
                <a:gd name="T9" fmla="*/ 131 h 677"/>
                <a:gd name="T10" fmla="*/ 102 w 470"/>
                <a:gd name="T11" fmla="*/ 124 h 677"/>
                <a:gd name="T12" fmla="*/ 93 w 470"/>
                <a:gd name="T13" fmla="*/ 104 h 677"/>
                <a:gd name="T14" fmla="*/ 74 w 470"/>
                <a:gd name="T15" fmla="*/ 105 h 677"/>
                <a:gd name="T16" fmla="*/ 55 w 470"/>
                <a:gd name="T17" fmla="*/ 100 h 677"/>
                <a:gd name="T18" fmla="*/ 70 w 470"/>
                <a:gd name="T19" fmla="*/ 79 h 677"/>
                <a:gd name="T20" fmla="*/ 85 w 470"/>
                <a:gd name="T21" fmla="*/ 56 h 677"/>
                <a:gd name="T22" fmla="*/ 113 w 470"/>
                <a:gd name="T23" fmla="*/ 65 h 677"/>
                <a:gd name="T24" fmla="*/ 122 w 470"/>
                <a:gd name="T25" fmla="*/ 80 h 677"/>
                <a:gd name="T26" fmla="*/ 124 w 470"/>
                <a:gd name="T27" fmla="*/ 94 h 677"/>
                <a:gd name="T28" fmla="*/ 140 w 470"/>
                <a:gd name="T29" fmla="*/ 105 h 677"/>
                <a:gd name="T30" fmla="*/ 177 w 470"/>
                <a:gd name="T31" fmla="*/ 98 h 677"/>
                <a:gd name="T32" fmla="*/ 193 w 470"/>
                <a:gd name="T33" fmla="*/ 73 h 677"/>
                <a:gd name="T34" fmla="*/ 174 w 470"/>
                <a:gd name="T35" fmla="*/ 60 h 677"/>
                <a:gd name="T36" fmla="*/ 162 w 470"/>
                <a:gd name="T37" fmla="*/ 39 h 677"/>
                <a:gd name="T38" fmla="*/ 128 w 470"/>
                <a:gd name="T39" fmla="*/ 24 h 677"/>
                <a:gd name="T40" fmla="*/ 110 w 470"/>
                <a:gd name="T41" fmla="*/ 0 h 677"/>
                <a:gd name="T42" fmla="*/ 85 w 470"/>
                <a:gd name="T43" fmla="*/ 15 h 677"/>
                <a:gd name="T44" fmla="*/ 86 w 470"/>
                <a:gd name="T45" fmla="*/ 26 h 677"/>
                <a:gd name="T46" fmla="*/ 63 w 470"/>
                <a:gd name="T47" fmla="*/ 31 h 677"/>
                <a:gd name="T48" fmla="*/ 49 w 470"/>
                <a:gd name="T49" fmla="*/ 34 h 677"/>
                <a:gd name="T50" fmla="*/ 28 w 470"/>
                <a:gd name="T51" fmla="*/ 40 h 677"/>
                <a:gd name="T52" fmla="*/ 23 w 470"/>
                <a:gd name="T53" fmla="*/ 26 h 677"/>
                <a:gd name="T54" fmla="*/ 5 w 470"/>
                <a:gd name="T55" fmla="*/ 45 h 677"/>
                <a:gd name="T56" fmla="*/ 13 w 470"/>
                <a:gd name="T57" fmla="*/ 78 h 677"/>
                <a:gd name="T58" fmla="*/ 23 w 470"/>
                <a:gd name="T59" fmla="*/ 98 h 677"/>
                <a:gd name="T60" fmla="*/ 26 w 470"/>
                <a:gd name="T61" fmla="*/ 122 h 677"/>
                <a:gd name="T62" fmla="*/ 5 w 470"/>
                <a:gd name="T63" fmla="*/ 148 h 677"/>
                <a:gd name="T64" fmla="*/ 25 w 470"/>
                <a:gd name="T65" fmla="*/ 176 h 677"/>
                <a:gd name="T66" fmla="*/ 17 w 470"/>
                <a:gd name="T67" fmla="*/ 194 h 677"/>
                <a:gd name="T68" fmla="*/ 9 w 470"/>
                <a:gd name="T69" fmla="*/ 207 h 677"/>
                <a:gd name="T70" fmla="*/ 55 w 470"/>
                <a:gd name="T71" fmla="*/ 220 h 677"/>
                <a:gd name="T72" fmla="*/ 75 w 470"/>
                <a:gd name="T73" fmla="*/ 217 h 6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70" h="677">
                  <a:moveTo>
                    <a:pt x="183" y="669"/>
                  </a:moveTo>
                  <a:lnTo>
                    <a:pt x="186" y="657"/>
                  </a:lnTo>
                  <a:lnTo>
                    <a:pt x="171" y="630"/>
                  </a:lnTo>
                  <a:lnTo>
                    <a:pt x="228" y="531"/>
                  </a:lnTo>
                  <a:lnTo>
                    <a:pt x="275" y="486"/>
                  </a:lnTo>
                  <a:lnTo>
                    <a:pt x="311" y="477"/>
                  </a:lnTo>
                  <a:lnTo>
                    <a:pt x="347" y="432"/>
                  </a:lnTo>
                  <a:lnTo>
                    <a:pt x="332" y="423"/>
                  </a:lnTo>
                  <a:lnTo>
                    <a:pt x="320" y="393"/>
                  </a:lnTo>
                  <a:lnTo>
                    <a:pt x="293" y="402"/>
                  </a:lnTo>
                  <a:lnTo>
                    <a:pt x="251" y="393"/>
                  </a:lnTo>
                  <a:lnTo>
                    <a:pt x="248" y="381"/>
                  </a:lnTo>
                  <a:lnTo>
                    <a:pt x="248" y="306"/>
                  </a:lnTo>
                  <a:lnTo>
                    <a:pt x="225" y="318"/>
                  </a:lnTo>
                  <a:lnTo>
                    <a:pt x="210" y="330"/>
                  </a:lnTo>
                  <a:lnTo>
                    <a:pt x="180" y="321"/>
                  </a:lnTo>
                  <a:lnTo>
                    <a:pt x="141" y="327"/>
                  </a:lnTo>
                  <a:lnTo>
                    <a:pt x="135" y="309"/>
                  </a:lnTo>
                  <a:lnTo>
                    <a:pt x="141" y="276"/>
                  </a:lnTo>
                  <a:lnTo>
                    <a:pt x="171" y="243"/>
                  </a:lnTo>
                  <a:lnTo>
                    <a:pt x="177" y="204"/>
                  </a:lnTo>
                  <a:lnTo>
                    <a:pt x="207" y="174"/>
                  </a:lnTo>
                  <a:lnTo>
                    <a:pt x="257" y="201"/>
                  </a:lnTo>
                  <a:lnTo>
                    <a:pt x="272" y="201"/>
                  </a:lnTo>
                  <a:lnTo>
                    <a:pt x="281" y="240"/>
                  </a:lnTo>
                  <a:lnTo>
                    <a:pt x="296" y="246"/>
                  </a:lnTo>
                  <a:lnTo>
                    <a:pt x="302" y="270"/>
                  </a:lnTo>
                  <a:lnTo>
                    <a:pt x="302" y="288"/>
                  </a:lnTo>
                  <a:lnTo>
                    <a:pt x="332" y="309"/>
                  </a:lnTo>
                  <a:lnTo>
                    <a:pt x="338" y="327"/>
                  </a:lnTo>
                  <a:lnTo>
                    <a:pt x="365" y="339"/>
                  </a:lnTo>
                  <a:lnTo>
                    <a:pt x="431" y="303"/>
                  </a:lnTo>
                  <a:lnTo>
                    <a:pt x="431" y="282"/>
                  </a:lnTo>
                  <a:lnTo>
                    <a:pt x="470" y="225"/>
                  </a:lnTo>
                  <a:lnTo>
                    <a:pt x="443" y="186"/>
                  </a:lnTo>
                  <a:lnTo>
                    <a:pt x="422" y="186"/>
                  </a:lnTo>
                  <a:lnTo>
                    <a:pt x="383" y="159"/>
                  </a:lnTo>
                  <a:lnTo>
                    <a:pt x="395" y="120"/>
                  </a:lnTo>
                  <a:lnTo>
                    <a:pt x="338" y="114"/>
                  </a:lnTo>
                  <a:lnTo>
                    <a:pt x="311" y="75"/>
                  </a:lnTo>
                  <a:lnTo>
                    <a:pt x="314" y="54"/>
                  </a:lnTo>
                  <a:lnTo>
                    <a:pt x="266" y="0"/>
                  </a:lnTo>
                  <a:lnTo>
                    <a:pt x="234" y="18"/>
                  </a:lnTo>
                  <a:lnTo>
                    <a:pt x="207" y="45"/>
                  </a:lnTo>
                  <a:lnTo>
                    <a:pt x="216" y="66"/>
                  </a:lnTo>
                  <a:lnTo>
                    <a:pt x="210" y="78"/>
                  </a:lnTo>
                  <a:lnTo>
                    <a:pt x="171" y="81"/>
                  </a:lnTo>
                  <a:lnTo>
                    <a:pt x="153" y="96"/>
                  </a:lnTo>
                  <a:lnTo>
                    <a:pt x="135" y="90"/>
                  </a:lnTo>
                  <a:lnTo>
                    <a:pt x="120" y="105"/>
                  </a:lnTo>
                  <a:lnTo>
                    <a:pt x="84" y="132"/>
                  </a:lnTo>
                  <a:lnTo>
                    <a:pt x="69" y="123"/>
                  </a:lnTo>
                  <a:lnTo>
                    <a:pt x="69" y="84"/>
                  </a:lnTo>
                  <a:lnTo>
                    <a:pt x="54" y="78"/>
                  </a:lnTo>
                  <a:lnTo>
                    <a:pt x="33" y="87"/>
                  </a:lnTo>
                  <a:lnTo>
                    <a:pt x="9" y="141"/>
                  </a:lnTo>
                  <a:lnTo>
                    <a:pt x="0" y="189"/>
                  </a:lnTo>
                  <a:lnTo>
                    <a:pt x="30" y="240"/>
                  </a:lnTo>
                  <a:lnTo>
                    <a:pt x="54" y="261"/>
                  </a:lnTo>
                  <a:lnTo>
                    <a:pt x="54" y="303"/>
                  </a:lnTo>
                  <a:lnTo>
                    <a:pt x="69" y="339"/>
                  </a:lnTo>
                  <a:lnTo>
                    <a:pt x="63" y="375"/>
                  </a:lnTo>
                  <a:lnTo>
                    <a:pt x="24" y="402"/>
                  </a:lnTo>
                  <a:lnTo>
                    <a:pt x="6" y="459"/>
                  </a:lnTo>
                  <a:lnTo>
                    <a:pt x="39" y="498"/>
                  </a:lnTo>
                  <a:lnTo>
                    <a:pt x="60" y="543"/>
                  </a:lnTo>
                  <a:lnTo>
                    <a:pt x="48" y="564"/>
                  </a:lnTo>
                  <a:lnTo>
                    <a:pt x="42" y="597"/>
                  </a:lnTo>
                  <a:lnTo>
                    <a:pt x="30" y="618"/>
                  </a:lnTo>
                  <a:lnTo>
                    <a:pt x="21" y="639"/>
                  </a:lnTo>
                  <a:lnTo>
                    <a:pt x="42" y="666"/>
                  </a:lnTo>
                  <a:lnTo>
                    <a:pt x="135" y="677"/>
                  </a:lnTo>
                  <a:lnTo>
                    <a:pt x="171" y="666"/>
                  </a:lnTo>
                  <a:lnTo>
                    <a:pt x="183" y="669"/>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7" name="Freeform 61"/>
            <p:cNvSpPr>
              <a:spLocks/>
            </p:cNvSpPr>
            <p:nvPr/>
          </p:nvSpPr>
          <p:spPr bwMode="auto">
            <a:xfrm>
              <a:off x="5070724" y="3067075"/>
              <a:ext cx="125412" cy="225425"/>
            </a:xfrm>
            <a:custGeom>
              <a:avLst/>
              <a:gdLst>
                <a:gd name="T0" fmla="*/ 29 w 90"/>
                <a:gd name="T1" fmla="*/ 51 h 162"/>
                <a:gd name="T2" fmla="*/ 18 w 90"/>
                <a:gd name="T3" fmla="*/ 53 h 162"/>
                <a:gd name="T4" fmla="*/ 3 w 90"/>
                <a:gd name="T5" fmla="*/ 51 h 162"/>
                <a:gd name="T6" fmla="*/ 0 w 90"/>
                <a:gd name="T7" fmla="*/ 47 h 162"/>
                <a:gd name="T8" fmla="*/ 0 w 90"/>
                <a:gd name="T9" fmla="*/ 21 h 162"/>
                <a:gd name="T10" fmla="*/ 11 w 90"/>
                <a:gd name="T11" fmla="*/ 17 h 162"/>
                <a:gd name="T12" fmla="*/ 10 w 90"/>
                <a:gd name="T13" fmla="*/ 13 h 162"/>
                <a:gd name="T14" fmla="*/ 12 w 90"/>
                <a:gd name="T15" fmla="*/ 4 h 162"/>
                <a:gd name="T16" fmla="*/ 13 w 90"/>
                <a:gd name="T17" fmla="*/ 0 h 162"/>
                <a:gd name="T18" fmla="*/ 19 w 90"/>
                <a:gd name="T19" fmla="*/ 4 h 162"/>
                <a:gd name="T20" fmla="*/ 22 w 90"/>
                <a:gd name="T21" fmla="*/ 10 h 162"/>
                <a:gd name="T22" fmla="*/ 22 w 90"/>
                <a:gd name="T23" fmla="*/ 15 h 162"/>
                <a:gd name="T24" fmla="*/ 33 w 90"/>
                <a:gd name="T25" fmla="*/ 22 h 162"/>
                <a:gd name="T26" fmla="*/ 35 w 90"/>
                <a:gd name="T27" fmla="*/ 29 h 162"/>
                <a:gd name="T28" fmla="*/ 29 w 90"/>
                <a:gd name="T29" fmla="*/ 34 h 162"/>
                <a:gd name="T30" fmla="*/ 25 w 90"/>
                <a:gd name="T31" fmla="*/ 44 h 162"/>
                <a:gd name="T32" fmla="*/ 29 w 90"/>
                <a:gd name="T33" fmla="*/ 51 h 1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162">
                  <a:moveTo>
                    <a:pt x="72" y="153"/>
                  </a:moveTo>
                  <a:lnTo>
                    <a:pt x="45" y="162"/>
                  </a:lnTo>
                  <a:lnTo>
                    <a:pt x="3" y="153"/>
                  </a:lnTo>
                  <a:lnTo>
                    <a:pt x="0" y="141"/>
                  </a:lnTo>
                  <a:lnTo>
                    <a:pt x="0" y="66"/>
                  </a:lnTo>
                  <a:lnTo>
                    <a:pt x="27" y="54"/>
                  </a:lnTo>
                  <a:lnTo>
                    <a:pt x="24" y="42"/>
                  </a:lnTo>
                  <a:lnTo>
                    <a:pt x="30" y="12"/>
                  </a:lnTo>
                  <a:lnTo>
                    <a:pt x="33" y="0"/>
                  </a:lnTo>
                  <a:lnTo>
                    <a:pt x="48" y="6"/>
                  </a:lnTo>
                  <a:lnTo>
                    <a:pt x="54" y="30"/>
                  </a:lnTo>
                  <a:lnTo>
                    <a:pt x="54" y="48"/>
                  </a:lnTo>
                  <a:lnTo>
                    <a:pt x="84" y="69"/>
                  </a:lnTo>
                  <a:lnTo>
                    <a:pt x="90" y="87"/>
                  </a:lnTo>
                  <a:lnTo>
                    <a:pt x="72" y="102"/>
                  </a:lnTo>
                  <a:lnTo>
                    <a:pt x="63" y="132"/>
                  </a:lnTo>
                  <a:lnTo>
                    <a:pt x="72" y="153"/>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8" name="Freeform 62"/>
            <p:cNvSpPr>
              <a:spLocks/>
            </p:cNvSpPr>
            <p:nvPr/>
          </p:nvSpPr>
          <p:spPr bwMode="auto">
            <a:xfrm>
              <a:off x="4911974" y="2975000"/>
              <a:ext cx="204787" cy="217487"/>
            </a:xfrm>
            <a:custGeom>
              <a:avLst/>
              <a:gdLst>
                <a:gd name="T0" fmla="*/ 45 w 146"/>
                <a:gd name="T1" fmla="*/ 44 h 156"/>
                <a:gd name="T2" fmla="*/ 43 w 146"/>
                <a:gd name="T3" fmla="*/ 39 h 156"/>
                <a:gd name="T4" fmla="*/ 40 w 146"/>
                <a:gd name="T5" fmla="*/ 32 h 156"/>
                <a:gd name="T6" fmla="*/ 56 w 146"/>
                <a:gd name="T7" fmla="*/ 27 h 156"/>
                <a:gd name="T8" fmla="*/ 57 w 146"/>
                <a:gd name="T9" fmla="*/ 22 h 156"/>
                <a:gd name="T10" fmla="*/ 55 w 146"/>
                <a:gd name="T11" fmla="*/ 10 h 156"/>
                <a:gd name="T12" fmla="*/ 48 w 146"/>
                <a:gd name="T13" fmla="*/ 10 h 156"/>
                <a:gd name="T14" fmla="*/ 29 w 146"/>
                <a:gd name="T15" fmla="*/ 0 h 156"/>
                <a:gd name="T16" fmla="*/ 16 w 146"/>
                <a:gd name="T17" fmla="*/ 11 h 156"/>
                <a:gd name="T18" fmla="*/ 14 w 146"/>
                <a:gd name="T19" fmla="*/ 23 h 156"/>
                <a:gd name="T20" fmla="*/ 5 w 146"/>
                <a:gd name="T21" fmla="*/ 35 h 156"/>
                <a:gd name="T22" fmla="*/ 0 w 146"/>
                <a:gd name="T23" fmla="*/ 46 h 156"/>
                <a:gd name="T24" fmla="*/ 5 w 146"/>
                <a:gd name="T25" fmla="*/ 52 h 156"/>
                <a:gd name="T26" fmla="*/ 18 w 146"/>
                <a:gd name="T27" fmla="*/ 49 h 156"/>
                <a:gd name="T28" fmla="*/ 29 w 146"/>
                <a:gd name="T29" fmla="*/ 53 h 156"/>
                <a:gd name="T30" fmla="*/ 35 w 146"/>
                <a:gd name="T31" fmla="*/ 48 h 156"/>
                <a:gd name="T32" fmla="*/ 45 w 146"/>
                <a:gd name="T33" fmla="*/ 44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6" h="156">
                  <a:moveTo>
                    <a:pt x="113" y="132"/>
                  </a:moveTo>
                  <a:lnTo>
                    <a:pt x="110" y="111"/>
                  </a:lnTo>
                  <a:lnTo>
                    <a:pt x="102" y="96"/>
                  </a:lnTo>
                  <a:lnTo>
                    <a:pt x="143" y="78"/>
                  </a:lnTo>
                  <a:lnTo>
                    <a:pt x="146" y="66"/>
                  </a:lnTo>
                  <a:lnTo>
                    <a:pt x="137" y="27"/>
                  </a:lnTo>
                  <a:lnTo>
                    <a:pt x="122" y="27"/>
                  </a:lnTo>
                  <a:lnTo>
                    <a:pt x="72" y="0"/>
                  </a:lnTo>
                  <a:lnTo>
                    <a:pt x="42" y="30"/>
                  </a:lnTo>
                  <a:lnTo>
                    <a:pt x="36" y="69"/>
                  </a:lnTo>
                  <a:lnTo>
                    <a:pt x="6" y="102"/>
                  </a:lnTo>
                  <a:lnTo>
                    <a:pt x="0" y="135"/>
                  </a:lnTo>
                  <a:lnTo>
                    <a:pt x="6" y="153"/>
                  </a:lnTo>
                  <a:lnTo>
                    <a:pt x="45" y="147"/>
                  </a:lnTo>
                  <a:lnTo>
                    <a:pt x="75" y="156"/>
                  </a:lnTo>
                  <a:lnTo>
                    <a:pt x="90" y="144"/>
                  </a:lnTo>
                  <a:lnTo>
                    <a:pt x="113" y="132"/>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69" name="Freeform 63"/>
            <p:cNvSpPr>
              <a:spLocks/>
            </p:cNvSpPr>
            <p:nvPr/>
          </p:nvSpPr>
          <p:spPr bwMode="auto">
            <a:xfrm>
              <a:off x="3738811" y="3289325"/>
              <a:ext cx="334963" cy="568325"/>
            </a:xfrm>
            <a:custGeom>
              <a:avLst/>
              <a:gdLst>
                <a:gd name="T0" fmla="*/ 90 w 239"/>
                <a:gd name="T1" fmla="*/ 74 h 410"/>
                <a:gd name="T2" fmla="*/ 90 w 239"/>
                <a:gd name="T3" fmla="*/ 60 h 410"/>
                <a:gd name="T4" fmla="*/ 96 w 239"/>
                <a:gd name="T5" fmla="*/ 53 h 410"/>
                <a:gd name="T6" fmla="*/ 92 w 239"/>
                <a:gd name="T7" fmla="*/ 46 h 410"/>
                <a:gd name="T8" fmla="*/ 62 w 239"/>
                <a:gd name="T9" fmla="*/ 37 h 410"/>
                <a:gd name="T10" fmla="*/ 67 w 239"/>
                <a:gd name="T11" fmla="*/ 28 h 410"/>
                <a:gd name="T12" fmla="*/ 75 w 239"/>
                <a:gd name="T13" fmla="*/ 19 h 410"/>
                <a:gd name="T14" fmla="*/ 68 w 239"/>
                <a:gd name="T15" fmla="*/ 4 h 410"/>
                <a:gd name="T16" fmla="*/ 67 w 239"/>
                <a:gd name="T17" fmla="*/ 0 h 410"/>
                <a:gd name="T18" fmla="*/ 47 w 239"/>
                <a:gd name="T19" fmla="*/ 11 h 410"/>
                <a:gd name="T20" fmla="*/ 39 w 239"/>
                <a:gd name="T21" fmla="*/ 34 h 410"/>
                <a:gd name="T22" fmla="*/ 36 w 239"/>
                <a:gd name="T23" fmla="*/ 50 h 410"/>
                <a:gd name="T24" fmla="*/ 21 w 239"/>
                <a:gd name="T25" fmla="*/ 60 h 410"/>
                <a:gd name="T26" fmla="*/ 13 w 239"/>
                <a:gd name="T27" fmla="*/ 62 h 410"/>
                <a:gd name="T28" fmla="*/ 0 w 239"/>
                <a:gd name="T29" fmla="*/ 64 h 410"/>
                <a:gd name="T30" fmla="*/ 25 w 239"/>
                <a:gd name="T31" fmla="*/ 87 h 410"/>
                <a:gd name="T32" fmla="*/ 30 w 239"/>
                <a:gd name="T33" fmla="*/ 107 h 410"/>
                <a:gd name="T34" fmla="*/ 27 w 239"/>
                <a:gd name="T35" fmla="*/ 115 h 410"/>
                <a:gd name="T36" fmla="*/ 44 w 239"/>
                <a:gd name="T37" fmla="*/ 122 h 410"/>
                <a:gd name="T38" fmla="*/ 44 w 239"/>
                <a:gd name="T39" fmla="*/ 129 h 410"/>
                <a:gd name="T40" fmla="*/ 60 w 239"/>
                <a:gd name="T41" fmla="*/ 132 h 410"/>
                <a:gd name="T42" fmla="*/ 65 w 239"/>
                <a:gd name="T43" fmla="*/ 132 h 410"/>
                <a:gd name="T44" fmla="*/ 65 w 239"/>
                <a:gd name="T45" fmla="*/ 122 h 410"/>
                <a:gd name="T46" fmla="*/ 76 w 239"/>
                <a:gd name="T47" fmla="*/ 121 h 410"/>
                <a:gd name="T48" fmla="*/ 80 w 239"/>
                <a:gd name="T49" fmla="*/ 108 h 410"/>
                <a:gd name="T50" fmla="*/ 70 w 239"/>
                <a:gd name="T51" fmla="*/ 103 h 410"/>
                <a:gd name="T52" fmla="*/ 65 w 239"/>
                <a:gd name="T53" fmla="*/ 97 h 410"/>
                <a:gd name="T54" fmla="*/ 67 w 239"/>
                <a:gd name="T55" fmla="*/ 74 h 410"/>
                <a:gd name="T56" fmla="*/ 75 w 239"/>
                <a:gd name="T57" fmla="*/ 71 h 410"/>
                <a:gd name="T58" fmla="*/ 84 w 239"/>
                <a:gd name="T59" fmla="*/ 76 h 410"/>
                <a:gd name="T60" fmla="*/ 90 w 239"/>
                <a:gd name="T61" fmla="*/ 74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9" h="410">
                  <a:moveTo>
                    <a:pt x="224" y="231"/>
                  </a:moveTo>
                  <a:lnTo>
                    <a:pt x="224" y="186"/>
                  </a:lnTo>
                  <a:lnTo>
                    <a:pt x="239" y="165"/>
                  </a:lnTo>
                  <a:lnTo>
                    <a:pt x="233" y="144"/>
                  </a:lnTo>
                  <a:lnTo>
                    <a:pt x="159" y="117"/>
                  </a:lnTo>
                  <a:lnTo>
                    <a:pt x="165" y="87"/>
                  </a:lnTo>
                  <a:lnTo>
                    <a:pt x="189" y="57"/>
                  </a:lnTo>
                  <a:lnTo>
                    <a:pt x="174" y="6"/>
                  </a:lnTo>
                  <a:lnTo>
                    <a:pt x="168" y="0"/>
                  </a:lnTo>
                  <a:lnTo>
                    <a:pt x="120" y="33"/>
                  </a:lnTo>
                  <a:lnTo>
                    <a:pt x="96" y="105"/>
                  </a:lnTo>
                  <a:lnTo>
                    <a:pt x="90" y="156"/>
                  </a:lnTo>
                  <a:lnTo>
                    <a:pt x="51" y="186"/>
                  </a:lnTo>
                  <a:lnTo>
                    <a:pt x="30" y="195"/>
                  </a:lnTo>
                  <a:lnTo>
                    <a:pt x="0" y="201"/>
                  </a:lnTo>
                  <a:lnTo>
                    <a:pt x="63" y="275"/>
                  </a:lnTo>
                  <a:lnTo>
                    <a:pt x="75" y="332"/>
                  </a:lnTo>
                  <a:lnTo>
                    <a:pt x="69" y="359"/>
                  </a:lnTo>
                  <a:lnTo>
                    <a:pt x="111" y="383"/>
                  </a:lnTo>
                  <a:lnTo>
                    <a:pt x="111" y="401"/>
                  </a:lnTo>
                  <a:lnTo>
                    <a:pt x="150" y="410"/>
                  </a:lnTo>
                  <a:lnTo>
                    <a:pt x="162" y="410"/>
                  </a:lnTo>
                  <a:lnTo>
                    <a:pt x="162" y="377"/>
                  </a:lnTo>
                  <a:lnTo>
                    <a:pt x="192" y="374"/>
                  </a:lnTo>
                  <a:lnTo>
                    <a:pt x="198" y="335"/>
                  </a:lnTo>
                  <a:lnTo>
                    <a:pt x="177" y="320"/>
                  </a:lnTo>
                  <a:lnTo>
                    <a:pt x="162" y="302"/>
                  </a:lnTo>
                  <a:lnTo>
                    <a:pt x="168" y="231"/>
                  </a:lnTo>
                  <a:lnTo>
                    <a:pt x="186" y="222"/>
                  </a:lnTo>
                  <a:lnTo>
                    <a:pt x="212" y="234"/>
                  </a:lnTo>
                  <a:lnTo>
                    <a:pt x="224" y="231"/>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0" name="Freeform 64"/>
            <p:cNvSpPr>
              <a:spLocks/>
            </p:cNvSpPr>
            <p:nvPr/>
          </p:nvSpPr>
          <p:spPr bwMode="auto">
            <a:xfrm>
              <a:off x="2973636" y="1146200"/>
              <a:ext cx="2728913" cy="2430462"/>
            </a:xfrm>
            <a:custGeom>
              <a:avLst/>
              <a:gdLst>
                <a:gd name="T0" fmla="*/ 262 w 1944"/>
                <a:gd name="T1" fmla="*/ 555 h 1750"/>
                <a:gd name="T2" fmla="*/ 296 w 1944"/>
                <a:gd name="T3" fmla="*/ 506 h 1750"/>
                <a:gd name="T4" fmla="*/ 320 w 1944"/>
                <a:gd name="T5" fmla="*/ 552 h 1750"/>
                <a:gd name="T6" fmla="*/ 351 w 1944"/>
                <a:gd name="T7" fmla="*/ 562 h 1750"/>
                <a:gd name="T8" fmla="*/ 393 w 1944"/>
                <a:gd name="T9" fmla="*/ 513 h 1750"/>
                <a:gd name="T10" fmla="*/ 435 w 1944"/>
                <a:gd name="T11" fmla="*/ 496 h 1750"/>
                <a:gd name="T12" fmla="*/ 483 w 1944"/>
                <a:gd name="T13" fmla="*/ 466 h 1750"/>
                <a:gd name="T14" fmla="*/ 512 w 1944"/>
                <a:gd name="T15" fmla="*/ 436 h 1750"/>
                <a:gd name="T16" fmla="*/ 541 w 1944"/>
                <a:gd name="T17" fmla="*/ 402 h 1750"/>
                <a:gd name="T18" fmla="*/ 569 w 1944"/>
                <a:gd name="T19" fmla="*/ 403 h 1750"/>
                <a:gd name="T20" fmla="*/ 601 w 1944"/>
                <a:gd name="T21" fmla="*/ 396 h 1750"/>
                <a:gd name="T22" fmla="*/ 642 w 1944"/>
                <a:gd name="T23" fmla="*/ 392 h 1750"/>
                <a:gd name="T24" fmla="*/ 682 w 1944"/>
                <a:gd name="T25" fmla="*/ 403 h 1750"/>
                <a:gd name="T26" fmla="*/ 703 w 1944"/>
                <a:gd name="T27" fmla="*/ 392 h 1750"/>
                <a:gd name="T28" fmla="*/ 745 w 1944"/>
                <a:gd name="T29" fmla="*/ 361 h 1750"/>
                <a:gd name="T30" fmla="*/ 780 w 1944"/>
                <a:gd name="T31" fmla="*/ 346 h 1750"/>
                <a:gd name="T32" fmla="*/ 790 w 1944"/>
                <a:gd name="T33" fmla="*/ 320 h 1750"/>
                <a:gd name="T34" fmla="*/ 745 w 1944"/>
                <a:gd name="T35" fmla="*/ 300 h 1750"/>
                <a:gd name="T36" fmla="*/ 735 w 1944"/>
                <a:gd name="T37" fmla="*/ 262 h 1750"/>
                <a:gd name="T38" fmla="*/ 749 w 1944"/>
                <a:gd name="T39" fmla="*/ 250 h 1750"/>
                <a:gd name="T40" fmla="*/ 754 w 1944"/>
                <a:gd name="T41" fmla="*/ 220 h 1750"/>
                <a:gd name="T42" fmla="*/ 754 w 1944"/>
                <a:gd name="T43" fmla="*/ 213 h 1750"/>
                <a:gd name="T44" fmla="*/ 764 w 1944"/>
                <a:gd name="T45" fmla="*/ 157 h 1750"/>
                <a:gd name="T46" fmla="*/ 779 w 1944"/>
                <a:gd name="T47" fmla="*/ 162 h 1750"/>
                <a:gd name="T48" fmla="*/ 784 w 1944"/>
                <a:gd name="T49" fmla="*/ 90 h 1750"/>
                <a:gd name="T50" fmla="*/ 735 w 1944"/>
                <a:gd name="T51" fmla="*/ 58 h 1750"/>
                <a:gd name="T52" fmla="*/ 695 w 1944"/>
                <a:gd name="T53" fmla="*/ 39 h 1750"/>
                <a:gd name="T54" fmla="*/ 656 w 1944"/>
                <a:gd name="T55" fmla="*/ 30 h 1750"/>
                <a:gd name="T56" fmla="*/ 648 w 1944"/>
                <a:gd name="T57" fmla="*/ 0 h 1750"/>
                <a:gd name="T58" fmla="*/ 633 w 1944"/>
                <a:gd name="T59" fmla="*/ 30 h 1750"/>
                <a:gd name="T60" fmla="*/ 614 w 1944"/>
                <a:gd name="T61" fmla="*/ 107 h 1750"/>
                <a:gd name="T62" fmla="*/ 561 w 1944"/>
                <a:gd name="T63" fmla="*/ 139 h 1750"/>
                <a:gd name="T64" fmla="*/ 527 w 1944"/>
                <a:gd name="T65" fmla="*/ 196 h 1750"/>
                <a:gd name="T66" fmla="*/ 581 w 1944"/>
                <a:gd name="T67" fmla="*/ 206 h 1750"/>
                <a:gd name="T68" fmla="*/ 657 w 1944"/>
                <a:gd name="T69" fmla="*/ 225 h 1750"/>
                <a:gd name="T70" fmla="*/ 604 w 1944"/>
                <a:gd name="T71" fmla="*/ 243 h 1750"/>
                <a:gd name="T72" fmla="*/ 560 w 1944"/>
                <a:gd name="T73" fmla="*/ 267 h 1750"/>
                <a:gd name="T74" fmla="*/ 501 w 1944"/>
                <a:gd name="T75" fmla="*/ 309 h 1750"/>
                <a:gd name="T76" fmla="*/ 433 w 1944"/>
                <a:gd name="T77" fmla="*/ 317 h 1750"/>
                <a:gd name="T78" fmla="*/ 417 w 1944"/>
                <a:gd name="T79" fmla="*/ 370 h 1750"/>
                <a:gd name="T80" fmla="*/ 310 w 1944"/>
                <a:gd name="T81" fmla="*/ 404 h 1750"/>
                <a:gd name="T82" fmla="*/ 221 w 1944"/>
                <a:gd name="T83" fmla="*/ 427 h 1750"/>
                <a:gd name="T84" fmla="*/ 79 w 1944"/>
                <a:gd name="T85" fmla="*/ 402 h 1750"/>
                <a:gd name="T86" fmla="*/ 5 w 1944"/>
                <a:gd name="T87" fmla="*/ 420 h 1750"/>
                <a:gd name="T88" fmla="*/ 46 w 1944"/>
                <a:gd name="T89" fmla="*/ 459 h 1750"/>
                <a:gd name="T90" fmla="*/ 90 w 1944"/>
                <a:gd name="T91" fmla="*/ 474 h 1750"/>
                <a:gd name="T92" fmla="*/ 103 w 1944"/>
                <a:gd name="T93" fmla="*/ 505 h 1750"/>
                <a:gd name="T94" fmla="*/ 148 w 1944"/>
                <a:gd name="T95" fmla="*/ 525 h 1750"/>
                <a:gd name="T96" fmla="*/ 212 w 1944"/>
                <a:gd name="T97" fmla="*/ 520 h 1750"/>
                <a:gd name="T98" fmla="*/ 193 w 1944"/>
                <a:gd name="T99" fmla="*/ 548 h 17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44" h="1750">
                  <a:moveTo>
                    <a:pt x="545" y="1744"/>
                  </a:moveTo>
                  <a:lnTo>
                    <a:pt x="575" y="1738"/>
                  </a:lnTo>
                  <a:lnTo>
                    <a:pt x="596" y="1729"/>
                  </a:lnTo>
                  <a:lnTo>
                    <a:pt x="635" y="1699"/>
                  </a:lnTo>
                  <a:lnTo>
                    <a:pt x="641" y="1648"/>
                  </a:lnTo>
                  <a:lnTo>
                    <a:pt x="665" y="1576"/>
                  </a:lnTo>
                  <a:lnTo>
                    <a:pt x="713" y="1543"/>
                  </a:lnTo>
                  <a:lnTo>
                    <a:pt x="719" y="1549"/>
                  </a:lnTo>
                  <a:lnTo>
                    <a:pt x="734" y="1600"/>
                  </a:lnTo>
                  <a:lnTo>
                    <a:pt x="710" y="1630"/>
                  </a:lnTo>
                  <a:lnTo>
                    <a:pt x="704" y="1660"/>
                  </a:lnTo>
                  <a:lnTo>
                    <a:pt x="778" y="1687"/>
                  </a:lnTo>
                  <a:lnTo>
                    <a:pt x="784" y="1708"/>
                  </a:lnTo>
                  <a:lnTo>
                    <a:pt x="826" y="1705"/>
                  </a:lnTo>
                  <a:lnTo>
                    <a:pt x="847" y="1711"/>
                  </a:lnTo>
                  <a:lnTo>
                    <a:pt x="856" y="1717"/>
                  </a:lnTo>
                  <a:lnTo>
                    <a:pt x="931" y="1612"/>
                  </a:lnTo>
                  <a:lnTo>
                    <a:pt x="952" y="1603"/>
                  </a:lnTo>
                  <a:lnTo>
                    <a:pt x="955" y="1591"/>
                  </a:lnTo>
                  <a:lnTo>
                    <a:pt x="955" y="1570"/>
                  </a:lnTo>
                  <a:lnTo>
                    <a:pt x="979" y="1534"/>
                  </a:lnTo>
                  <a:lnTo>
                    <a:pt x="1027" y="1531"/>
                  </a:lnTo>
                  <a:lnTo>
                    <a:pt x="1045" y="1510"/>
                  </a:lnTo>
                  <a:lnTo>
                    <a:pt x="1057" y="1519"/>
                  </a:lnTo>
                  <a:lnTo>
                    <a:pt x="1084" y="1498"/>
                  </a:lnTo>
                  <a:lnTo>
                    <a:pt x="1099" y="1498"/>
                  </a:lnTo>
                  <a:lnTo>
                    <a:pt x="1150" y="1426"/>
                  </a:lnTo>
                  <a:lnTo>
                    <a:pt x="1174" y="1426"/>
                  </a:lnTo>
                  <a:lnTo>
                    <a:pt x="1207" y="1405"/>
                  </a:lnTo>
                  <a:lnTo>
                    <a:pt x="1216" y="1414"/>
                  </a:lnTo>
                  <a:lnTo>
                    <a:pt x="1276" y="1384"/>
                  </a:lnTo>
                  <a:lnTo>
                    <a:pt x="1246" y="1333"/>
                  </a:lnTo>
                  <a:lnTo>
                    <a:pt x="1255" y="1285"/>
                  </a:lnTo>
                  <a:lnTo>
                    <a:pt x="1279" y="1231"/>
                  </a:lnTo>
                  <a:lnTo>
                    <a:pt x="1300" y="1222"/>
                  </a:lnTo>
                  <a:lnTo>
                    <a:pt x="1315" y="1228"/>
                  </a:lnTo>
                  <a:lnTo>
                    <a:pt x="1315" y="1267"/>
                  </a:lnTo>
                  <a:lnTo>
                    <a:pt x="1330" y="1276"/>
                  </a:lnTo>
                  <a:lnTo>
                    <a:pt x="1366" y="1249"/>
                  </a:lnTo>
                  <a:lnTo>
                    <a:pt x="1381" y="1234"/>
                  </a:lnTo>
                  <a:lnTo>
                    <a:pt x="1399" y="1240"/>
                  </a:lnTo>
                  <a:lnTo>
                    <a:pt x="1417" y="1225"/>
                  </a:lnTo>
                  <a:lnTo>
                    <a:pt x="1456" y="1222"/>
                  </a:lnTo>
                  <a:lnTo>
                    <a:pt x="1462" y="1210"/>
                  </a:lnTo>
                  <a:lnTo>
                    <a:pt x="1453" y="1189"/>
                  </a:lnTo>
                  <a:lnTo>
                    <a:pt x="1480" y="1162"/>
                  </a:lnTo>
                  <a:lnTo>
                    <a:pt x="1512" y="1144"/>
                  </a:lnTo>
                  <a:lnTo>
                    <a:pt x="1560" y="1198"/>
                  </a:lnTo>
                  <a:lnTo>
                    <a:pt x="1557" y="1219"/>
                  </a:lnTo>
                  <a:lnTo>
                    <a:pt x="1584" y="1258"/>
                  </a:lnTo>
                  <a:lnTo>
                    <a:pt x="1641" y="1264"/>
                  </a:lnTo>
                  <a:lnTo>
                    <a:pt x="1656" y="1234"/>
                  </a:lnTo>
                  <a:lnTo>
                    <a:pt x="1641" y="1156"/>
                  </a:lnTo>
                  <a:lnTo>
                    <a:pt x="1653" y="1144"/>
                  </a:lnTo>
                  <a:lnTo>
                    <a:pt x="1680" y="1162"/>
                  </a:lnTo>
                  <a:lnTo>
                    <a:pt x="1707" y="1198"/>
                  </a:lnTo>
                  <a:lnTo>
                    <a:pt x="1746" y="1138"/>
                  </a:lnTo>
                  <a:lnTo>
                    <a:pt x="1764" y="1132"/>
                  </a:lnTo>
                  <a:lnTo>
                    <a:pt x="1791" y="1105"/>
                  </a:lnTo>
                  <a:lnTo>
                    <a:pt x="1806" y="1105"/>
                  </a:lnTo>
                  <a:lnTo>
                    <a:pt x="1830" y="1078"/>
                  </a:lnTo>
                  <a:lnTo>
                    <a:pt x="1845" y="1078"/>
                  </a:lnTo>
                  <a:lnTo>
                    <a:pt x="1857" y="1058"/>
                  </a:lnTo>
                  <a:lnTo>
                    <a:pt x="1893" y="1058"/>
                  </a:lnTo>
                  <a:lnTo>
                    <a:pt x="1926" y="1025"/>
                  </a:lnTo>
                  <a:lnTo>
                    <a:pt x="1944" y="1010"/>
                  </a:lnTo>
                  <a:lnTo>
                    <a:pt x="1944" y="992"/>
                  </a:lnTo>
                  <a:lnTo>
                    <a:pt x="1917" y="977"/>
                  </a:lnTo>
                  <a:lnTo>
                    <a:pt x="1917" y="944"/>
                  </a:lnTo>
                  <a:lnTo>
                    <a:pt x="1869" y="884"/>
                  </a:lnTo>
                  <a:lnTo>
                    <a:pt x="1824" y="929"/>
                  </a:lnTo>
                  <a:lnTo>
                    <a:pt x="1812" y="917"/>
                  </a:lnTo>
                  <a:lnTo>
                    <a:pt x="1809" y="893"/>
                  </a:lnTo>
                  <a:lnTo>
                    <a:pt x="1791" y="866"/>
                  </a:lnTo>
                  <a:lnTo>
                    <a:pt x="1785" y="836"/>
                  </a:lnTo>
                  <a:lnTo>
                    <a:pt x="1785" y="803"/>
                  </a:lnTo>
                  <a:lnTo>
                    <a:pt x="1755" y="779"/>
                  </a:lnTo>
                  <a:lnTo>
                    <a:pt x="1749" y="767"/>
                  </a:lnTo>
                  <a:lnTo>
                    <a:pt x="1758" y="749"/>
                  </a:lnTo>
                  <a:lnTo>
                    <a:pt x="1818" y="764"/>
                  </a:lnTo>
                  <a:lnTo>
                    <a:pt x="1818" y="737"/>
                  </a:lnTo>
                  <a:lnTo>
                    <a:pt x="1839" y="713"/>
                  </a:lnTo>
                  <a:lnTo>
                    <a:pt x="1827" y="698"/>
                  </a:lnTo>
                  <a:lnTo>
                    <a:pt x="1830" y="674"/>
                  </a:lnTo>
                  <a:lnTo>
                    <a:pt x="1857" y="659"/>
                  </a:lnTo>
                  <a:lnTo>
                    <a:pt x="1866" y="650"/>
                  </a:lnTo>
                  <a:lnTo>
                    <a:pt x="1860" y="641"/>
                  </a:lnTo>
                  <a:lnTo>
                    <a:pt x="1830" y="650"/>
                  </a:lnTo>
                  <a:lnTo>
                    <a:pt x="1773" y="611"/>
                  </a:lnTo>
                  <a:lnTo>
                    <a:pt x="1770" y="599"/>
                  </a:lnTo>
                  <a:lnTo>
                    <a:pt x="1797" y="563"/>
                  </a:lnTo>
                  <a:lnTo>
                    <a:pt x="1854" y="479"/>
                  </a:lnTo>
                  <a:lnTo>
                    <a:pt x="1857" y="470"/>
                  </a:lnTo>
                  <a:lnTo>
                    <a:pt x="1869" y="470"/>
                  </a:lnTo>
                  <a:lnTo>
                    <a:pt x="1887" y="494"/>
                  </a:lnTo>
                  <a:lnTo>
                    <a:pt x="1890" y="497"/>
                  </a:lnTo>
                  <a:lnTo>
                    <a:pt x="1893" y="392"/>
                  </a:lnTo>
                  <a:lnTo>
                    <a:pt x="1911" y="383"/>
                  </a:lnTo>
                  <a:lnTo>
                    <a:pt x="1911" y="341"/>
                  </a:lnTo>
                  <a:lnTo>
                    <a:pt x="1905" y="276"/>
                  </a:lnTo>
                  <a:lnTo>
                    <a:pt x="1929" y="183"/>
                  </a:lnTo>
                  <a:lnTo>
                    <a:pt x="1860" y="132"/>
                  </a:lnTo>
                  <a:lnTo>
                    <a:pt x="1809" y="177"/>
                  </a:lnTo>
                  <a:lnTo>
                    <a:pt x="1782" y="180"/>
                  </a:lnTo>
                  <a:lnTo>
                    <a:pt x="1767" y="195"/>
                  </a:lnTo>
                  <a:lnTo>
                    <a:pt x="1722" y="189"/>
                  </a:lnTo>
                  <a:lnTo>
                    <a:pt x="1698" y="162"/>
                  </a:lnTo>
                  <a:lnTo>
                    <a:pt x="1686" y="120"/>
                  </a:lnTo>
                  <a:lnTo>
                    <a:pt x="1689" y="105"/>
                  </a:lnTo>
                  <a:lnTo>
                    <a:pt x="1653" y="84"/>
                  </a:lnTo>
                  <a:lnTo>
                    <a:pt x="1632" y="117"/>
                  </a:lnTo>
                  <a:lnTo>
                    <a:pt x="1593" y="93"/>
                  </a:lnTo>
                  <a:lnTo>
                    <a:pt x="1584" y="84"/>
                  </a:lnTo>
                  <a:lnTo>
                    <a:pt x="1608" y="27"/>
                  </a:lnTo>
                  <a:lnTo>
                    <a:pt x="1590" y="0"/>
                  </a:lnTo>
                  <a:lnTo>
                    <a:pt x="1575" y="0"/>
                  </a:lnTo>
                  <a:lnTo>
                    <a:pt x="1533" y="30"/>
                  </a:lnTo>
                  <a:lnTo>
                    <a:pt x="1500" y="81"/>
                  </a:lnTo>
                  <a:lnTo>
                    <a:pt x="1512" y="90"/>
                  </a:lnTo>
                  <a:lnTo>
                    <a:pt x="1539" y="93"/>
                  </a:lnTo>
                  <a:lnTo>
                    <a:pt x="1557" y="144"/>
                  </a:lnTo>
                  <a:lnTo>
                    <a:pt x="1548" y="165"/>
                  </a:lnTo>
                  <a:lnTo>
                    <a:pt x="1527" y="195"/>
                  </a:lnTo>
                  <a:lnTo>
                    <a:pt x="1491" y="329"/>
                  </a:lnTo>
                  <a:lnTo>
                    <a:pt x="1503" y="353"/>
                  </a:lnTo>
                  <a:lnTo>
                    <a:pt x="1494" y="371"/>
                  </a:lnTo>
                  <a:lnTo>
                    <a:pt x="1408" y="434"/>
                  </a:lnTo>
                  <a:lnTo>
                    <a:pt x="1363" y="425"/>
                  </a:lnTo>
                  <a:lnTo>
                    <a:pt x="1339" y="416"/>
                  </a:lnTo>
                  <a:lnTo>
                    <a:pt x="1333" y="428"/>
                  </a:lnTo>
                  <a:lnTo>
                    <a:pt x="1297" y="578"/>
                  </a:lnTo>
                  <a:lnTo>
                    <a:pt x="1279" y="596"/>
                  </a:lnTo>
                  <a:lnTo>
                    <a:pt x="1288" y="623"/>
                  </a:lnTo>
                  <a:lnTo>
                    <a:pt x="1312" y="641"/>
                  </a:lnTo>
                  <a:lnTo>
                    <a:pt x="1351" y="620"/>
                  </a:lnTo>
                  <a:lnTo>
                    <a:pt x="1411" y="626"/>
                  </a:lnTo>
                  <a:lnTo>
                    <a:pt x="1429" y="596"/>
                  </a:lnTo>
                  <a:lnTo>
                    <a:pt x="1462" y="587"/>
                  </a:lnTo>
                  <a:lnTo>
                    <a:pt x="1521" y="611"/>
                  </a:lnTo>
                  <a:lnTo>
                    <a:pt x="1596" y="689"/>
                  </a:lnTo>
                  <a:lnTo>
                    <a:pt x="1596" y="704"/>
                  </a:lnTo>
                  <a:lnTo>
                    <a:pt x="1581" y="716"/>
                  </a:lnTo>
                  <a:lnTo>
                    <a:pt x="1494" y="722"/>
                  </a:lnTo>
                  <a:lnTo>
                    <a:pt x="1465" y="743"/>
                  </a:lnTo>
                  <a:lnTo>
                    <a:pt x="1444" y="740"/>
                  </a:lnTo>
                  <a:lnTo>
                    <a:pt x="1426" y="767"/>
                  </a:lnTo>
                  <a:lnTo>
                    <a:pt x="1387" y="776"/>
                  </a:lnTo>
                  <a:lnTo>
                    <a:pt x="1360" y="815"/>
                  </a:lnTo>
                  <a:lnTo>
                    <a:pt x="1354" y="845"/>
                  </a:lnTo>
                  <a:lnTo>
                    <a:pt x="1297" y="884"/>
                  </a:lnTo>
                  <a:lnTo>
                    <a:pt x="1258" y="890"/>
                  </a:lnTo>
                  <a:lnTo>
                    <a:pt x="1219" y="944"/>
                  </a:lnTo>
                  <a:lnTo>
                    <a:pt x="1180" y="965"/>
                  </a:lnTo>
                  <a:lnTo>
                    <a:pt x="1105" y="950"/>
                  </a:lnTo>
                  <a:lnTo>
                    <a:pt x="1081" y="938"/>
                  </a:lnTo>
                  <a:lnTo>
                    <a:pt x="1051" y="968"/>
                  </a:lnTo>
                  <a:lnTo>
                    <a:pt x="1036" y="1019"/>
                  </a:lnTo>
                  <a:lnTo>
                    <a:pt x="1078" y="1078"/>
                  </a:lnTo>
                  <a:lnTo>
                    <a:pt x="1051" y="1108"/>
                  </a:lnTo>
                  <a:lnTo>
                    <a:pt x="1012" y="1129"/>
                  </a:lnTo>
                  <a:lnTo>
                    <a:pt x="958" y="1198"/>
                  </a:lnTo>
                  <a:lnTo>
                    <a:pt x="889" y="1228"/>
                  </a:lnTo>
                  <a:lnTo>
                    <a:pt x="772" y="1240"/>
                  </a:lnTo>
                  <a:lnTo>
                    <a:pt x="754" y="1237"/>
                  </a:lnTo>
                  <a:lnTo>
                    <a:pt x="620" y="1294"/>
                  </a:lnTo>
                  <a:lnTo>
                    <a:pt x="560" y="1333"/>
                  </a:lnTo>
                  <a:lnTo>
                    <a:pt x="542" y="1324"/>
                  </a:lnTo>
                  <a:lnTo>
                    <a:pt x="536" y="1306"/>
                  </a:lnTo>
                  <a:lnTo>
                    <a:pt x="452" y="1303"/>
                  </a:lnTo>
                  <a:lnTo>
                    <a:pt x="359" y="1273"/>
                  </a:lnTo>
                  <a:lnTo>
                    <a:pt x="332" y="1243"/>
                  </a:lnTo>
                  <a:lnTo>
                    <a:pt x="194" y="1228"/>
                  </a:lnTo>
                  <a:lnTo>
                    <a:pt x="167" y="1237"/>
                  </a:lnTo>
                  <a:lnTo>
                    <a:pt x="0" y="1222"/>
                  </a:lnTo>
                  <a:lnTo>
                    <a:pt x="0" y="1246"/>
                  </a:lnTo>
                  <a:lnTo>
                    <a:pt x="8" y="1285"/>
                  </a:lnTo>
                  <a:lnTo>
                    <a:pt x="3" y="1348"/>
                  </a:lnTo>
                  <a:lnTo>
                    <a:pt x="50" y="1420"/>
                  </a:lnTo>
                  <a:lnTo>
                    <a:pt x="74" y="1435"/>
                  </a:lnTo>
                  <a:lnTo>
                    <a:pt x="113" y="1405"/>
                  </a:lnTo>
                  <a:lnTo>
                    <a:pt x="197" y="1405"/>
                  </a:lnTo>
                  <a:lnTo>
                    <a:pt x="215" y="1414"/>
                  </a:lnTo>
                  <a:lnTo>
                    <a:pt x="227" y="1432"/>
                  </a:lnTo>
                  <a:lnTo>
                    <a:pt x="218" y="1450"/>
                  </a:lnTo>
                  <a:lnTo>
                    <a:pt x="173" y="1489"/>
                  </a:lnTo>
                  <a:lnTo>
                    <a:pt x="179" y="1507"/>
                  </a:lnTo>
                  <a:lnTo>
                    <a:pt x="230" y="1546"/>
                  </a:lnTo>
                  <a:lnTo>
                    <a:pt x="251" y="1546"/>
                  </a:lnTo>
                  <a:lnTo>
                    <a:pt x="257" y="1555"/>
                  </a:lnTo>
                  <a:lnTo>
                    <a:pt x="251" y="1570"/>
                  </a:lnTo>
                  <a:lnTo>
                    <a:pt x="284" y="1594"/>
                  </a:lnTo>
                  <a:lnTo>
                    <a:pt x="359" y="1606"/>
                  </a:lnTo>
                  <a:lnTo>
                    <a:pt x="395" y="1597"/>
                  </a:lnTo>
                  <a:lnTo>
                    <a:pt x="440" y="1552"/>
                  </a:lnTo>
                  <a:lnTo>
                    <a:pt x="497" y="1558"/>
                  </a:lnTo>
                  <a:lnTo>
                    <a:pt x="518" y="1591"/>
                  </a:lnTo>
                  <a:lnTo>
                    <a:pt x="506" y="1621"/>
                  </a:lnTo>
                  <a:lnTo>
                    <a:pt x="509" y="1642"/>
                  </a:lnTo>
                  <a:lnTo>
                    <a:pt x="479" y="1660"/>
                  </a:lnTo>
                  <a:lnTo>
                    <a:pt x="467" y="1675"/>
                  </a:lnTo>
                  <a:lnTo>
                    <a:pt x="470" y="1714"/>
                  </a:lnTo>
                  <a:lnTo>
                    <a:pt x="524" y="1750"/>
                  </a:lnTo>
                  <a:lnTo>
                    <a:pt x="545" y="1744"/>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1" name="Freeform 65"/>
            <p:cNvSpPr>
              <a:spLocks/>
            </p:cNvSpPr>
            <p:nvPr/>
          </p:nvSpPr>
          <p:spPr bwMode="auto">
            <a:xfrm>
              <a:off x="5261224" y="2506687"/>
              <a:ext cx="714375" cy="681038"/>
            </a:xfrm>
            <a:custGeom>
              <a:avLst/>
              <a:gdLst>
                <a:gd name="T0" fmla="*/ 171 w 510"/>
                <a:gd name="T1" fmla="*/ 111 h 491"/>
                <a:gd name="T2" fmla="*/ 192 w 510"/>
                <a:gd name="T3" fmla="*/ 85 h 491"/>
                <a:gd name="T4" fmla="*/ 207 w 510"/>
                <a:gd name="T5" fmla="*/ 72 h 491"/>
                <a:gd name="T6" fmla="*/ 206 w 510"/>
                <a:gd name="T7" fmla="*/ 60 h 491"/>
                <a:gd name="T8" fmla="*/ 190 w 510"/>
                <a:gd name="T9" fmla="*/ 46 h 491"/>
                <a:gd name="T10" fmla="*/ 189 w 510"/>
                <a:gd name="T11" fmla="*/ 35 h 491"/>
                <a:gd name="T12" fmla="*/ 163 w 510"/>
                <a:gd name="T13" fmla="*/ 7 h 491"/>
                <a:gd name="T14" fmla="*/ 160 w 510"/>
                <a:gd name="T15" fmla="*/ 10 h 491"/>
                <a:gd name="T16" fmla="*/ 154 w 510"/>
                <a:gd name="T17" fmla="*/ 13 h 491"/>
                <a:gd name="T18" fmla="*/ 144 w 510"/>
                <a:gd name="T19" fmla="*/ 4 h 491"/>
                <a:gd name="T20" fmla="*/ 128 w 510"/>
                <a:gd name="T21" fmla="*/ 0 h 491"/>
                <a:gd name="T22" fmla="*/ 128 w 510"/>
                <a:gd name="T23" fmla="*/ 4 h 491"/>
                <a:gd name="T24" fmla="*/ 128 w 510"/>
                <a:gd name="T25" fmla="*/ 10 h 491"/>
                <a:gd name="T26" fmla="*/ 121 w 510"/>
                <a:gd name="T27" fmla="*/ 15 h 491"/>
                <a:gd name="T28" fmla="*/ 108 w 510"/>
                <a:gd name="T29" fmla="*/ 26 h 491"/>
                <a:gd name="T30" fmla="*/ 92 w 510"/>
                <a:gd name="T31" fmla="*/ 26 h 491"/>
                <a:gd name="T32" fmla="*/ 87 w 510"/>
                <a:gd name="T33" fmla="*/ 32 h 491"/>
                <a:gd name="T34" fmla="*/ 82 w 510"/>
                <a:gd name="T35" fmla="*/ 32 h 491"/>
                <a:gd name="T36" fmla="*/ 71 w 510"/>
                <a:gd name="T37" fmla="*/ 41 h 491"/>
                <a:gd name="T38" fmla="*/ 65 w 510"/>
                <a:gd name="T39" fmla="*/ 41 h 491"/>
                <a:gd name="T40" fmla="*/ 54 w 510"/>
                <a:gd name="T41" fmla="*/ 50 h 491"/>
                <a:gd name="T42" fmla="*/ 48 w 510"/>
                <a:gd name="T43" fmla="*/ 51 h 491"/>
                <a:gd name="T44" fmla="*/ 31 w 510"/>
                <a:gd name="T45" fmla="*/ 72 h 491"/>
                <a:gd name="T46" fmla="*/ 21 w 510"/>
                <a:gd name="T47" fmla="*/ 60 h 491"/>
                <a:gd name="T48" fmla="*/ 10 w 510"/>
                <a:gd name="T49" fmla="*/ 54 h 491"/>
                <a:gd name="T50" fmla="*/ 5 w 510"/>
                <a:gd name="T51" fmla="*/ 57 h 491"/>
                <a:gd name="T52" fmla="*/ 12 w 510"/>
                <a:gd name="T53" fmla="*/ 84 h 491"/>
                <a:gd name="T54" fmla="*/ 5 w 510"/>
                <a:gd name="T55" fmla="*/ 94 h 491"/>
                <a:gd name="T56" fmla="*/ 0 w 510"/>
                <a:gd name="T57" fmla="*/ 106 h 491"/>
                <a:gd name="T58" fmla="*/ 16 w 510"/>
                <a:gd name="T59" fmla="*/ 114 h 491"/>
                <a:gd name="T60" fmla="*/ 24 w 510"/>
                <a:gd name="T61" fmla="*/ 114 h 491"/>
                <a:gd name="T62" fmla="*/ 35 w 510"/>
                <a:gd name="T63" fmla="*/ 127 h 491"/>
                <a:gd name="T64" fmla="*/ 43 w 510"/>
                <a:gd name="T65" fmla="*/ 124 h 491"/>
                <a:gd name="T66" fmla="*/ 56 w 510"/>
                <a:gd name="T67" fmla="*/ 111 h 491"/>
                <a:gd name="T68" fmla="*/ 70 w 510"/>
                <a:gd name="T69" fmla="*/ 95 h 491"/>
                <a:gd name="T70" fmla="*/ 92 w 510"/>
                <a:gd name="T71" fmla="*/ 89 h 491"/>
                <a:gd name="T72" fmla="*/ 104 w 510"/>
                <a:gd name="T73" fmla="*/ 100 h 491"/>
                <a:gd name="T74" fmla="*/ 95 w 510"/>
                <a:gd name="T75" fmla="*/ 118 h 491"/>
                <a:gd name="T76" fmla="*/ 82 w 510"/>
                <a:gd name="T77" fmla="*/ 135 h 491"/>
                <a:gd name="T78" fmla="*/ 92 w 510"/>
                <a:gd name="T79" fmla="*/ 141 h 491"/>
                <a:gd name="T80" fmla="*/ 92 w 510"/>
                <a:gd name="T81" fmla="*/ 148 h 491"/>
                <a:gd name="T82" fmla="*/ 84 w 510"/>
                <a:gd name="T83" fmla="*/ 157 h 491"/>
                <a:gd name="T84" fmla="*/ 84 w 510"/>
                <a:gd name="T85" fmla="*/ 160 h 491"/>
                <a:gd name="T86" fmla="*/ 101 w 510"/>
                <a:gd name="T87" fmla="*/ 154 h 491"/>
                <a:gd name="T88" fmla="*/ 125 w 510"/>
                <a:gd name="T89" fmla="*/ 130 h 491"/>
                <a:gd name="T90" fmla="*/ 159 w 510"/>
                <a:gd name="T91" fmla="*/ 113 h 491"/>
                <a:gd name="T92" fmla="*/ 171 w 510"/>
                <a:gd name="T93" fmla="*/ 111 h 4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10" h="491">
                  <a:moveTo>
                    <a:pt x="420" y="341"/>
                  </a:moveTo>
                  <a:lnTo>
                    <a:pt x="474" y="260"/>
                  </a:lnTo>
                  <a:lnTo>
                    <a:pt x="510" y="221"/>
                  </a:lnTo>
                  <a:lnTo>
                    <a:pt x="504" y="182"/>
                  </a:lnTo>
                  <a:lnTo>
                    <a:pt x="468" y="143"/>
                  </a:lnTo>
                  <a:lnTo>
                    <a:pt x="462" y="107"/>
                  </a:lnTo>
                  <a:lnTo>
                    <a:pt x="399" y="21"/>
                  </a:lnTo>
                  <a:lnTo>
                    <a:pt x="396" y="30"/>
                  </a:lnTo>
                  <a:lnTo>
                    <a:pt x="381" y="42"/>
                  </a:lnTo>
                  <a:lnTo>
                    <a:pt x="354" y="12"/>
                  </a:lnTo>
                  <a:lnTo>
                    <a:pt x="315" y="0"/>
                  </a:lnTo>
                  <a:lnTo>
                    <a:pt x="315" y="12"/>
                  </a:lnTo>
                  <a:lnTo>
                    <a:pt x="315" y="30"/>
                  </a:lnTo>
                  <a:lnTo>
                    <a:pt x="297" y="45"/>
                  </a:lnTo>
                  <a:lnTo>
                    <a:pt x="264" y="78"/>
                  </a:lnTo>
                  <a:lnTo>
                    <a:pt x="228" y="78"/>
                  </a:lnTo>
                  <a:lnTo>
                    <a:pt x="216" y="98"/>
                  </a:lnTo>
                  <a:lnTo>
                    <a:pt x="201" y="98"/>
                  </a:lnTo>
                  <a:lnTo>
                    <a:pt x="177" y="125"/>
                  </a:lnTo>
                  <a:lnTo>
                    <a:pt x="162" y="125"/>
                  </a:lnTo>
                  <a:lnTo>
                    <a:pt x="135" y="152"/>
                  </a:lnTo>
                  <a:lnTo>
                    <a:pt x="117" y="158"/>
                  </a:lnTo>
                  <a:lnTo>
                    <a:pt x="78" y="218"/>
                  </a:lnTo>
                  <a:lnTo>
                    <a:pt x="51" y="182"/>
                  </a:lnTo>
                  <a:lnTo>
                    <a:pt x="24" y="164"/>
                  </a:lnTo>
                  <a:lnTo>
                    <a:pt x="12" y="176"/>
                  </a:lnTo>
                  <a:lnTo>
                    <a:pt x="27" y="254"/>
                  </a:lnTo>
                  <a:lnTo>
                    <a:pt x="12" y="284"/>
                  </a:lnTo>
                  <a:lnTo>
                    <a:pt x="0" y="323"/>
                  </a:lnTo>
                  <a:lnTo>
                    <a:pt x="39" y="350"/>
                  </a:lnTo>
                  <a:lnTo>
                    <a:pt x="60" y="350"/>
                  </a:lnTo>
                  <a:lnTo>
                    <a:pt x="87" y="389"/>
                  </a:lnTo>
                  <a:lnTo>
                    <a:pt x="105" y="380"/>
                  </a:lnTo>
                  <a:lnTo>
                    <a:pt x="138" y="341"/>
                  </a:lnTo>
                  <a:lnTo>
                    <a:pt x="171" y="287"/>
                  </a:lnTo>
                  <a:lnTo>
                    <a:pt x="225" y="275"/>
                  </a:lnTo>
                  <a:lnTo>
                    <a:pt x="258" y="308"/>
                  </a:lnTo>
                  <a:lnTo>
                    <a:pt x="234" y="362"/>
                  </a:lnTo>
                  <a:lnTo>
                    <a:pt x="201" y="413"/>
                  </a:lnTo>
                  <a:lnTo>
                    <a:pt x="231" y="434"/>
                  </a:lnTo>
                  <a:lnTo>
                    <a:pt x="228" y="458"/>
                  </a:lnTo>
                  <a:lnTo>
                    <a:pt x="207" y="482"/>
                  </a:lnTo>
                  <a:lnTo>
                    <a:pt x="210" y="491"/>
                  </a:lnTo>
                  <a:lnTo>
                    <a:pt x="249" y="470"/>
                  </a:lnTo>
                  <a:lnTo>
                    <a:pt x="306" y="395"/>
                  </a:lnTo>
                  <a:lnTo>
                    <a:pt x="393" y="347"/>
                  </a:lnTo>
                  <a:lnTo>
                    <a:pt x="420" y="341"/>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2" name="Freeform 66"/>
            <p:cNvSpPr>
              <a:spLocks/>
            </p:cNvSpPr>
            <p:nvPr/>
          </p:nvSpPr>
          <p:spPr bwMode="auto">
            <a:xfrm>
              <a:off x="5427911" y="2119337"/>
              <a:ext cx="1030288" cy="693738"/>
            </a:xfrm>
            <a:custGeom>
              <a:avLst/>
              <a:gdLst>
                <a:gd name="T0" fmla="*/ 294 w 734"/>
                <a:gd name="T1" fmla="*/ 46 h 500"/>
                <a:gd name="T2" fmla="*/ 270 w 734"/>
                <a:gd name="T3" fmla="*/ 41 h 500"/>
                <a:gd name="T4" fmla="*/ 262 w 734"/>
                <a:gd name="T5" fmla="*/ 40 h 500"/>
                <a:gd name="T6" fmla="*/ 240 w 734"/>
                <a:gd name="T7" fmla="*/ 50 h 500"/>
                <a:gd name="T8" fmla="*/ 232 w 734"/>
                <a:gd name="T9" fmla="*/ 55 h 500"/>
                <a:gd name="T10" fmla="*/ 212 w 734"/>
                <a:gd name="T11" fmla="*/ 45 h 500"/>
                <a:gd name="T12" fmla="*/ 195 w 734"/>
                <a:gd name="T13" fmla="*/ 33 h 500"/>
                <a:gd name="T14" fmla="*/ 194 w 734"/>
                <a:gd name="T15" fmla="*/ 48 h 500"/>
                <a:gd name="T16" fmla="*/ 178 w 734"/>
                <a:gd name="T17" fmla="*/ 33 h 500"/>
                <a:gd name="T18" fmla="*/ 163 w 734"/>
                <a:gd name="T19" fmla="*/ 21 h 500"/>
                <a:gd name="T20" fmla="*/ 132 w 734"/>
                <a:gd name="T21" fmla="*/ 21 h 500"/>
                <a:gd name="T22" fmla="*/ 114 w 734"/>
                <a:gd name="T23" fmla="*/ 13 h 500"/>
                <a:gd name="T24" fmla="*/ 94 w 734"/>
                <a:gd name="T25" fmla="*/ 19 h 500"/>
                <a:gd name="T26" fmla="*/ 70 w 734"/>
                <a:gd name="T27" fmla="*/ 13 h 500"/>
                <a:gd name="T28" fmla="*/ 38 w 734"/>
                <a:gd name="T29" fmla="*/ 4 h 500"/>
                <a:gd name="T30" fmla="*/ 29 w 734"/>
                <a:gd name="T31" fmla="*/ 21 h 500"/>
                <a:gd name="T32" fmla="*/ 0 w 734"/>
                <a:gd name="T33" fmla="*/ 21 h 500"/>
                <a:gd name="T34" fmla="*/ 15 w 734"/>
                <a:gd name="T35" fmla="*/ 33 h 500"/>
                <a:gd name="T36" fmla="*/ 17 w 734"/>
                <a:gd name="T37" fmla="*/ 54 h 500"/>
                <a:gd name="T38" fmla="*/ 27 w 734"/>
                <a:gd name="T39" fmla="*/ 72 h 500"/>
                <a:gd name="T40" fmla="*/ 49 w 734"/>
                <a:gd name="T41" fmla="*/ 60 h 500"/>
                <a:gd name="T42" fmla="*/ 70 w 734"/>
                <a:gd name="T43" fmla="*/ 90 h 500"/>
                <a:gd name="T44" fmla="*/ 80 w 734"/>
                <a:gd name="T45" fmla="*/ 91 h 500"/>
                <a:gd name="T46" fmla="*/ 108 w 734"/>
                <a:gd name="T47" fmla="*/ 105 h 500"/>
                <a:gd name="T48" fmla="*/ 114 w 734"/>
                <a:gd name="T49" fmla="*/ 98 h 500"/>
                <a:gd name="T50" fmla="*/ 144 w 734"/>
                <a:gd name="T51" fmla="*/ 138 h 500"/>
                <a:gd name="T52" fmla="*/ 162 w 734"/>
                <a:gd name="T53" fmla="*/ 164 h 500"/>
                <a:gd name="T54" fmla="*/ 186 w 734"/>
                <a:gd name="T55" fmla="*/ 130 h 500"/>
                <a:gd name="T56" fmla="*/ 204 w 734"/>
                <a:gd name="T57" fmla="*/ 133 h 500"/>
                <a:gd name="T58" fmla="*/ 233 w 734"/>
                <a:gd name="T59" fmla="*/ 125 h 500"/>
                <a:gd name="T60" fmla="*/ 226 w 734"/>
                <a:gd name="T61" fmla="*/ 111 h 500"/>
                <a:gd name="T62" fmla="*/ 254 w 734"/>
                <a:gd name="T63" fmla="*/ 94 h 500"/>
                <a:gd name="T64" fmla="*/ 266 w 734"/>
                <a:gd name="T65" fmla="*/ 78 h 500"/>
                <a:gd name="T66" fmla="*/ 274 w 734"/>
                <a:gd name="T67" fmla="*/ 67 h 500"/>
                <a:gd name="T68" fmla="*/ 286 w 734"/>
                <a:gd name="T69" fmla="*/ 75 h 500"/>
                <a:gd name="T70" fmla="*/ 303 w 734"/>
                <a:gd name="T71" fmla="*/ 50 h 5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34" h="500">
                  <a:moveTo>
                    <a:pt x="728" y="141"/>
                  </a:moveTo>
                  <a:lnTo>
                    <a:pt x="710" y="141"/>
                  </a:lnTo>
                  <a:lnTo>
                    <a:pt x="689" y="141"/>
                  </a:lnTo>
                  <a:lnTo>
                    <a:pt x="653" y="129"/>
                  </a:lnTo>
                  <a:lnTo>
                    <a:pt x="644" y="108"/>
                  </a:lnTo>
                  <a:lnTo>
                    <a:pt x="632" y="123"/>
                  </a:lnTo>
                  <a:lnTo>
                    <a:pt x="614" y="114"/>
                  </a:lnTo>
                  <a:lnTo>
                    <a:pt x="578" y="153"/>
                  </a:lnTo>
                  <a:lnTo>
                    <a:pt x="572" y="165"/>
                  </a:lnTo>
                  <a:lnTo>
                    <a:pt x="557" y="168"/>
                  </a:lnTo>
                  <a:lnTo>
                    <a:pt x="533" y="141"/>
                  </a:lnTo>
                  <a:lnTo>
                    <a:pt x="512" y="135"/>
                  </a:lnTo>
                  <a:lnTo>
                    <a:pt x="491" y="87"/>
                  </a:lnTo>
                  <a:lnTo>
                    <a:pt x="474" y="99"/>
                  </a:lnTo>
                  <a:lnTo>
                    <a:pt x="480" y="141"/>
                  </a:lnTo>
                  <a:lnTo>
                    <a:pt x="468" y="147"/>
                  </a:lnTo>
                  <a:lnTo>
                    <a:pt x="438" y="114"/>
                  </a:lnTo>
                  <a:lnTo>
                    <a:pt x="429" y="99"/>
                  </a:lnTo>
                  <a:lnTo>
                    <a:pt x="405" y="99"/>
                  </a:lnTo>
                  <a:lnTo>
                    <a:pt x="393" y="66"/>
                  </a:lnTo>
                  <a:lnTo>
                    <a:pt x="360" y="48"/>
                  </a:lnTo>
                  <a:lnTo>
                    <a:pt x="318" y="66"/>
                  </a:lnTo>
                  <a:lnTo>
                    <a:pt x="303" y="63"/>
                  </a:lnTo>
                  <a:lnTo>
                    <a:pt x="279" y="39"/>
                  </a:lnTo>
                  <a:lnTo>
                    <a:pt x="243" y="57"/>
                  </a:lnTo>
                  <a:lnTo>
                    <a:pt x="225" y="57"/>
                  </a:lnTo>
                  <a:lnTo>
                    <a:pt x="201" y="66"/>
                  </a:lnTo>
                  <a:lnTo>
                    <a:pt x="168" y="42"/>
                  </a:lnTo>
                  <a:lnTo>
                    <a:pt x="144" y="0"/>
                  </a:lnTo>
                  <a:lnTo>
                    <a:pt x="90" y="12"/>
                  </a:lnTo>
                  <a:lnTo>
                    <a:pt x="69" y="36"/>
                  </a:lnTo>
                  <a:lnTo>
                    <a:pt x="69" y="63"/>
                  </a:lnTo>
                  <a:lnTo>
                    <a:pt x="9" y="48"/>
                  </a:lnTo>
                  <a:lnTo>
                    <a:pt x="0" y="66"/>
                  </a:lnTo>
                  <a:lnTo>
                    <a:pt x="6" y="78"/>
                  </a:lnTo>
                  <a:lnTo>
                    <a:pt x="36" y="102"/>
                  </a:lnTo>
                  <a:lnTo>
                    <a:pt x="36" y="135"/>
                  </a:lnTo>
                  <a:lnTo>
                    <a:pt x="42" y="165"/>
                  </a:lnTo>
                  <a:lnTo>
                    <a:pt x="60" y="192"/>
                  </a:lnTo>
                  <a:lnTo>
                    <a:pt x="63" y="216"/>
                  </a:lnTo>
                  <a:lnTo>
                    <a:pt x="75" y="228"/>
                  </a:lnTo>
                  <a:lnTo>
                    <a:pt x="120" y="183"/>
                  </a:lnTo>
                  <a:lnTo>
                    <a:pt x="168" y="243"/>
                  </a:lnTo>
                  <a:lnTo>
                    <a:pt x="168" y="276"/>
                  </a:lnTo>
                  <a:lnTo>
                    <a:pt x="195" y="291"/>
                  </a:lnTo>
                  <a:lnTo>
                    <a:pt x="195" y="279"/>
                  </a:lnTo>
                  <a:lnTo>
                    <a:pt x="234" y="291"/>
                  </a:lnTo>
                  <a:lnTo>
                    <a:pt x="261" y="321"/>
                  </a:lnTo>
                  <a:lnTo>
                    <a:pt x="276" y="309"/>
                  </a:lnTo>
                  <a:lnTo>
                    <a:pt x="279" y="300"/>
                  </a:lnTo>
                  <a:lnTo>
                    <a:pt x="342" y="386"/>
                  </a:lnTo>
                  <a:lnTo>
                    <a:pt x="348" y="422"/>
                  </a:lnTo>
                  <a:lnTo>
                    <a:pt x="384" y="461"/>
                  </a:lnTo>
                  <a:lnTo>
                    <a:pt x="390" y="500"/>
                  </a:lnTo>
                  <a:lnTo>
                    <a:pt x="420" y="479"/>
                  </a:lnTo>
                  <a:lnTo>
                    <a:pt x="450" y="395"/>
                  </a:lnTo>
                  <a:lnTo>
                    <a:pt x="465" y="392"/>
                  </a:lnTo>
                  <a:lnTo>
                    <a:pt x="494" y="410"/>
                  </a:lnTo>
                  <a:lnTo>
                    <a:pt x="548" y="404"/>
                  </a:lnTo>
                  <a:lnTo>
                    <a:pt x="566" y="386"/>
                  </a:lnTo>
                  <a:lnTo>
                    <a:pt x="539" y="351"/>
                  </a:lnTo>
                  <a:lnTo>
                    <a:pt x="548" y="339"/>
                  </a:lnTo>
                  <a:lnTo>
                    <a:pt x="596" y="324"/>
                  </a:lnTo>
                  <a:lnTo>
                    <a:pt x="614" y="285"/>
                  </a:lnTo>
                  <a:lnTo>
                    <a:pt x="641" y="273"/>
                  </a:lnTo>
                  <a:lnTo>
                    <a:pt x="644" y="237"/>
                  </a:lnTo>
                  <a:lnTo>
                    <a:pt x="650" y="210"/>
                  </a:lnTo>
                  <a:lnTo>
                    <a:pt x="662" y="207"/>
                  </a:lnTo>
                  <a:lnTo>
                    <a:pt x="677" y="219"/>
                  </a:lnTo>
                  <a:lnTo>
                    <a:pt x="689" y="231"/>
                  </a:lnTo>
                  <a:lnTo>
                    <a:pt x="725" y="186"/>
                  </a:lnTo>
                  <a:lnTo>
                    <a:pt x="734" y="153"/>
                  </a:lnTo>
                  <a:lnTo>
                    <a:pt x="728" y="141"/>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3" name="Freeform 67"/>
            <p:cNvSpPr>
              <a:spLocks/>
            </p:cNvSpPr>
            <p:nvPr/>
          </p:nvSpPr>
          <p:spPr bwMode="auto">
            <a:xfrm>
              <a:off x="5196136" y="1084287"/>
              <a:ext cx="1414463" cy="1268413"/>
            </a:xfrm>
            <a:custGeom>
              <a:avLst/>
              <a:gdLst>
                <a:gd name="T0" fmla="*/ 128 w 1007"/>
                <a:gd name="T1" fmla="*/ 243 h 914"/>
                <a:gd name="T2" fmla="*/ 151 w 1007"/>
                <a:gd name="T3" fmla="*/ 265 h 914"/>
                <a:gd name="T4" fmla="*/ 169 w 1007"/>
                <a:gd name="T5" fmla="*/ 261 h 914"/>
                <a:gd name="T6" fmla="*/ 194 w 1007"/>
                <a:gd name="T7" fmla="*/ 263 h 914"/>
                <a:gd name="T8" fmla="*/ 217 w 1007"/>
                <a:gd name="T9" fmla="*/ 259 h 914"/>
                <a:gd name="T10" fmla="*/ 236 w 1007"/>
                <a:gd name="T11" fmla="*/ 274 h 914"/>
                <a:gd name="T12" fmla="*/ 249 w 1007"/>
                <a:gd name="T13" fmla="*/ 280 h 914"/>
                <a:gd name="T14" fmla="*/ 267 w 1007"/>
                <a:gd name="T15" fmla="*/ 290 h 914"/>
                <a:gd name="T16" fmla="*/ 271 w 1007"/>
                <a:gd name="T17" fmla="*/ 272 h 914"/>
                <a:gd name="T18" fmla="*/ 289 w 1007"/>
                <a:gd name="T19" fmla="*/ 290 h 914"/>
                <a:gd name="T20" fmla="*/ 304 w 1007"/>
                <a:gd name="T21" fmla="*/ 298 h 914"/>
                <a:gd name="T22" fmla="*/ 323 w 1007"/>
                <a:gd name="T23" fmla="*/ 280 h 914"/>
                <a:gd name="T24" fmla="*/ 335 w 1007"/>
                <a:gd name="T25" fmla="*/ 278 h 914"/>
                <a:gd name="T26" fmla="*/ 353 w 1007"/>
                <a:gd name="T27" fmla="*/ 290 h 914"/>
                <a:gd name="T28" fmla="*/ 370 w 1007"/>
                <a:gd name="T29" fmla="*/ 290 h 914"/>
                <a:gd name="T30" fmla="*/ 363 w 1007"/>
                <a:gd name="T31" fmla="*/ 266 h 914"/>
                <a:gd name="T32" fmla="*/ 355 w 1007"/>
                <a:gd name="T33" fmla="*/ 238 h 914"/>
                <a:gd name="T34" fmla="*/ 396 w 1007"/>
                <a:gd name="T35" fmla="*/ 225 h 914"/>
                <a:gd name="T36" fmla="*/ 401 w 1007"/>
                <a:gd name="T37" fmla="*/ 211 h 914"/>
                <a:gd name="T38" fmla="*/ 405 w 1007"/>
                <a:gd name="T39" fmla="*/ 196 h 914"/>
                <a:gd name="T40" fmla="*/ 407 w 1007"/>
                <a:gd name="T41" fmla="*/ 141 h 914"/>
                <a:gd name="T42" fmla="*/ 406 w 1007"/>
                <a:gd name="T43" fmla="*/ 117 h 914"/>
                <a:gd name="T44" fmla="*/ 404 w 1007"/>
                <a:gd name="T45" fmla="*/ 105 h 914"/>
                <a:gd name="T46" fmla="*/ 377 w 1007"/>
                <a:gd name="T47" fmla="*/ 122 h 914"/>
                <a:gd name="T48" fmla="*/ 348 w 1007"/>
                <a:gd name="T49" fmla="*/ 142 h 914"/>
                <a:gd name="T50" fmla="*/ 296 w 1007"/>
                <a:gd name="T51" fmla="*/ 142 h 914"/>
                <a:gd name="T52" fmla="*/ 292 w 1007"/>
                <a:gd name="T53" fmla="*/ 127 h 914"/>
                <a:gd name="T54" fmla="*/ 274 w 1007"/>
                <a:gd name="T55" fmla="*/ 117 h 914"/>
                <a:gd name="T56" fmla="*/ 241 w 1007"/>
                <a:gd name="T57" fmla="*/ 111 h 914"/>
                <a:gd name="T58" fmla="*/ 213 w 1007"/>
                <a:gd name="T59" fmla="*/ 109 h 914"/>
                <a:gd name="T60" fmla="*/ 191 w 1007"/>
                <a:gd name="T61" fmla="*/ 94 h 914"/>
                <a:gd name="T62" fmla="*/ 179 w 1007"/>
                <a:gd name="T63" fmla="*/ 80 h 914"/>
                <a:gd name="T64" fmla="*/ 164 w 1007"/>
                <a:gd name="T65" fmla="*/ 63 h 914"/>
                <a:gd name="T66" fmla="*/ 143 w 1007"/>
                <a:gd name="T67" fmla="*/ 37 h 914"/>
                <a:gd name="T68" fmla="*/ 121 w 1007"/>
                <a:gd name="T69" fmla="*/ 12 h 914"/>
                <a:gd name="T70" fmla="*/ 86 w 1007"/>
                <a:gd name="T71" fmla="*/ 7 h 914"/>
                <a:gd name="T72" fmla="*/ 46 w 1007"/>
                <a:gd name="T73" fmla="*/ 0 h 914"/>
                <a:gd name="T74" fmla="*/ 5 w 1007"/>
                <a:gd name="T75" fmla="*/ 15 h 914"/>
                <a:gd name="T76" fmla="*/ 0 w 1007"/>
                <a:gd name="T77" fmla="*/ 41 h 914"/>
                <a:gd name="T78" fmla="*/ 20 w 1007"/>
                <a:gd name="T79" fmla="*/ 53 h 914"/>
                <a:gd name="T80" fmla="*/ 44 w 1007"/>
                <a:gd name="T81" fmla="*/ 49 h 914"/>
                <a:gd name="T82" fmla="*/ 47 w 1007"/>
                <a:gd name="T83" fmla="*/ 67 h 914"/>
                <a:gd name="T84" fmla="*/ 76 w 1007"/>
                <a:gd name="T85" fmla="*/ 79 h 914"/>
                <a:gd name="T86" fmla="*/ 94 w 1007"/>
                <a:gd name="T87" fmla="*/ 72 h 914"/>
                <a:gd name="T88" fmla="*/ 143 w 1007"/>
                <a:gd name="T89" fmla="*/ 75 h 914"/>
                <a:gd name="T90" fmla="*/ 136 w 1007"/>
                <a:gd name="T91" fmla="*/ 125 h 914"/>
                <a:gd name="T92" fmla="*/ 128 w 1007"/>
                <a:gd name="T93" fmla="*/ 142 h 914"/>
                <a:gd name="T94" fmla="*/ 125 w 1007"/>
                <a:gd name="T95" fmla="*/ 175 h 914"/>
                <a:gd name="T96" fmla="*/ 114 w 1007"/>
                <a:gd name="T97" fmla="*/ 167 h 914"/>
                <a:gd name="T98" fmla="*/ 87 w 1007"/>
                <a:gd name="T99" fmla="*/ 198 h 914"/>
                <a:gd name="T100" fmla="*/ 79 w 1007"/>
                <a:gd name="T101" fmla="*/ 214 h 914"/>
                <a:gd name="T102" fmla="*/ 114 w 1007"/>
                <a:gd name="T103" fmla="*/ 223 h 914"/>
                <a:gd name="T104" fmla="*/ 114 w 1007"/>
                <a:gd name="T105" fmla="*/ 229 h 914"/>
                <a:gd name="T106" fmla="*/ 101 w 1007"/>
                <a:gd name="T107" fmla="*/ 243 h 9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07" h="914">
                  <a:moveTo>
                    <a:pt x="255" y="758"/>
                  </a:moveTo>
                  <a:lnTo>
                    <a:pt x="309" y="746"/>
                  </a:lnTo>
                  <a:lnTo>
                    <a:pt x="333" y="788"/>
                  </a:lnTo>
                  <a:lnTo>
                    <a:pt x="366" y="812"/>
                  </a:lnTo>
                  <a:lnTo>
                    <a:pt x="390" y="803"/>
                  </a:lnTo>
                  <a:lnTo>
                    <a:pt x="408" y="803"/>
                  </a:lnTo>
                  <a:lnTo>
                    <a:pt x="444" y="785"/>
                  </a:lnTo>
                  <a:lnTo>
                    <a:pt x="468" y="809"/>
                  </a:lnTo>
                  <a:lnTo>
                    <a:pt x="483" y="812"/>
                  </a:lnTo>
                  <a:lnTo>
                    <a:pt x="525" y="794"/>
                  </a:lnTo>
                  <a:lnTo>
                    <a:pt x="558" y="812"/>
                  </a:lnTo>
                  <a:lnTo>
                    <a:pt x="570" y="845"/>
                  </a:lnTo>
                  <a:lnTo>
                    <a:pt x="594" y="845"/>
                  </a:lnTo>
                  <a:lnTo>
                    <a:pt x="603" y="860"/>
                  </a:lnTo>
                  <a:lnTo>
                    <a:pt x="633" y="893"/>
                  </a:lnTo>
                  <a:lnTo>
                    <a:pt x="645" y="887"/>
                  </a:lnTo>
                  <a:lnTo>
                    <a:pt x="639" y="845"/>
                  </a:lnTo>
                  <a:lnTo>
                    <a:pt x="656" y="833"/>
                  </a:lnTo>
                  <a:lnTo>
                    <a:pt x="677" y="881"/>
                  </a:lnTo>
                  <a:lnTo>
                    <a:pt x="698" y="887"/>
                  </a:lnTo>
                  <a:lnTo>
                    <a:pt x="722" y="914"/>
                  </a:lnTo>
                  <a:lnTo>
                    <a:pt x="737" y="911"/>
                  </a:lnTo>
                  <a:lnTo>
                    <a:pt x="743" y="899"/>
                  </a:lnTo>
                  <a:lnTo>
                    <a:pt x="779" y="860"/>
                  </a:lnTo>
                  <a:lnTo>
                    <a:pt x="797" y="869"/>
                  </a:lnTo>
                  <a:lnTo>
                    <a:pt x="809" y="854"/>
                  </a:lnTo>
                  <a:lnTo>
                    <a:pt x="818" y="875"/>
                  </a:lnTo>
                  <a:lnTo>
                    <a:pt x="854" y="887"/>
                  </a:lnTo>
                  <a:lnTo>
                    <a:pt x="875" y="887"/>
                  </a:lnTo>
                  <a:lnTo>
                    <a:pt x="893" y="887"/>
                  </a:lnTo>
                  <a:lnTo>
                    <a:pt x="881" y="869"/>
                  </a:lnTo>
                  <a:lnTo>
                    <a:pt x="878" y="815"/>
                  </a:lnTo>
                  <a:lnTo>
                    <a:pt x="836" y="752"/>
                  </a:lnTo>
                  <a:lnTo>
                    <a:pt x="860" y="728"/>
                  </a:lnTo>
                  <a:lnTo>
                    <a:pt x="881" y="689"/>
                  </a:lnTo>
                  <a:lnTo>
                    <a:pt x="956" y="689"/>
                  </a:lnTo>
                  <a:lnTo>
                    <a:pt x="971" y="677"/>
                  </a:lnTo>
                  <a:lnTo>
                    <a:pt x="968" y="647"/>
                  </a:lnTo>
                  <a:lnTo>
                    <a:pt x="983" y="617"/>
                  </a:lnTo>
                  <a:lnTo>
                    <a:pt x="977" y="602"/>
                  </a:lnTo>
                  <a:lnTo>
                    <a:pt x="986" y="575"/>
                  </a:lnTo>
                  <a:lnTo>
                    <a:pt x="983" y="434"/>
                  </a:lnTo>
                  <a:lnTo>
                    <a:pt x="1007" y="389"/>
                  </a:lnTo>
                  <a:lnTo>
                    <a:pt x="980" y="360"/>
                  </a:lnTo>
                  <a:lnTo>
                    <a:pt x="986" y="342"/>
                  </a:lnTo>
                  <a:lnTo>
                    <a:pt x="974" y="327"/>
                  </a:lnTo>
                  <a:lnTo>
                    <a:pt x="944" y="336"/>
                  </a:lnTo>
                  <a:lnTo>
                    <a:pt x="911" y="374"/>
                  </a:lnTo>
                  <a:lnTo>
                    <a:pt x="875" y="392"/>
                  </a:lnTo>
                  <a:lnTo>
                    <a:pt x="842" y="437"/>
                  </a:lnTo>
                  <a:lnTo>
                    <a:pt x="758" y="467"/>
                  </a:lnTo>
                  <a:lnTo>
                    <a:pt x="719" y="437"/>
                  </a:lnTo>
                  <a:lnTo>
                    <a:pt x="722" y="419"/>
                  </a:lnTo>
                  <a:lnTo>
                    <a:pt x="704" y="392"/>
                  </a:lnTo>
                  <a:lnTo>
                    <a:pt x="695" y="362"/>
                  </a:lnTo>
                  <a:lnTo>
                    <a:pt x="662" y="360"/>
                  </a:lnTo>
                  <a:lnTo>
                    <a:pt x="606" y="330"/>
                  </a:lnTo>
                  <a:lnTo>
                    <a:pt x="582" y="339"/>
                  </a:lnTo>
                  <a:lnTo>
                    <a:pt x="558" y="327"/>
                  </a:lnTo>
                  <a:lnTo>
                    <a:pt x="519" y="333"/>
                  </a:lnTo>
                  <a:lnTo>
                    <a:pt x="483" y="321"/>
                  </a:lnTo>
                  <a:lnTo>
                    <a:pt x="462" y="291"/>
                  </a:lnTo>
                  <a:lnTo>
                    <a:pt x="444" y="270"/>
                  </a:lnTo>
                  <a:lnTo>
                    <a:pt x="435" y="246"/>
                  </a:lnTo>
                  <a:lnTo>
                    <a:pt x="408" y="219"/>
                  </a:lnTo>
                  <a:lnTo>
                    <a:pt x="393" y="195"/>
                  </a:lnTo>
                  <a:lnTo>
                    <a:pt x="357" y="144"/>
                  </a:lnTo>
                  <a:lnTo>
                    <a:pt x="345" y="114"/>
                  </a:lnTo>
                  <a:lnTo>
                    <a:pt x="303" y="63"/>
                  </a:lnTo>
                  <a:lnTo>
                    <a:pt x="291" y="36"/>
                  </a:lnTo>
                  <a:lnTo>
                    <a:pt x="240" y="9"/>
                  </a:lnTo>
                  <a:lnTo>
                    <a:pt x="207" y="21"/>
                  </a:lnTo>
                  <a:lnTo>
                    <a:pt x="177" y="15"/>
                  </a:lnTo>
                  <a:lnTo>
                    <a:pt x="111" y="0"/>
                  </a:lnTo>
                  <a:lnTo>
                    <a:pt x="21" y="33"/>
                  </a:lnTo>
                  <a:lnTo>
                    <a:pt x="6" y="45"/>
                  </a:lnTo>
                  <a:lnTo>
                    <a:pt x="24" y="72"/>
                  </a:lnTo>
                  <a:lnTo>
                    <a:pt x="0" y="129"/>
                  </a:lnTo>
                  <a:lnTo>
                    <a:pt x="9" y="138"/>
                  </a:lnTo>
                  <a:lnTo>
                    <a:pt x="48" y="162"/>
                  </a:lnTo>
                  <a:lnTo>
                    <a:pt x="69" y="129"/>
                  </a:lnTo>
                  <a:lnTo>
                    <a:pt x="105" y="150"/>
                  </a:lnTo>
                  <a:lnTo>
                    <a:pt x="102" y="165"/>
                  </a:lnTo>
                  <a:lnTo>
                    <a:pt x="114" y="207"/>
                  </a:lnTo>
                  <a:lnTo>
                    <a:pt x="138" y="234"/>
                  </a:lnTo>
                  <a:lnTo>
                    <a:pt x="183" y="240"/>
                  </a:lnTo>
                  <a:lnTo>
                    <a:pt x="198" y="225"/>
                  </a:lnTo>
                  <a:lnTo>
                    <a:pt x="225" y="222"/>
                  </a:lnTo>
                  <a:lnTo>
                    <a:pt x="276" y="177"/>
                  </a:lnTo>
                  <a:lnTo>
                    <a:pt x="345" y="228"/>
                  </a:lnTo>
                  <a:lnTo>
                    <a:pt x="321" y="321"/>
                  </a:lnTo>
                  <a:lnTo>
                    <a:pt x="327" y="386"/>
                  </a:lnTo>
                  <a:lnTo>
                    <a:pt x="327" y="428"/>
                  </a:lnTo>
                  <a:lnTo>
                    <a:pt x="309" y="437"/>
                  </a:lnTo>
                  <a:lnTo>
                    <a:pt x="306" y="542"/>
                  </a:lnTo>
                  <a:lnTo>
                    <a:pt x="303" y="539"/>
                  </a:lnTo>
                  <a:lnTo>
                    <a:pt x="285" y="515"/>
                  </a:lnTo>
                  <a:lnTo>
                    <a:pt x="273" y="515"/>
                  </a:lnTo>
                  <a:lnTo>
                    <a:pt x="270" y="524"/>
                  </a:lnTo>
                  <a:lnTo>
                    <a:pt x="213" y="608"/>
                  </a:lnTo>
                  <a:lnTo>
                    <a:pt x="186" y="644"/>
                  </a:lnTo>
                  <a:lnTo>
                    <a:pt x="189" y="656"/>
                  </a:lnTo>
                  <a:lnTo>
                    <a:pt x="246" y="695"/>
                  </a:lnTo>
                  <a:lnTo>
                    <a:pt x="276" y="686"/>
                  </a:lnTo>
                  <a:lnTo>
                    <a:pt x="282" y="695"/>
                  </a:lnTo>
                  <a:lnTo>
                    <a:pt x="273" y="704"/>
                  </a:lnTo>
                  <a:lnTo>
                    <a:pt x="246" y="719"/>
                  </a:lnTo>
                  <a:lnTo>
                    <a:pt x="243" y="743"/>
                  </a:lnTo>
                  <a:lnTo>
                    <a:pt x="255" y="758"/>
                  </a:lnTo>
                </a:path>
              </a:pathLst>
            </a:custGeom>
            <a:solidFill>
              <a:srgbClr val="CCECFF"/>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4" name="Freeform 68"/>
            <p:cNvSpPr>
              <a:spLocks/>
            </p:cNvSpPr>
            <p:nvPr/>
          </p:nvSpPr>
          <p:spPr bwMode="auto">
            <a:xfrm>
              <a:off x="5054849" y="3084537"/>
              <a:ext cx="57150" cy="74613"/>
            </a:xfrm>
            <a:custGeom>
              <a:avLst/>
              <a:gdLst>
                <a:gd name="T0" fmla="*/ 14 w 41"/>
                <a:gd name="T1" fmla="*/ 0 h 54"/>
                <a:gd name="T2" fmla="*/ 13 w 41"/>
                <a:gd name="T3" fmla="*/ 10 h 54"/>
                <a:gd name="T4" fmla="*/ 14 w 41"/>
                <a:gd name="T5" fmla="*/ 12 h 54"/>
                <a:gd name="T6" fmla="*/ 5 w 41"/>
                <a:gd name="T7" fmla="*/ 17 h 54"/>
                <a:gd name="T8" fmla="*/ 5 w 41"/>
                <a:gd name="T9" fmla="*/ 10 h 54"/>
                <a:gd name="T10" fmla="*/ 0 w 41"/>
                <a:gd name="T11" fmla="*/ 5 h 54"/>
                <a:gd name="T12" fmla="*/ 14 w 41"/>
                <a:gd name="T13" fmla="*/ 0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54">
                  <a:moveTo>
                    <a:pt x="41" y="0"/>
                  </a:moveTo>
                  <a:lnTo>
                    <a:pt x="35" y="30"/>
                  </a:lnTo>
                  <a:lnTo>
                    <a:pt x="38" y="42"/>
                  </a:lnTo>
                  <a:lnTo>
                    <a:pt x="11" y="54"/>
                  </a:lnTo>
                  <a:lnTo>
                    <a:pt x="8" y="33"/>
                  </a:lnTo>
                  <a:lnTo>
                    <a:pt x="0" y="18"/>
                  </a:lnTo>
                  <a:lnTo>
                    <a:pt x="41" y="0"/>
                  </a:lnTo>
                </a:path>
              </a:pathLst>
            </a:custGeom>
            <a:solidFill>
              <a:schemeClr val="bg1">
                <a:lumMod val="75000"/>
              </a:schemeClr>
            </a:solidFill>
            <a:ln w="19050">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5" name="Freeform 69"/>
            <p:cNvSpPr>
              <a:spLocks/>
            </p:cNvSpPr>
            <p:nvPr/>
          </p:nvSpPr>
          <p:spPr bwMode="auto">
            <a:xfrm>
              <a:off x="395536" y="1084287"/>
              <a:ext cx="6215063" cy="4848225"/>
            </a:xfrm>
            <a:custGeom>
              <a:avLst/>
              <a:gdLst>
                <a:gd name="T0" fmla="*/ 943 w 4428"/>
                <a:gd name="T1" fmla="*/ 440 h 3493"/>
                <a:gd name="T2" fmla="*/ 1151 w 4428"/>
                <a:gd name="T3" fmla="*/ 406 h 3493"/>
                <a:gd name="T4" fmla="*/ 1243 w 4428"/>
                <a:gd name="T5" fmla="*/ 330 h 3493"/>
                <a:gd name="T6" fmla="*/ 1351 w 4428"/>
                <a:gd name="T7" fmla="*/ 257 h 3493"/>
                <a:gd name="T8" fmla="*/ 1345 w 4428"/>
                <a:gd name="T9" fmla="*/ 208 h 3493"/>
                <a:gd name="T10" fmla="*/ 1307 w 4428"/>
                <a:gd name="T11" fmla="*/ 150 h 3493"/>
                <a:gd name="T12" fmla="*/ 1397 w 4428"/>
                <a:gd name="T13" fmla="*/ 63 h 3493"/>
                <a:gd name="T14" fmla="*/ 1455 w 4428"/>
                <a:gd name="T15" fmla="*/ 0 h 3493"/>
                <a:gd name="T16" fmla="*/ 1571 w 4428"/>
                <a:gd name="T17" fmla="*/ 64 h 3493"/>
                <a:gd name="T18" fmla="*/ 1648 w 4428"/>
                <a:gd name="T19" fmla="*/ 111 h 3493"/>
                <a:gd name="T20" fmla="*/ 1755 w 4428"/>
                <a:gd name="T21" fmla="*/ 143 h 3493"/>
                <a:gd name="T22" fmla="*/ 1813 w 4428"/>
                <a:gd name="T23" fmla="*/ 141 h 3493"/>
                <a:gd name="T24" fmla="*/ 1762 w 4428"/>
                <a:gd name="T25" fmla="*/ 238 h 3493"/>
                <a:gd name="T26" fmla="*/ 1755 w 4428"/>
                <a:gd name="T27" fmla="*/ 316 h 3493"/>
                <a:gd name="T28" fmla="*/ 1698 w 4428"/>
                <a:gd name="T29" fmla="*/ 359 h 3493"/>
                <a:gd name="T30" fmla="*/ 1622 w 4428"/>
                <a:gd name="T31" fmla="*/ 419 h 3493"/>
                <a:gd name="T32" fmla="*/ 1523 w 4428"/>
                <a:gd name="T33" fmla="*/ 476 h 3493"/>
                <a:gd name="T34" fmla="*/ 1462 w 4428"/>
                <a:gd name="T35" fmla="*/ 462 h 3493"/>
                <a:gd name="T36" fmla="*/ 1406 w 4428"/>
                <a:gd name="T37" fmla="*/ 526 h 3493"/>
                <a:gd name="T38" fmla="*/ 1475 w 4428"/>
                <a:gd name="T39" fmla="*/ 557 h 3493"/>
                <a:gd name="T40" fmla="*/ 1544 w 4428"/>
                <a:gd name="T41" fmla="*/ 557 h 3493"/>
                <a:gd name="T42" fmla="*/ 1500 w 4428"/>
                <a:gd name="T43" fmla="*/ 638 h 3493"/>
                <a:gd name="T44" fmla="*/ 1583 w 4428"/>
                <a:gd name="T45" fmla="*/ 721 h 3493"/>
                <a:gd name="T46" fmla="*/ 1590 w 4428"/>
                <a:gd name="T47" fmla="*/ 735 h 3493"/>
                <a:gd name="T48" fmla="*/ 1561 w 4428"/>
                <a:gd name="T49" fmla="*/ 775 h 3493"/>
                <a:gd name="T50" fmla="*/ 1608 w 4428"/>
                <a:gd name="T51" fmla="*/ 828 h 3493"/>
                <a:gd name="T52" fmla="*/ 1548 w 4428"/>
                <a:gd name="T53" fmla="*/ 894 h 3493"/>
                <a:gd name="T54" fmla="*/ 1534 w 4428"/>
                <a:gd name="T55" fmla="*/ 951 h 3493"/>
                <a:gd name="T56" fmla="*/ 1507 w 4428"/>
                <a:gd name="T57" fmla="*/ 979 h 3493"/>
                <a:gd name="T58" fmla="*/ 1452 w 4428"/>
                <a:gd name="T59" fmla="*/ 1029 h 3493"/>
                <a:gd name="T60" fmla="*/ 1388 w 4428"/>
                <a:gd name="T61" fmla="*/ 1043 h 3493"/>
                <a:gd name="T62" fmla="*/ 1309 w 4428"/>
                <a:gd name="T63" fmla="*/ 1083 h 3493"/>
                <a:gd name="T64" fmla="*/ 1224 w 4428"/>
                <a:gd name="T65" fmla="*/ 1141 h 3493"/>
                <a:gd name="T66" fmla="*/ 1137 w 4428"/>
                <a:gd name="T67" fmla="*/ 1102 h 3493"/>
                <a:gd name="T68" fmla="*/ 1061 w 4428"/>
                <a:gd name="T69" fmla="*/ 1059 h 3493"/>
                <a:gd name="T70" fmla="*/ 986 w 4428"/>
                <a:gd name="T71" fmla="*/ 1068 h 3493"/>
                <a:gd name="T72" fmla="*/ 918 w 4428"/>
                <a:gd name="T73" fmla="*/ 1071 h 3493"/>
                <a:gd name="T74" fmla="*/ 882 w 4428"/>
                <a:gd name="T75" fmla="*/ 1120 h 3493"/>
                <a:gd name="T76" fmla="*/ 816 w 4428"/>
                <a:gd name="T77" fmla="*/ 1098 h 3493"/>
                <a:gd name="T78" fmla="*/ 797 w 4428"/>
                <a:gd name="T79" fmla="*/ 1055 h 3493"/>
                <a:gd name="T80" fmla="*/ 729 w 4428"/>
                <a:gd name="T81" fmla="*/ 1028 h 3493"/>
                <a:gd name="T82" fmla="*/ 774 w 4428"/>
                <a:gd name="T83" fmla="*/ 910 h 3493"/>
                <a:gd name="T84" fmla="*/ 691 w 4428"/>
                <a:gd name="T85" fmla="*/ 877 h 3493"/>
                <a:gd name="T86" fmla="*/ 639 w 4428"/>
                <a:gd name="T87" fmla="*/ 850 h 3493"/>
                <a:gd name="T88" fmla="*/ 525 w 4428"/>
                <a:gd name="T89" fmla="*/ 889 h 3493"/>
                <a:gd name="T90" fmla="*/ 411 w 4428"/>
                <a:gd name="T91" fmla="*/ 887 h 3493"/>
                <a:gd name="T92" fmla="*/ 312 w 4428"/>
                <a:gd name="T93" fmla="*/ 860 h 3493"/>
                <a:gd name="T94" fmla="*/ 244 w 4428"/>
                <a:gd name="T95" fmla="*/ 811 h 3493"/>
                <a:gd name="T96" fmla="*/ 133 w 4428"/>
                <a:gd name="T97" fmla="*/ 744 h 3493"/>
                <a:gd name="T98" fmla="*/ 90 w 4428"/>
                <a:gd name="T99" fmla="*/ 688 h 3493"/>
                <a:gd name="T100" fmla="*/ 113 w 4428"/>
                <a:gd name="T101" fmla="*/ 652 h 3493"/>
                <a:gd name="T102" fmla="*/ 155 w 4428"/>
                <a:gd name="T103" fmla="*/ 612 h 3493"/>
                <a:gd name="T104" fmla="*/ 86 w 4428"/>
                <a:gd name="T105" fmla="*/ 573 h 3493"/>
                <a:gd name="T106" fmla="*/ 5 w 4428"/>
                <a:gd name="T107" fmla="*/ 502 h 3493"/>
                <a:gd name="T108" fmla="*/ 5 w 4428"/>
                <a:gd name="T109" fmla="*/ 451 h 3493"/>
                <a:gd name="T110" fmla="*/ 45 w 4428"/>
                <a:gd name="T111" fmla="*/ 401 h 3493"/>
                <a:gd name="T112" fmla="*/ 120 w 4428"/>
                <a:gd name="T113" fmla="*/ 392 h 3493"/>
                <a:gd name="T114" fmla="*/ 257 w 4428"/>
                <a:gd name="T115" fmla="*/ 341 h 3493"/>
                <a:gd name="T116" fmla="*/ 320 w 4428"/>
                <a:gd name="T117" fmla="*/ 287 h 3493"/>
                <a:gd name="T118" fmla="*/ 402 w 4428"/>
                <a:gd name="T119" fmla="*/ 241 h 3493"/>
                <a:gd name="T120" fmla="*/ 497 w 4428"/>
                <a:gd name="T121" fmla="*/ 177 h 3493"/>
                <a:gd name="T122" fmla="*/ 555 w 4428"/>
                <a:gd name="T123" fmla="*/ 226 h 3493"/>
                <a:gd name="T124" fmla="*/ 606 w 4428"/>
                <a:gd name="T125" fmla="*/ 326 h 34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428" h="3493">
                  <a:moveTo>
                    <a:pt x="1768" y="1255"/>
                  </a:moveTo>
                  <a:lnTo>
                    <a:pt x="1783" y="1258"/>
                  </a:lnTo>
                  <a:lnTo>
                    <a:pt x="1837" y="1267"/>
                  </a:lnTo>
                  <a:lnTo>
                    <a:pt x="2004" y="1282"/>
                  </a:lnTo>
                  <a:lnTo>
                    <a:pt x="2031" y="1273"/>
                  </a:lnTo>
                  <a:lnTo>
                    <a:pt x="2169" y="1288"/>
                  </a:lnTo>
                  <a:lnTo>
                    <a:pt x="2196" y="1318"/>
                  </a:lnTo>
                  <a:lnTo>
                    <a:pt x="2289" y="1348"/>
                  </a:lnTo>
                  <a:lnTo>
                    <a:pt x="2373" y="1351"/>
                  </a:lnTo>
                  <a:lnTo>
                    <a:pt x="2379" y="1369"/>
                  </a:lnTo>
                  <a:lnTo>
                    <a:pt x="2397" y="1378"/>
                  </a:lnTo>
                  <a:lnTo>
                    <a:pt x="2457" y="1339"/>
                  </a:lnTo>
                  <a:lnTo>
                    <a:pt x="2591" y="1282"/>
                  </a:lnTo>
                  <a:lnTo>
                    <a:pt x="2609" y="1285"/>
                  </a:lnTo>
                  <a:lnTo>
                    <a:pt x="2726" y="1273"/>
                  </a:lnTo>
                  <a:lnTo>
                    <a:pt x="2795" y="1243"/>
                  </a:lnTo>
                  <a:lnTo>
                    <a:pt x="2849" y="1174"/>
                  </a:lnTo>
                  <a:lnTo>
                    <a:pt x="2888" y="1153"/>
                  </a:lnTo>
                  <a:lnTo>
                    <a:pt x="2915" y="1123"/>
                  </a:lnTo>
                  <a:lnTo>
                    <a:pt x="2873" y="1064"/>
                  </a:lnTo>
                  <a:lnTo>
                    <a:pt x="2888" y="1013"/>
                  </a:lnTo>
                  <a:lnTo>
                    <a:pt x="2918" y="983"/>
                  </a:lnTo>
                  <a:lnTo>
                    <a:pt x="2942" y="995"/>
                  </a:lnTo>
                  <a:lnTo>
                    <a:pt x="3017" y="1010"/>
                  </a:lnTo>
                  <a:lnTo>
                    <a:pt x="3056" y="989"/>
                  </a:lnTo>
                  <a:lnTo>
                    <a:pt x="3095" y="935"/>
                  </a:lnTo>
                  <a:lnTo>
                    <a:pt x="3134" y="929"/>
                  </a:lnTo>
                  <a:lnTo>
                    <a:pt x="3191" y="890"/>
                  </a:lnTo>
                  <a:lnTo>
                    <a:pt x="3197" y="860"/>
                  </a:lnTo>
                  <a:lnTo>
                    <a:pt x="3224" y="821"/>
                  </a:lnTo>
                  <a:lnTo>
                    <a:pt x="3263" y="812"/>
                  </a:lnTo>
                  <a:lnTo>
                    <a:pt x="3281" y="785"/>
                  </a:lnTo>
                  <a:lnTo>
                    <a:pt x="3302" y="788"/>
                  </a:lnTo>
                  <a:lnTo>
                    <a:pt x="3331" y="767"/>
                  </a:lnTo>
                  <a:lnTo>
                    <a:pt x="3418" y="761"/>
                  </a:lnTo>
                  <a:lnTo>
                    <a:pt x="3433" y="749"/>
                  </a:lnTo>
                  <a:lnTo>
                    <a:pt x="3433" y="734"/>
                  </a:lnTo>
                  <a:lnTo>
                    <a:pt x="3358" y="656"/>
                  </a:lnTo>
                  <a:lnTo>
                    <a:pt x="3299" y="632"/>
                  </a:lnTo>
                  <a:lnTo>
                    <a:pt x="3266" y="641"/>
                  </a:lnTo>
                  <a:lnTo>
                    <a:pt x="3248" y="671"/>
                  </a:lnTo>
                  <a:lnTo>
                    <a:pt x="3188" y="665"/>
                  </a:lnTo>
                  <a:lnTo>
                    <a:pt x="3149" y="686"/>
                  </a:lnTo>
                  <a:lnTo>
                    <a:pt x="3125" y="668"/>
                  </a:lnTo>
                  <a:lnTo>
                    <a:pt x="3116" y="641"/>
                  </a:lnTo>
                  <a:lnTo>
                    <a:pt x="3134" y="623"/>
                  </a:lnTo>
                  <a:lnTo>
                    <a:pt x="3170" y="473"/>
                  </a:lnTo>
                  <a:lnTo>
                    <a:pt x="3176" y="461"/>
                  </a:lnTo>
                  <a:lnTo>
                    <a:pt x="3200" y="470"/>
                  </a:lnTo>
                  <a:lnTo>
                    <a:pt x="3245" y="479"/>
                  </a:lnTo>
                  <a:lnTo>
                    <a:pt x="3331" y="416"/>
                  </a:lnTo>
                  <a:lnTo>
                    <a:pt x="3340" y="398"/>
                  </a:lnTo>
                  <a:lnTo>
                    <a:pt x="3328" y="374"/>
                  </a:lnTo>
                  <a:lnTo>
                    <a:pt x="3364" y="240"/>
                  </a:lnTo>
                  <a:lnTo>
                    <a:pt x="3385" y="210"/>
                  </a:lnTo>
                  <a:lnTo>
                    <a:pt x="3394" y="189"/>
                  </a:lnTo>
                  <a:lnTo>
                    <a:pt x="3376" y="138"/>
                  </a:lnTo>
                  <a:lnTo>
                    <a:pt x="3349" y="135"/>
                  </a:lnTo>
                  <a:lnTo>
                    <a:pt x="3337" y="126"/>
                  </a:lnTo>
                  <a:lnTo>
                    <a:pt x="3370" y="75"/>
                  </a:lnTo>
                  <a:lnTo>
                    <a:pt x="3412" y="45"/>
                  </a:lnTo>
                  <a:lnTo>
                    <a:pt x="3427" y="45"/>
                  </a:lnTo>
                  <a:lnTo>
                    <a:pt x="3442" y="33"/>
                  </a:lnTo>
                  <a:lnTo>
                    <a:pt x="3532" y="0"/>
                  </a:lnTo>
                  <a:lnTo>
                    <a:pt x="3598" y="15"/>
                  </a:lnTo>
                  <a:lnTo>
                    <a:pt x="3628" y="21"/>
                  </a:lnTo>
                  <a:lnTo>
                    <a:pt x="3661" y="9"/>
                  </a:lnTo>
                  <a:lnTo>
                    <a:pt x="3712" y="36"/>
                  </a:lnTo>
                  <a:lnTo>
                    <a:pt x="3724" y="63"/>
                  </a:lnTo>
                  <a:lnTo>
                    <a:pt x="3766" y="114"/>
                  </a:lnTo>
                  <a:lnTo>
                    <a:pt x="3778" y="144"/>
                  </a:lnTo>
                  <a:lnTo>
                    <a:pt x="3814" y="195"/>
                  </a:lnTo>
                  <a:lnTo>
                    <a:pt x="3829" y="219"/>
                  </a:lnTo>
                  <a:lnTo>
                    <a:pt x="3856" y="246"/>
                  </a:lnTo>
                  <a:lnTo>
                    <a:pt x="3865" y="270"/>
                  </a:lnTo>
                  <a:lnTo>
                    <a:pt x="3883" y="291"/>
                  </a:lnTo>
                  <a:lnTo>
                    <a:pt x="3904" y="321"/>
                  </a:lnTo>
                  <a:lnTo>
                    <a:pt x="3940" y="333"/>
                  </a:lnTo>
                  <a:lnTo>
                    <a:pt x="3979" y="327"/>
                  </a:lnTo>
                  <a:lnTo>
                    <a:pt x="4003" y="339"/>
                  </a:lnTo>
                  <a:lnTo>
                    <a:pt x="4027" y="330"/>
                  </a:lnTo>
                  <a:lnTo>
                    <a:pt x="4083" y="360"/>
                  </a:lnTo>
                  <a:lnTo>
                    <a:pt x="4116" y="362"/>
                  </a:lnTo>
                  <a:lnTo>
                    <a:pt x="4125" y="392"/>
                  </a:lnTo>
                  <a:lnTo>
                    <a:pt x="4143" y="419"/>
                  </a:lnTo>
                  <a:lnTo>
                    <a:pt x="4140" y="437"/>
                  </a:lnTo>
                  <a:lnTo>
                    <a:pt x="4179" y="467"/>
                  </a:lnTo>
                  <a:lnTo>
                    <a:pt x="4263" y="437"/>
                  </a:lnTo>
                  <a:lnTo>
                    <a:pt x="4296" y="392"/>
                  </a:lnTo>
                  <a:lnTo>
                    <a:pt x="4332" y="374"/>
                  </a:lnTo>
                  <a:lnTo>
                    <a:pt x="4365" y="336"/>
                  </a:lnTo>
                  <a:lnTo>
                    <a:pt x="4395" y="327"/>
                  </a:lnTo>
                  <a:lnTo>
                    <a:pt x="4407" y="342"/>
                  </a:lnTo>
                  <a:lnTo>
                    <a:pt x="4401" y="360"/>
                  </a:lnTo>
                  <a:lnTo>
                    <a:pt x="4428" y="389"/>
                  </a:lnTo>
                  <a:lnTo>
                    <a:pt x="4404" y="434"/>
                  </a:lnTo>
                  <a:lnTo>
                    <a:pt x="4407" y="575"/>
                  </a:lnTo>
                  <a:lnTo>
                    <a:pt x="4398" y="602"/>
                  </a:lnTo>
                  <a:lnTo>
                    <a:pt x="4404" y="617"/>
                  </a:lnTo>
                  <a:lnTo>
                    <a:pt x="4389" y="647"/>
                  </a:lnTo>
                  <a:lnTo>
                    <a:pt x="4392" y="677"/>
                  </a:lnTo>
                  <a:lnTo>
                    <a:pt x="4377" y="689"/>
                  </a:lnTo>
                  <a:lnTo>
                    <a:pt x="4302" y="689"/>
                  </a:lnTo>
                  <a:lnTo>
                    <a:pt x="4281" y="728"/>
                  </a:lnTo>
                  <a:lnTo>
                    <a:pt x="4257" y="752"/>
                  </a:lnTo>
                  <a:lnTo>
                    <a:pt x="4299" y="815"/>
                  </a:lnTo>
                  <a:lnTo>
                    <a:pt x="4302" y="869"/>
                  </a:lnTo>
                  <a:lnTo>
                    <a:pt x="4314" y="887"/>
                  </a:lnTo>
                  <a:lnTo>
                    <a:pt x="4320" y="899"/>
                  </a:lnTo>
                  <a:lnTo>
                    <a:pt x="4311" y="932"/>
                  </a:lnTo>
                  <a:lnTo>
                    <a:pt x="4275" y="977"/>
                  </a:lnTo>
                  <a:lnTo>
                    <a:pt x="4263" y="965"/>
                  </a:lnTo>
                  <a:lnTo>
                    <a:pt x="4248" y="953"/>
                  </a:lnTo>
                  <a:lnTo>
                    <a:pt x="4236" y="956"/>
                  </a:lnTo>
                  <a:lnTo>
                    <a:pt x="4230" y="983"/>
                  </a:lnTo>
                  <a:lnTo>
                    <a:pt x="4227" y="1019"/>
                  </a:lnTo>
                  <a:lnTo>
                    <a:pt x="4200" y="1031"/>
                  </a:lnTo>
                  <a:lnTo>
                    <a:pt x="4182" y="1070"/>
                  </a:lnTo>
                  <a:lnTo>
                    <a:pt x="4134" y="1085"/>
                  </a:lnTo>
                  <a:lnTo>
                    <a:pt x="4125" y="1097"/>
                  </a:lnTo>
                  <a:lnTo>
                    <a:pt x="4152" y="1132"/>
                  </a:lnTo>
                  <a:lnTo>
                    <a:pt x="4134" y="1150"/>
                  </a:lnTo>
                  <a:lnTo>
                    <a:pt x="4080" y="1156"/>
                  </a:lnTo>
                  <a:lnTo>
                    <a:pt x="4051" y="1138"/>
                  </a:lnTo>
                  <a:lnTo>
                    <a:pt x="4036" y="1141"/>
                  </a:lnTo>
                  <a:lnTo>
                    <a:pt x="4006" y="1225"/>
                  </a:lnTo>
                  <a:lnTo>
                    <a:pt x="3976" y="1246"/>
                  </a:lnTo>
                  <a:lnTo>
                    <a:pt x="3940" y="1285"/>
                  </a:lnTo>
                  <a:lnTo>
                    <a:pt x="3886" y="1366"/>
                  </a:lnTo>
                  <a:lnTo>
                    <a:pt x="3859" y="1372"/>
                  </a:lnTo>
                  <a:lnTo>
                    <a:pt x="3772" y="1420"/>
                  </a:lnTo>
                  <a:lnTo>
                    <a:pt x="3715" y="1495"/>
                  </a:lnTo>
                  <a:lnTo>
                    <a:pt x="3676" y="1516"/>
                  </a:lnTo>
                  <a:lnTo>
                    <a:pt x="3673" y="1507"/>
                  </a:lnTo>
                  <a:lnTo>
                    <a:pt x="3694" y="1483"/>
                  </a:lnTo>
                  <a:lnTo>
                    <a:pt x="3697" y="1459"/>
                  </a:lnTo>
                  <a:lnTo>
                    <a:pt x="3667" y="1438"/>
                  </a:lnTo>
                  <a:lnTo>
                    <a:pt x="3700" y="1387"/>
                  </a:lnTo>
                  <a:lnTo>
                    <a:pt x="3724" y="1333"/>
                  </a:lnTo>
                  <a:lnTo>
                    <a:pt x="3691" y="1300"/>
                  </a:lnTo>
                  <a:lnTo>
                    <a:pt x="3637" y="1312"/>
                  </a:lnTo>
                  <a:lnTo>
                    <a:pt x="3604" y="1366"/>
                  </a:lnTo>
                  <a:lnTo>
                    <a:pt x="3571" y="1405"/>
                  </a:lnTo>
                  <a:lnTo>
                    <a:pt x="3553" y="1414"/>
                  </a:lnTo>
                  <a:lnTo>
                    <a:pt x="3514" y="1471"/>
                  </a:lnTo>
                  <a:lnTo>
                    <a:pt x="3514" y="1492"/>
                  </a:lnTo>
                  <a:lnTo>
                    <a:pt x="3448" y="1528"/>
                  </a:lnTo>
                  <a:lnTo>
                    <a:pt x="3421" y="1516"/>
                  </a:lnTo>
                  <a:lnTo>
                    <a:pt x="3403" y="1531"/>
                  </a:lnTo>
                  <a:lnTo>
                    <a:pt x="3394" y="1561"/>
                  </a:lnTo>
                  <a:lnTo>
                    <a:pt x="3403" y="1582"/>
                  </a:lnTo>
                  <a:lnTo>
                    <a:pt x="3415" y="1612"/>
                  </a:lnTo>
                  <a:lnTo>
                    <a:pt x="3430" y="1621"/>
                  </a:lnTo>
                  <a:lnTo>
                    <a:pt x="3451" y="1639"/>
                  </a:lnTo>
                  <a:lnTo>
                    <a:pt x="3490" y="1630"/>
                  </a:lnTo>
                  <a:lnTo>
                    <a:pt x="3511" y="1642"/>
                  </a:lnTo>
                  <a:lnTo>
                    <a:pt x="3520" y="1678"/>
                  </a:lnTo>
                  <a:lnTo>
                    <a:pt x="3523" y="1699"/>
                  </a:lnTo>
                  <a:lnTo>
                    <a:pt x="3565" y="1717"/>
                  </a:lnTo>
                  <a:lnTo>
                    <a:pt x="3583" y="1705"/>
                  </a:lnTo>
                  <a:lnTo>
                    <a:pt x="3646" y="1624"/>
                  </a:lnTo>
                  <a:lnTo>
                    <a:pt x="3670" y="1621"/>
                  </a:lnTo>
                  <a:lnTo>
                    <a:pt x="3712" y="1639"/>
                  </a:lnTo>
                  <a:lnTo>
                    <a:pt x="3775" y="1633"/>
                  </a:lnTo>
                  <a:lnTo>
                    <a:pt x="3802" y="1636"/>
                  </a:lnTo>
                  <a:lnTo>
                    <a:pt x="3808" y="1675"/>
                  </a:lnTo>
                  <a:lnTo>
                    <a:pt x="3787" y="1693"/>
                  </a:lnTo>
                  <a:lnTo>
                    <a:pt x="3748" y="1705"/>
                  </a:lnTo>
                  <a:lnTo>
                    <a:pt x="3694" y="1753"/>
                  </a:lnTo>
                  <a:lnTo>
                    <a:pt x="3685" y="1780"/>
                  </a:lnTo>
                  <a:lnTo>
                    <a:pt x="3664" y="1789"/>
                  </a:lnTo>
                  <a:lnTo>
                    <a:pt x="3649" y="1786"/>
                  </a:lnTo>
                  <a:lnTo>
                    <a:pt x="3637" y="1798"/>
                  </a:lnTo>
                  <a:lnTo>
                    <a:pt x="3649" y="1816"/>
                  </a:lnTo>
                  <a:lnTo>
                    <a:pt x="3586" y="1920"/>
                  </a:lnTo>
                  <a:lnTo>
                    <a:pt x="3643" y="1959"/>
                  </a:lnTo>
                  <a:lnTo>
                    <a:pt x="3685" y="1977"/>
                  </a:lnTo>
                  <a:lnTo>
                    <a:pt x="3763" y="2106"/>
                  </a:lnTo>
                  <a:lnTo>
                    <a:pt x="3760" y="2118"/>
                  </a:lnTo>
                  <a:lnTo>
                    <a:pt x="3811" y="2142"/>
                  </a:lnTo>
                  <a:lnTo>
                    <a:pt x="3826" y="2166"/>
                  </a:lnTo>
                  <a:lnTo>
                    <a:pt x="3850" y="2178"/>
                  </a:lnTo>
                  <a:lnTo>
                    <a:pt x="3862" y="2199"/>
                  </a:lnTo>
                  <a:lnTo>
                    <a:pt x="3844" y="2208"/>
                  </a:lnTo>
                  <a:lnTo>
                    <a:pt x="3817" y="2199"/>
                  </a:lnTo>
                  <a:lnTo>
                    <a:pt x="3781" y="2199"/>
                  </a:lnTo>
                  <a:lnTo>
                    <a:pt x="3748" y="2187"/>
                  </a:lnTo>
                  <a:lnTo>
                    <a:pt x="3733" y="2199"/>
                  </a:lnTo>
                  <a:lnTo>
                    <a:pt x="3766" y="2208"/>
                  </a:lnTo>
                  <a:lnTo>
                    <a:pt x="3796" y="2220"/>
                  </a:lnTo>
                  <a:lnTo>
                    <a:pt x="3826" y="2235"/>
                  </a:lnTo>
                  <a:lnTo>
                    <a:pt x="3862" y="2250"/>
                  </a:lnTo>
                  <a:lnTo>
                    <a:pt x="3877" y="2271"/>
                  </a:lnTo>
                  <a:lnTo>
                    <a:pt x="3865" y="2286"/>
                  </a:lnTo>
                  <a:lnTo>
                    <a:pt x="3832" y="2313"/>
                  </a:lnTo>
                  <a:lnTo>
                    <a:pt x="3817" y="2322"/>
                  </a:lnTo>
                  <a:lnTo>
                    <a:pt x="3802" y="2349"/>
                  </a:lnTo>
                  <a:lnTo>
                    <a:pt x="3778" y="2355"/>
                  </a:lnTo>
                  <a:lnTo>
                    <a:pt x="3769" y="2361"/>
                  </a:lnTo>
                  <a:lnTo>
                    <a:pt x="3793" y="2376"/>
                  </a:lnTo>
                  <a:lnTo>
                    <a:pt x="3838" y="2355"/>
                  </a:lnTo>
                  <a:lnTo>
                    <a:pt x="3913" y="2388"/>
                  </a:lnTo>
                  <a:lnTo>
                    <a:pt x="3922" y="2451"/>
                  </a:lnTo>
                  <a:lnTo>
                    <a:pt x="3889" y="2451"/>
                  </a:lnTo>
                  <a:lnTo>
                    <a:pt x="3889" y="2469"/>
                  </a:lnTo>
                  <a:lnTo>
                    <a:pt x="3904" y="2496"/>
                  </a:lnTo>
                  <a:lnTo>
                    <a:pt x="3889" y="2511"/>
                  </a:lnTo>
                  <a:lnTo>
                    <a:pt x="3907" y="2538"/>
                  </a:lnTo>
                  <a:lnTo>
                    <a:pt x="3883" y="2568"/>
                  </a:lnTo>
                  <a:lnTo>
                    <a:pt x="3871" y="2553"/>
                  </a:lnTo>
                  <a:lnTo>
                    <a:pt x="3835" y="2645"/>
                  </a:lnTo>
                  <a:lnTo>
                    <a:pt x="3829" y="2660"/>
                  </a:lnTo>
                  <a:lnTo>
                    <a:pt x="3796" y="2735"/>
                  </a:lnTo>
                  <a:lnTo>
                    <a:pt x="3778" y="2726"/>
                  </a:lnTo>
                  <a:lnTo>
                    <a:pt x="3763" y="2735"/>
                  </a:lnTo>
                  <a:lnTo>
                    <a:pt x="3763" y="2741"/>
                  </a:lnTo>
                  <a:lnTo>
                    <a:pt x="3781" y="2762"/>
                  </a:lnTo>
                  <a:lnTo>
                    <a:pt x="3775" y="2831"/>
                  </a:lnTo>
                  <a:lnTo>
                    <a:pt x="3781" y="2855"/>
                  </a:lnTo>
                  <a:lnTo>
                    <a:pt x="3775" y="2861"/>
                  </a:lnTo>
                  <a:lnTo>
                    <a:pt x="3754" y="2858"/>
                  </a:lnTo>
                  <a:lnTo>
                    <a:pt x="3742" y="2870"/>
                  </a:lnTo>
                  <a:lnTo>
                    <a:pt x="3751" y="2888"/>
                  </a:lnTo>
                  <a:lnTo>
                    <a:pt x="3724" y="2915"/>
                  </a:lnTo>
                  <a:lnTo>
                    <a:pt x="3730" y="2924"/>
                  </a:lnTo>
                  <a:lnTo>
                    <a:pt x="3706" y="2936"/>
                  </a:lnTo>
                  <a:lnTo>
                    <a:pt x="3709" y="2954"/>
                  </a:lnTo>
                  <a:lnTo>
                    <a:pt x="3700" y="2963"/>
                  </a:lnTo>
                  <a:lnTo>
                    <a:pt x="3667" y="2963"/>
                  </a:lnTo>
                  <a:lnTo>
                    <a:pt x="3649" y="2981"/>
                  </a:lnTo>
                  <a:lnTo>
                    <a:pt x="3646" y="2987"/>
                  </a:lnTo>
                  <a:lnTo>
                    <a:pt x="3661" y="2999"/>
                  </a:lnTo>
                  <a:lnTo>
                    <a:pt x="3643" y="3026"/>
                  </a:lnTo>
                  <a:lnTo>
                    <a:pt x="3619" y="3056"/>
                  </a:lnTo>
                  <a:lnTo>
                    <a:pt x="3610" y="3053"/>
                  </a:lnTo>
                  <a:lnTo>
                    <a:pt x="3586" y="3077"/>
                  </a:lnTo>
                  <a:lnTo>
                    <a:pt x="3568" y="3092"/>
                  </a:lnTo>
                  <a:lnTo>
                    <a:pt x="3553" y="3119"/>
                  </a:lnTo>
                  <a:lnTo>
                    <a:pt x="3538" y="3125"/>
                  </a:lnTo>
                  <a:lnTo>
                    <a:pt x="3526" y="3152"/>
                  </a:lnTo>
                  <a:lnTo>
                    <a:pt x="3478" y="3176"/>
                  </a:lnTo>
                  <a:lnTo>
                    <a:pt x="3460" y="3167"/>
                  </a:lnTo>
                  <a:lnTo>
                    <a:pt x="3451" y="3185"/>
                  </a:lnTo>
                  <a:lnTo>
                    <a:pt x="3451" y="3191"/>
                  </a:lnTo>
                  <a:lnTo>
                    <a:pt x="3436" y="3191"/>
                  </a:lnTo>
                  <a:lnTo>
                    <a:pt x="3412" y="3191"/>
                  </a:lnTo>
                  <a:lnTo>
                    <a:pt x="3388" y="3206"/>
                  </a:lnTo>
                  <a:lnTo>
                    <a:pt x="3373" y="3197"/>
                  </a:lnTo>
                  <a:lnTo>
                    <a:pt x="3352" y="3212"/>
                  </a:lnTo>
                  <a:lnTo>
                    <a:pt x="3302" y="3233"/>
                  </a:lnTo>
                  <a:lnTo>
                    <a:pt x="3263" y="3200"/>
                  </a:lnTo>
                  <a:lnTo>
                    <a:pt x="3260" y="3224"/>
                  </a:lnTo>
                  <a:lnTo>
                    <a:pt x="3275" y="3263"/>
                  </a:lnTo>
                  <a:lnTo>
                    <a:pt x="3236" y="3278"/>
                  </a:lnTo>
                  <a:lnTo>
                    <a:pt x="3218" y="3308"/>
                  </a:lnTo>
                  <a:lnTo>
                    <a:pt x="3179" y="3317"/>
                  </a:lnTo>
                  <a:lnTo>
                    <a:pt x="3158" y="3326"/>
                  </a:lnTo>
                  <a:lnTo>
                    <a:pt x="3116" y="3326"/>
                  </a:lnTo>
                  <a:lnTo>
                    <a:pt x="3089" y="3353"/>
                  </a:lnTo>
                  <a:lnTo>
                    <a:pt x="3017" y="3376"/>
                  </a:lnTo>
                  <a:lnTo>
                    <a:pt x="2981" y="3400"/>
                  </a:lnTo>
                  <a:lnTo>
                    <a:pt x="2963" y="3418"/>
                  </a:lnTo>
                  <a:lnTo>
                    <a:pt x="2996" y="3475"/>
                  </a:lnTo>
                  <a:lnTo>
                    <a:pt x="2972" y="3493"/>
                  </a:lnTo>
                  <a:lnTo>
                    <a:pt x="2945" y="3493"/>
                  </a:lnTo>
                  <a:lnTo>
                    <a:pt x="2915" y="3433"/>
                  </a:lnTo>
                  <a:lnTo>
                    <a:pt x="2921" y="3391"/>
                  </a:lnTo>
                  <a:lnTo>
                    <a:pt x="2921" y="3373"/>
                  </a:lnTo>
                  <a:lnTo>
                    <a:pt x="2861" y="3382"/>
                  </a:lnTo>
                  <a:lnTo>
                    <a:pt x="2831" y="3358"/>
                  </a:lnTo>
                  <a:lnTo>
                    <a:pt x="2798" y="3347"/>
                  </a:lnTo>
                  <a:lnTo>
                    <a:pt x="2765" y="3376"/>
                  </a:lnTo>
                  <a:lnTo>
                    <a:pt x="2732" y="3379"/>
                  </a:lnTo>
                  <a:lnTo>
                    <a:pt x="2699" y="3382"/>
                  </a:lnTo>
                  <a:lnTo>
                    <a:pt x="2627" y="3341"/>
                  </a:lnTo>
                  <a:lnTo>
                    <a:pt x="2615" y="3305"/>
                  </a:lnTo>
                  <a:lnTo>
                    <a:pt x="2633" y="3269"/>
                  </a:lnTo>
                  <a:lnTo>
                    <a:pt x="2612" y="3254"/>
                  </a:lnTo>
                  <a:lnTo>
                    <a:pt x="2585" y="3254"/>
                  </a:lnTo>
                  <a:lnTo>
                    <a:pt x="2577" y="3245"/>
                  </a:lnTo>
                  <a:lnTo>
                    <a:pt x="2550" y="3254"/>
                  </a:lnTo>
                  <a:lnTo>
                    <a:pt x="2520" y="3233"/>
                  </a:lnTo>
                  <a:lnTo>
                    <a:pt x="2505" y="3215"/>
                  </a:lnTo>
                  <a:lnTo>
                    <a:pt x="2475" y="3221"/>
                  </a:lnTo>
                  <a:lnTo>
                    <a:pt x="2454" y="3254"/>
                  </a:lnTo>
                  <a:lnTo>
                    <a:pt x="2430" y="3272"/>
                  </a:lnTo>
                  <a:lnTo>
                    <a:pt x="2403" y="3278"/>
                  </a:lnTo>
                  <a:lnTo>
                    <a:pt x="2394" y="3272"/>
                  </a:lnTo>
                  <a:lnTo>
                    <a:pt x="2376" y="3290"/>
                  </a:lnTo>
                  <a:lnTo>
                    <a:pt x="2370" y="3299"/>
                  </a:lnTo>
                  <a:lnTo>
                    <a:pt x="2361" y="3299"/>
                  </a:lnTo>
                  <a:lnTo>
                    <a:pt x="2340" y="3278"/>
                  </a:lnTo>
                  <a:lnTo>
                    <a:pt x="2316" y="3293"/>
                  </a:lnTo>
                  <a:lnTo>
                    <a:pt x="2304" y="3281"/>
                  </a:lnTo>
                  <a:lnTo>
                    <a:pt x="2283" y="3302"/>
                  </a:lnTo>
                  <a:lnTo>
                    <a:pt x="2229" y="3284"/>
                  </a:lnTo>
                  <a:lnTo>
                    <a:pt x="2208" y="3311"/>
                  </a:lnTo>
                  <a:lnTo>
                    <a:pt x="2199" y="3311"/>
                  </a:lnTo>
                  <a:lnTo>
                    <a:pt x="2160" y="3311"/>
                  </a:lnTo>
                  <a:lnTo>
                    <a:pt x="2148" y="3329"/>
                  </a:lnTo>
                  <a:lnTo>
                    <a:pt x="2163" y="3394"/>
                  </a:lnTo>
                  <a:lnTo>
                    <a:pt x="2163" y="3430"/>
                  </a:lnTo>
                  <a:lnTo>
                    <a:pt x="2157" y="3439"/>
                  </a:lnTo>
                  <a:lnTo>
                    <a:pt x="2145" y="3433"/>
                  </a:lnTo>
                  <a:lnTo>
                    <a:pt x="2121" y="3436"/>
                  </a:lnTo>
                  <a:lnTo>
                    <a:pt x="2109" y="3427"/>
                  </a:lnTo>
                  <a:lnTo>
                    <a:pt x="2103" y="3403"/>
                  </a:lnTo>
                  <a:lnTo>
                    <a:pt x="2103" y="3388"/>
                  </a:lnTo>
                  <a:lnTo>
                    <a:pt x="2088" y="3382"/>
                  </a:lnTo>
                  <a:lnTo>
                    <a:pt x="2043" y="3406"/>
                  </a:lnTo>
                  <a:lnTo>
                    <a:pt x="2007" y="3406"/>
                  </a:lnTo>
                  <a:lnTo>
                    <a:pt x="1983" y="3367"/>
                  </a:lnTo>
                  <a:lnTo>
                    <a:pt x="1986" y="3355"/>
                  </a:lnTo>
                  <a:lnTo>
                    <a:pt x="1947" y="3341"/>
                  </a:lnTo>
                  <a:lnTo>
                    <a:pt x="1926" y="3338"/>
                  </a:lnTo>
                  <a:lnTo>
                    <a:pt x="1917" y="3329"/>
                  </a:lnTo>
                  <a:lnTo>
                    <a:pt x="1929" y="3296"/>
                  </a:lnTo>
                  <a:lnTo>
                    <a:pt x="1932" y="3269"/>
                  </a:lnTo>
                  <a:lnTo>
                    <a:pt x="1950" y="3245"/>
                  </a:lnTo>
                  <a:lnTo>
                    <a:pt x="1935" y="3233"/>
                  </a:lnTo>
                  <a:lnTo>
                    <a:pt x="1899" y="3233"/>
                  </a:lnTo>
                  <a:lnTo>
                    <a:pt x="1890" y="3221"/>
                  </a:lnTo>
                  <a:lnTo>
                    <a:pt x="1887" y="3185"/>
                  </a:lnTo>
                  <a:lnTo>
                    <a:pt x="1875" y="3164"/>
                  </a:lnTo>
                  <a:lnTo>
                    <a:pt x="1884" y="3140"/>
                  </a:lnTo>
                  <a:lnTo>
                    <a:pt x="1822" y="3143"/>
                  </a:lnTo>
                  <a:lnTo>
                    <a:pt x="1780" y="3155"/>
                  </a:lnTo>
                  <a:lnTo>
                    <a:pt x="1771" y="3149"/>
                  </a:lnTo>
                  <a:lnTo>
                    <a:pt x="1783" y="3122"/>
                  </a:lnTo>
                  <a:lnTo>
                    <a:pt x="1771" y="3086"/>
                  </a:lnTo>
                  <a:lnTo>
                    <a:pt x="1771" y="3071"/>
                  </a:lnTo>
                  <a:lnTo>
                    <a:pt x="1789" y="3056"/>
                  </a:lnTo>
                  <a:lnTo>
                    <a:pt x="1792" y="3026"/>
                  </a:lnTo>
                  <a:lnTo>
                    <a:pt x="1878" y="2951"/>
                  </a:lnTo>
                  <a:lnTo>
                    <a:pt x="1884" y="2825"/>
                  </a:lnTo>
                  <a:lnTo>
                    <a:pt x="1881" y="2789"/>
                  </a:lnTo>
                  <a:lnTo>
                    <a:pt x="1866" y="2780"/>
                  </a:lnTo>
                  <a:lnTo>
                    <a:pt x="1851" y="2780"/>
                  </a:lnTo>
                  <a:lnTo>
                    <a:pt x="1837" y="2720"/>
                  </a:lnTo>
                  <a:lnTo>
                    <a:pt x="1795" y="2687"/>
                  </a:lnTo>
                  <a:lnTo>
                    <a:pt x="1765" y="2711"/>
                  </a:lnTo>
                  <a:lnTo>
                    <a:pt x="1699" y="2693"/>
                  </a:lnTo>
                  <a:lnTo>
                    <a:pt x="1687" y="2693"/>
                  </a:lnTo>
                  <a:lnTo>
                    <a:pt x="1678" y="2687"/>
                  </a:lnTo>
                  <a:lnTo>
                    <a:pt x="1702" y="2645"/>
                  </a:lnTo>
                  <a:lnTo>
                    <a:pt x="1699" y="2633"/>
                  </a:lnTo>
                  <a:lnTo>
                    <a:pt x="1672" y="2633"/>
                  </a:lnTo>
                  <a:lnTo>
                    <a:pt x="1666" y="2627"/>
                  </a:lnTo>
                  <a:lnTo>
                    <a:pt x="1684" y="2601"/>
                  </a:lnTo>
                  <a:lnTo>
                    <a:pt x="1663" y="2586"/>
                  </a:lnTo>
                  <a:lnTo>
                    <a:pt x="1597" y="2621"/>
                  </a:lnTo>
                  <a:lnTo>
                    <a:pt x="1552" y="2606"/>
                  </a:lnTo>
                  <a:lnTo>
                    <a:pt x="1546" y="2595"/>
                  </a:lnTo>
                  <a:lnTo>
                    <a:pt x="1483" y="2627"/>
                  </a:lnTo>
                  <a:lnTo>
                    <a:pt x="1453" y="2648"/>
                  </a:lnTo>
                  <a:lnTo>
                    <a:pt x="1417" y="2651"/>
                  </a:lnTo>
                  <a:lnTo>
                    <a:pt x="1378" y="2684"/>
                  </a:lnTo>
                  <a:lnTo>
                    <a:pt x="1363" y="2693"/>
                  </a:lnTo>
                  <a:lnTo>
                    <a:pt x="1357" y="2708"/>
                  </a:lnTo>
                  <a:lnTo>
                    <a:pt x="1276" y="2723"/>
                  </a:lnTo>
                  <a:lnTo>
                    <a:pt x="1267" y="2717"/>
                  </a:lnTo>
                  <a:lnTo>
                    <a:pt x="1249" y="2693"/>
                  </a:lnTo>
                  <a:lnTo>
                    <a:pt x="1195" y="2687"/>
                  </a:lnTo>
                  <a:lnTo>
                    <a:pt x="1153" y="2663"/>
                  </a:lnTo>
                  <a:lnTo>
                    <a:pt x="1114" y="2654"/>
                  </a:lnTo>
                  <a:lnTo>
                    <a:pt x="1058" y="2696"/>
                  </a:lnTo>
                  <a:lnTo>
                    <a:pt x="1010" y="2735"/>
                  </a:lnTo>
                  <a:lnTo>
                    <a:pt x="1001" y="2720"/>
                  </a:lnTo>
                  <a:lnTo>
                    <a:pt x="1010" y="2681"/>
                  </a:lnTo>
                  <a:lnTo>
                    <a:pt x="998" y="2663"/>
                  </a:lnTo>
                  <a:lnTo>
                    <a:pt x="956" y="2666"/>
                  </a:lnTo>
                  <a:lnTo>
                    <a:pt x="872" y="2669"/>
                  </a:lnTo>
                  <a:lnTo>
                    <a:pt x="836" y="2642"/>
                  </a:lnTo>
                  <a:lnTo>
                    <a:pt x="812" y="2642"/>
                  </a:lnTo>
                  <a:lnTo>
                    <a:pt x="767" y="2642"/>
                  </a:lnTo>
                  <a:lnTo>
                    <a:pt x="758" y="2636"/>
                  </a:lnTo>
                  <a:lnTo>
                    <a:pt x="755" y="2615"/>
                  </a:lnTo>
                  <a:lnTo>
                    <a:pt x="704" y="2586"/>
                  </a:lnTo>
                  <a:lnTo>
                    <a:pt x="692" y="2553"/>
                  </a:lnTo>
                  <a:lnTo>
                    <a:pt x="680" y="2556"/>
                  </a:lnTo>
                  <a:lnTo>
                    <a:pt x="617" y="2520"/>
                  </a:lnTo>
                  <a:lnTo>
                    <a:pt x="617" y="2481"/>
                  </a:lnTo>
                  <a:lnTo>
                    <a:pt x="608" y="2469"/>
                  </a:lnTo>
                  <a:lnTo>
                    <a:pt x="593" y="2484"/>
                  </a:lnTo>
                  <a:lnTo>
                    <a:pt x="572" y="2484"/>
                  </a:lnTo>
                  <a:lnTo>
                    <a:pt x="551" y="2436"/>
                  </a:lnTo>
                  <a:lnTo>
                    <a:pt x="449" y="2349"/>
                  </a:lnTo>
                  <a:lnTo>
                    <a:pt x="422" y="2325"/>
                  </a:lnTo>
                  <a:lnTo>
                    <a:pt x="395" y="2352"/>
                  </a:lnTo>
                  <a:lnTo>
                    <a:pt x="380" y="2349"/>
                  </a:lnTo>
                  <a:lnTo>
                    <a:pt x="365" y="2331"/>
                  </a:lnTo>
                  <a:lnTo>
                    <a:pt x="321" y="2280"/>
                  </a:lnTo>
                  <a:lnTo>
                    <a:pt x="321" y="2265"/>
                  </a:lnTo>
                  <a:lnTo>
                    <a:pt x="261" y="2217"/>
                  </a:lnTo>
                  <a:lnTo>
                    <a:pt x="246" y="2193"/>
                  </a:lnTo>
                  <a:lnTo>
                    <a:pt x="219" y="2190"/>
                  </a:lnTo>
                  <a:lnTo>
                    <a:pt x="216" y="2175"/>
                  </a:lnTo>
                  <a:lnTo>
                    <a:pt x="222" y="2154"/>
                  </a:lnTo>
                  <a:lnTo>
                    <a:pt x="222" y="2127"/>
                  </a:lnTo>
                  <a:lnTo>
                    <a:pt x="219" y="2106"/>
                  </a:lnTo>
                  <a:lnTo>
                    <a:pt x="207" y="2079"/>
                  </a:lnTo>
                  <a:lnTo>
                    <a:pt x="213" y="2061"/>
                  </a:lnTo>
                  <a:lnTo>
                    <a:pt x="234" y="2058"/>
                  </a:lnTo>
                  <a:lnTo>
                    <a:pt x="255" y="2079"/>
                  </a:lnTo>
                  <a:lnTo>
                    <a:pt x="294" y="2076"/>
                  </a:lnTo>
                  <a:lnTo>
                    <a:pt x="303" y="2061"/>
                  </a:lnTo>
                  <a:lnTo>
                    <a:pt x="300" y="2022"/>
                  </a:lnTo>
                  <a:lnTo>
                    <a:pt x="273" y="1995"/>
                  </a:lnTo>
                  <a:lnTo>
                    <a:pt x="276" y="1968"/>
                  </a:lnTo>
                  <a:lnTo>
                    <a:pt x="285" y="1968"/>
                  </a:lnTo>
                  <a:lnTo>
                    <a:pt x="291" y="1944"/>
                  </a:lnTo>
                  <a:lnTo>
                    <a:pt x="300" y="1926"/>
                  </a:lnTo>
                  <a:lnTo>
                    <a:pt x="321" y="1926"/>
                  </a:lnTo>
                  <a:lnTo>
                    <a:pt x="342" y="1920"/>
                  </a:lnTo>
                  <a:lnTo>
                    <a:pt x="348" y="1896"/>
                  </a:lnTo>
                  <a:lnTo>
                    <a:pt x="377" y="1878"/>
                  </a:lnTo>
                  <a:lnTo>
                    <a:pt x="392" y="1837"/>
                  </a:lnTo>
                  <a:lnTo>
                    <a:pt x="431" y="1810"/>
                  </a:lnTo>
                  <a:lnTo>
                    <a:pt x="422" y="1801"/>
                  </a:lnTo>
                  <a:lnTo>
                    <a:pt x="401" y="1801"/>
                  </a:lnTo>
                  <a:lnTo>
                    <a:pt x="365" y="1747"/>
                  </a:lnTo>
                  <a:lnTo>
                    <a:pt x="333" y="1738"/>
                  </a:lnTo>
                  <a:lnTo>
                    <a:pt x="246" y="1765"/>
                  </a:lnTo>
                  <a:lnTo>
                    <a:pt x="210" y="1756"/>
                  </a:lnTo>
                  <a:lnTo>
                    <a:pt x="135" y="1702"/>
                  </a:lnTo>
                  <a:lnTo>
                    <a:pt x="114" y="1699"/>
                  </a:lnTo>
                  <a:lnTo>
                    <a:pt x="99" y="1663"/>
                  </a:lnTo>
                  <a:lnTo>
                    <a:pt x="111" y="1627"/>
                  </a:lnTo>
                  <a:lnTo>
                    <a:pt x="105" y="1609"/>
                  </a:lnTo>
                  <a:lnTo>
                    <a:pt x="78" y="1591"/>
                  </a:lnTo>
                  <a:lnTo>
                    <a:pt x="69" y="1573"/>
                  </a:lnTo>
                  <a:lnTo>
                    <a:pt x="12" y="1540"/>
                  </a:lnTo>
                  <a:lnTo>
                    <a:pt x="12" y="1531"/>
                  </a:lnTo>
                  <a:lnTo>
                    <a:pt x="39" y="1519"/>
                  </a:lnTo>
                  <a:lnTo>
                    <a:pt x="57" y="1528"/>
                  </a:lnTo>
                  <a:lnTo>
                    <a:pt x="72" y="1513"/>
                  </a:lnTo>
                  <a:lnTo>
                    <a:pt x="66" y="1459"/>
                  </a:lnTo>
                  <a:lnTo>
                    <a:pt x="72" y="1414"/>
                  </a:lnTo>
                  <a:lnTo>
                    <a:pt x="36" y="1375"/>
                  </a:lnTo>
                  <a:lnTo>
                    <a:pt x="9" y="1384"/>
                  </a:lnTo>
                  <a:lnTo>
                    <a:pt x="0" y="1357"/>
                  </a:lnTo>
                  <a:lnTo>
                    <a:pt x="15" y="1330"/>
                  </a:lnTo>
                  <a:lnTo>
                    <a:pt x="6" y="1303"/>
                  </a:lnTo>
                  <a:lnTo>
                    <a:pt x="30" y="1282"/>
                  </a:lnTo>
                  <a:lnTo>
                    <a:pt x="42" y="1273"/>
                  </a:lnTo>
                  <a:lnTo>
                    <a:pt x="42" y="1252"/>
                  </a:lnTo>
                  <a:lnTo>
                    <a:pt x="75" y="1234"/>
                  </a:lnTo>
                  <a:lnTo>
                    <a:pt x="111" y="1228"/>
                  </a:lnTo>
                  <a:lnTo>
                    <a:pt x="141" y="1216"/>
                  </a:lnTo>
                  <a:lnTo>
                    <a:pt x="165" y="1225"/>
                  </a:lnTo>
                  <a:lnTo>
                    <a:pt x="183" y="1216"/>
                  </a:lnTo>
                  <a:lnTo>
                    <a:pt x="189" y="1222"/>
                  </a:lnTo>
                  <a:lnTo>
                    <a:pt x="192" y="1243"/>
                  </a:lnTo>
                  <a:lnTo>
                    <a:pt x="207" y="1252"/>
                  </a:lnTo>
                  <a:lnTo>
                    <a:pt x="246" y="1249"/>
                  </a:lnTo>
                  <a:lnTo>
                    <a:pt x="291" y="1201"/>
                  </a:lnTo>
                  <a:lnTo>
                    <a:pt x="377" y="1219"/>
                  </a:lnTo>
                  <a:lnTo>
                    <a:pt x="422" y="1189"/>
                  </a:lnTo>
                  <a:lnTo>
                    <a:pt x="554" y="1159"/>
                  </a:lnTo>
                  <a:lnTo>
                    <a:pt x="563" y="1141"/>
                  </a:lnTo>
                  <a:lnTo>
                    <a:pt x="575" y="1091"/>
                  </a:lnTo>
                  <a:lnTo>
                    <a:pt x="611" y="1061"/>
                  </a:lnTo>
                  <a:lnTo>
                    <a:pt x="623" y="1061"/>
                  </a:lnTo>
                  <a:lnTo>
                    <a:pt x="623" y="1046"/>
                  </a:lnTo>
                  <a:lnTo>
                    <a:pt x="626" y="920"/>
                  </a:lnTo>
                  <a:lnTo>
                    <a:pt x="632" y="896"/>
                  </a:lnTo>
                  <a:lnTo>
                    <a:pt x="596" y="881"/>
                  </a:lnTo>
                  <a:lnTo>
                    <a:pt x="593" y="872"/>
                  </a:lnTo>
                  <a:lnTo>
                    <a:pt x="632" y="860"/>
                  </a:lnTo>
                  <a:lnTo>
                    <a:pt x="731" y="851"/>
                  </a:lnTo>
                  <a:lnTo>
                    <a:pt x="746" y="872"/>
                  </a:lnTo>
                  <a:lnTo>
                    <a:pt x="779" y="881"/>
                  </a:lnTo>
                  <a:lnTo>
                    <a:pt x="788" y="881"/>
                  </a:lnTo>
                  <a:lnTo>
                    <a:pt x="803" y="863"/>
                  </a:lnTo>
                  <a:lnTo>
                    <a:pt x="785" y="845"/>
                  </a:lnTo>
                  <a:lnTo>
                    <a:pt x="857" y="698"/>
                  </a:lnTo>
                  <a:lnTo>
                    <a:pt x="869" y="689"/>
                  </a:lnTo>
                  <a:lnTo>
                    <a:pt x="935" y="722"/>
                  </a:lnTo>
                  <a:lnTo>
                    <a:pt x="965" y="722"/>
                  </a:lnTo>
                  <a:lnTo>
                    <a:pt x="977" y="740"/>
                  </a:lnTo>
                  <a:lnTo>
                    <a:pt x="1040" y="722"/>
                  </a:lnTo>
                  <a:lnTo>
                    <a:pt x="1058" y="614"/>
                  </a:lnTo>
                  <a:lnTo>
                    <a:pt x="1085" y="596"/>
                  </a:lnTo>
                  <a:lnTo>
                    <a:pt x="1117" y="596"/>
                  </a:lnTo>
                  <a:lnTo>
                    <a:pt x="1138" y="569"/>
                  </a:lnTo>
                  <a:lnTo>
                    <a:pt x="1147" y="542"/>
                  </a:lnTo>
                  <a:lnTo>
                    <a:pt x="1165" y="530"/>
                  </a:lnTo>
                  <a:lnTo>
                    <a:pt x="1207" y="542"/>
                  </a:lnTo>
                  <a:lnTo>
                    <a:pt x="1225" y="542"/>
                  </a:lnTo>
                  <a:lnTo>
                    <a:pt x="1213" y="578"/>
                  </a:lnTo>
                  <a:lnTo>
                    <a:pt x="1228" y="596"/>
                  </a:lnTo>
                  <a:lnTo>
                    <a:pt x="1231" y="608"/>
                  </a:lnTo>
                  <a:lnTo>
                    <a:pt x="1267" y="644"/>
                  </a:lnTo>
                  <a:lnTo>
                    <a:pt x="1276" y="671"/>
                  </a:lnTo>
                  <a:lnTo>
                    <a:pt x="1324" y="674"/>
                  </a:lnTo>
                  <a:lnTo>
                    <a:pt x="1345" y="692"/>
                  </a:lnTo>
                  <a:lnTo>
                    <a:pt x="1357" y="692"/>
                  </a:lnTo>
                  <a:lnTo>
                    <a:pt x="1384" y="752"/>
                  </a:lnTo>
                  <a:lnTo>
                    <a:pt x="1411" y="824"/>
                  </a:lnTo>
                  <a:lnTo>
                    <a:pt x="1396" y="866"/>
                  </a:lnTo>
                  <a:lnTo>
                    <a:pt x="1399" y="881"/>
                  </a:lnTo>
                  <a:lnTo>
                    <a:pt x="1375" y="926"/>
                  </a:lnTo>
                  <a:lnTo>
                    <a:pt x="1381" y="959"/>
                  </a:lnTo>
                  <a:lnTo>
                    <a:pt x="1471" y="998"/>
                  </a:lnTo>
                  <a:lnTo>
                    <a:pt x="1567" y="1010"/>
                  </a:lnTo>
                  <a:lnTo>
                    <a:pt x="1666" y="1079"/>
                  </a:lnTo>
                  <a:lnTo>
                    <a:pt x="1696" y="1091"/>
                  </a:lnTo>
                  <a:lnTo>
                    <a:pt x="1699" y="1109"/>
                  </a:lnTo>
                  <a:lnTo>
                    <a:pt x="1720" y="1153"/>
                  </a:lnTo>
                  <a:lnTo>
                    <a:pt x="1741" y="1207"/>
                  </a:lnTo>
                  <a:lnTo>
                    <a:pt x="1768" y="1255"/>
                  </a:lnTo>
                  <a:close/>
                </a:path>
              </a:pathLst>
            </a:custGeom>
            <a:solidFill>
              <a:srgbClr val="CCECFF"/>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6" name="Freeform 70"/>
            <p:cNvSpPr>
              <a:spLocks/>
            </p:cNvSpPr>
            <p:nvPr/>
          </p:nvSpPr>
          <p:spPr bwMode="auto">
            <a:xfrm>
              <a:off x="395536" y="1084287"/>
              <a:ext cx="6215063" cy="4848225"/>
            </a:xfrm>
            <a:custGeom>
              <a:avLst/>
              <a:gdLst>
                <a:gd name="T0" fmla="*/ 943 w 4428"/>
                <a:gd name="T1" fmla="*/ 440 h 3493"/>
                <a:gd name="T2" fmla="*/ 1151 w 4428"/>
                <a:gd name="T3" fmla="*/ 406 h 3493"/>
                <a:gd name="T4" fmla="*/ 1243 w 4428"/>
                <a:gd name="T5" fmla="*/ 330 h 3493"/>
                <a:gd name="T6" fmla="*/ 1351 w 4428"/>
                <a:gd name="T7" fmla="*/ 257 h 3493"/>
                <a:gd name="T8" fmla="*/ 1345 w 4428"/>
                <a:gd name="T9" fmla="*/ 208 h 3493"/>
                <a:gd name="T10" fmla="*/ 1307 w 4428"/>
                <a:gd name="T11" fmla="*/ 150 h 3493"/>
                <a:gd name="T12" fmla="*/ 1397 w 4428"/>
                <a:gd name="T13" fmla="*/ 63 h 3493"/>
                <a:gd name="T14" fmla="*/ 1455 w 4428"/>
                <a:gd name="T15" fmla="*/ 0 h 3493"/>
                <a:gd name="T16" fmla="*/ 1571 w 4428"/>
                <a:gd name="T17" fmla="*/ 64 h 3493"/>
                <a:gd name="T18" fmla="*/ 1648 w 4428"/>
                <a:gd name="T19" fmla="*/ 111 h 3493"/>
                <a:gd name="T20" fmla="*/ 1755 w 4428"/>
                <a:gd name="T21" fmla="*/ 143 h 3493"/>
                <a:gd name="T22" fmla="*/ 1813 w 4428"/>
                <a:gd name="T23" fmla="*/ 141 h 3493"/>
                <a:gd name="T24" fmla="*/ 1762 w 4428"/>
                <a:gd name="T25" fmla="*/ 238 h 3493"/>
                <a:gd name="T26" fmla="*/ 1755 w 4428"/>
                <a:gd name="T27" fmla="*/ 316 h 3493"/>
                <a:gd name="T28" fmla="*/ 1698 w 4428"/>
                <a:gd name="T29" fmla="*/ 359 h 3493"/>
                <a:gd name="T30" fmla="*/ 1622 w 4428"/>
                <a:gd name="T31" fmla="*/ 419 h 3493"/>
                <a:gd name="T32" fmla="*/ 1523 w 4428"/>
                <a:gd name="T33" fmla="*/ 476 h 3493"/>
                <a:gd name="T34" fmla="*/ 1462 w 4428"/>
                <a:gd name="T35" fmla="*/ 462 h 3493"/>
                <a:gd name="T36" fmla="*/ 1406 w 4428"/>
                <a:gd name="T37" fmla="*/ 526 h 3493"/>
                <a:gd name="T38" fmla="*/ 1475 w 4428"/>
                <a:gd name="T39" fmla="*/ 557 h 3493"/>
                <a:gd name="T40" fmla="*/ 1544 w 4428"/>
                <a:gd name="T41" fmla="*/ 557 h 3493"/>
                <a:gd name="T42" fmla="*/ 1500 w 4428"/>
                <a:gd name="T43" fmla="*/ 638 h 3493"/>
                <a:gd name="T44" fmla="*/ 1583 w 4428"/>
                <a:gd name="T45" fmla="*/ 721 h 3493"/>
                <a:gd name="T46" fmla="*/ 1590 w 4428"/>
                <a:gd name="T47" fmla="*/ 735 h 3493"/>
                <a:gd name="T48" fmla="*/ 1561 w 4428"/>
                <a:gd name="T49" fmla="*/ 775 h 3493"/>
                <a:gd name="T50" fmla="*/ 1608 w 4428"/>
                <a:gd name="T51" fmla="*/ 828 h 3493"/>
                <a:gd name="T52" fmla="*/ 1548 w 4428"/>
                <a:gd name="T53" fmla="*/ 894 h 3493"/>
                <a:gd name="T54" fmla="*/ 1534 w 4428"/>
                <a:gd name="T55" fmla="*/ 951 h 3493"/>
                <a:gd name="T56" fmla="*/ 1507 w 4428"/>
                <a:gd name="T57" fmla="*/ 979 h 3493"/>
                <a:gd name="T58" fmla="*/ 1452 w 4428"/>
                <a:gd name="T59" fmla="*/ 1029 h 3493"/>
                <a:gd name="T60" fmla="*/ 1388 w 4428"/>
                <a:gd name="T61" fmla="*/ 1043 h 3493"/>
                <a:gd name="T62" fmla="*/ 1309 w 4428"/>
                <a:gd name="T63" fmla="*/ 1083 h 3493"/>
                <a:gd name="T64" fmla="*/ 1224 w 4428"/>
                <a:gd name="T65" fmla="*/ 1141 h 3493"/>
                <a:gd name="T66" fmla="*/ 1137 w 4428"/>
                <a:gd name="T67" fmla="*/ 1102 h 3493"/>
                <a:gd name="T68" fmla="*/ 1061 w 4428"/>
                <a:gd name="T69" fmla="*/ 1059 h 3493"/>
                <a:gd name="T70" fmla="*/ 986 w 4428"/>
                <a:gd name="T71" fmla="*/ 1068 h 3493"/>
                <a:gd name="T72" fmla="*/ 918 w 4428"/>
                <a:gd name="T73" fmla="*/ 1071 h 3493"/>
                <a:gd name="T74" fmla="*/ 882 w 4428"/>
                <a:gd name="T75" fmla="*/ 1120 h 3493"/>
                <a:gd name="T76" fmla="*/ 816 w 4428"/>
                <a:gd name="T77" fmla="*/ 1098 h 3493"/>
                <a:gd name="T78" fmla="*/ 797 w 4428"/>
                <a:gd name="T79" fmla="*/ 1055 h 3493"/>
                <a:gd name="T80" fmla="*/ 729 w 4428"/>
                <a:gd name="T81" fmla="*/ 1028 h 3493"/>
                <a:gd name="T82" fmla="*/ 774 w 4428"/>
                <a:gd name="T83" fmla="*/ 910 h 3493"/>
                <a:gd name="T84" fmla="*/ 691 w 4428"/>
                <a:gd name="T85" fmla="*/ 877 h 3493"/>
                <a:gd name="T86" fmla="*/ 639 w 4428"/>
                <a:gd name="T87" fmla="*/ 850 h 3493"/>
                <a:gd name="T88" fmla="*/ 525 w 4428"/>
                <a:gd name="T89" fmla="*/ 889 h 3493"/>
                <a:gd name="T90" fmla="*/ 411 w 4428"/>
                <a:gd name="T91" fmla="*/ 887 h 3493"/>
                <a:gd name="T92" fmla="*/ 312 w 4428"/>
                <a:gd name="T93" fmla="*/ 860 h 3493"/>
                <a:gd name="T94" fmla="*/ 244 w 4428"/>
                <a:gd name="T95" fmla="*/ 811 h 3493"/>
                <a:gd name="T96" fmla="*/ 133 w 4428"/>
                <a:gd name="T97" fmla="*/ 744 h 3493"/>
                <a:gd name="T98" fmla="*/ 90 w 4428"/>
                <a:gd name="T99" fmla="*/ 688 h 3493"/>
                <a:gd name="T100" fmla="*/ 113 w 4428"/>
                <a:gd name="T101" fmla="*/ 652 h 3493"/>
                <a:gd name="T102" fmla="*/ 155 w 4428"/>
                <a:gd name="T103" fmla="*/ 612 h 3493"/>
                <a:gd name="T104" fmla="*/ 86 w 4428"/>
                <a:gd name="T105" fmla="*/ 573 h 3493"/>
                <a:gd name="T106" fmla="*/ 5 w 4428"/>
                <a:gd name="T107" fmla="*/ 502 h 3493"/>
                <a:gd name="T108" fmla="*/ 5 w 4428"/>
                <a:gd name="T109" fmla="*/ 451 h 3493"/>
                <a:gd name="T110" fmla="*/ 45 w 4428"/>
                <a:gd name="T111" fmla="*/ 401 h 3493"/>
                <a:gd name="T112" fmla="*/ 120 w 4428"/>
                <a:gd name="T113" fmla="*/ 392 h 3493"/>
                <a:gd name="T114" fmla="*/ 257 w 4428"/>
                <a:gd name="T115" fmla="*/ 341 h 3493"/>
                <a:gd name="T116" fmla="*/ 320 w 4428"/>
                <a:gd name="T117" fmla="*/ 287 h 3493"/>
                <a:gd name="T118" fmla="*/ 402 w 4428"/>
                <a:gd name="T119" fmla="*/ 241 h 3493"/>
                <a:gd name="T120" fmla="*/ 497 w 4428"/>
                <a:gd name="T121" fmla="*/ 177 h 3493"/>
                <a:gd name="T122" fmla="*/ 555 w 4428"/>
                <a:gd name="T123" fmla="*/ 226 h 3493"/>
                <a:gd name="T124" fmla="*/ 606 w 4428"/>
                <a:gd name="T125" fmla="*/ 326 h 34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428" h="3493">
                  <a:moveTo>
                    <a:pt x="1768" y="1255"/>
                  </a:moveTo>
                  <a:lnTo>
                    <a:pt x="1783" y="1258"/>
                  </a:lnTo>
                  <a:lnTo>
                    <a:pt x="1837" y="1267"/>
                  </a:lnTo>
                  <a:lnTo>
                    <a:pt x="2004" y="1282"/>
                  </a:lnTo>
                  <a:lnTo>
                    <a:pt x="2031" y="1273"/>
                  </a:lnTo>
                  <a:lnTo>
                    <a:pt x="2169" y="1288"/>
                  </a:lnTo>
                  <a:lnTo>
                    <a:pt x="2196" y="1318"/>
                  </a:lnTo>
                  <a:lnTo>
                    <a:pt x="2289" y="1348"/>
                  </a:lnTo>
                  <a:lnTo>
                    <a:pt x="2373" y="1351"/>
                  </a:lnTo>
                  <a:lnTo>
                    <a:pt x="2379" y="1369"/>
                  </a:lnTo>
                  <a:lnTo>
                    <a:pt x="2397" y="1378"/>
                  </a:lnTo>
                  <a:lnTo>
                    <a:pt x="2457" y="1339"/>
                  </a:lnTo>
                  <a:lnTo>
                    <a:pt x="2591" y="1282"/>
                  </a:lnTo>
                  <a:lnTo>
                    <a:pt x="2609" y="1285"/>
                  </a:lnTo>
                  <a:lnTo>
                    <a:pt x="2726" y="1273"/>
                  </a:lnTo>
                  <a:lnTo>
                    <a:pt x="2795" y="1243"/>
                  </a:lnTo>
                  <a:lnTo>
                    <a:pt x="2849" y="1174"/>
                  </a:lnTo>
                  <a:lnTo>
                    <a:pt x="2888" y="1153"/>
                  </a:lnTo>
                  <a:lnTo>
                    <a:pt x="2915" y="1123"/>
                  </a:lnTo>
                  <a:lnTo>
                    <a:pt x="2873" y="1064"/>
                  </a:lnTo>
                  <a:lnTo>
                    <a:pt x="2888" y="1013"/>
                  </a:lnTo>
                  <a:lnTo>
                    <a:pt x="2918" y="983"/>
                  </a:lnTo>
                  <a:lnTo>
                    <a:pt x="2942" y="995"/>
                  </a:lnTo>
                  <a:lnTo>
                    <a:pt x="3017" y="1010"/>
                  </a:lnTo>
                  <a:lnTo>
                    <a:pt x="3056" y="989"/>
                  </a:lnTo>
                  <a:lnTo>
                    <a:pt x="3095" y="935"/>
                  </a:lnTo>
                  <a:lnTo>
                    <a:pt x="3134" y="929"/>
                  </a:lnTo>
                  <a:lnTo>
                    <a:pt x="3191" y="890"/>
                  </a:lnTo>
                  <a:lnTo>
                    <a:pt x="3197" y="860"/>
                  </a:lnTo>
                  <a:lnTo>
                    <a:pt x="3224" y="821"/>
                  </a:lnTo>
                  <a:lnTo>
                    <a:pt x="3263" y="812"/>
                  </a:lnTo>
                  <a:lnTo>
                    <a:pt x="3281" y="785"/>
                  </a:lnTo>
                  <a:lnTo>
                    <a:pt x="3302" y="788"/>
                  </a:lnTo>
                  <a:lnTo>
                    <a:pt x="3331" y="767"/>
                  </a:lnTo>
                  <a:lnTo>
                    <a:pt x="3418" y="761"/>
                  </a:lnTo>
                  <a:lnTo>
                    <a:pt x="3433" y="749"/>
                  </a:lnTo>
                  <a:lnTo>
                    <a:pt x="3433" y="734"/>
                  </a:lnTo>
                  <a:lnTo>
                    <a:pt x="3358" y="656"/>
                  </a:lnTo>
                  <a:lnTo>
                    <a:pt x="3299" y="632"/>
                  </a:lnTo>
                  <a:lnTo>
                    <a:pt x="3266" y="641"/>
                  </a:lnTo>
                  <a:lnTo>
                    <a:pt x="3248" y="671"/>
                  </a:lnTo>
                  <a:lnTo>
                    <a:pt x="3188" y="665"/>
                  </a:lnTo>
                  <a:lnTo>
                    <a:pt x="3149" y="686"/>
                  </a:lnTo>
                  <a:lnTo>
                    <a:pt x="3125" y="668"/>
                  </a:lnTo>
                  <a:lnTo>
                    <a:pt x="3116" y="641"/>
                  </a:lnTo>
                  <a:lnTo>
                    <a:pt x="3134" y="623"/>
                  </a:lnTo>
                  <a:lnTo>
                    <a:pt x="3170" y="473"/>
                  </a:lnTo>
                  <a:lnTo>
                    <a:pt x="3176" y="461"/>
                  </a:lnTo>
                  <a:lnTo>
                    <a:pt x="3200" y="470"/>
                  </a:lnTo>
                  <a:lnTo>
                    <a:pt x="3245" y="479"/>
                  </a:lnTo>
                  <a:lnTo>
                    <a:pt x="3331" y="416"/>
                  </a:lnTo>
                  <a:lnTo>
                    <a:pt x="3340" y="398"/>
                  </a:lnTo>
                  <a:lnTo>
                    <a:pt x="3328" y="374"/>
                  </a:lnTo>
                  <a:lnTo>
                    <a:pt x="3364" y="240"/>
                  </a:lnTo>
                  <a:lnTo>
                    <a:pt x="3385" y="210"/>
                  </a:lnTo>
                  <a:lnTo>
                    <a:pt x="3394" y="189"/>
                  </a:lnTo>
                  <a:lnTo>
                    <a:pt x="3376" y="138"/>
                  </a:lnTo>
                  <a:lnTo>
                    <a:pt x="3349" y="135"/>
                  </a:lnTo>
                  <a:lnTo>
                    <a:pt x="3337" y="126"/>
                  </a:lnTo>
                  <a:lnTo>
                    <a:pt x="3370" y="75"/>
                  </a:lnTo>
                  <a:lnTo>
                    <a:pt x="3412" y="45"/>
                  </a:lnTo>
                  <a:lnTo>
                    <a:pt x="3427" y="45"/>
                  </a:lnTo>
                  <a:lnTo>
                    <a:pt x="3442" y="33"/>
                  </a:lnTo>
                  <a:lnTo>
                    <a:pt x="3532" y="0"/>
                  </a:lnTo>
                  <a:lnTo>
                    <a:pt x="3598" y="15"/>
                  </a:lnTo>
                  <a:lnTo>
                    <a:pt x="3628" y="21"/>
                  </a:lnTo>
                  <a:lnTo>
                    <a:pt x="3661" y="9"/>
                  </a:lnTo>
                  <a:lnTo>
                    <a:pt x="3712" y="36"/>
                  </a:lnTo>
                  <a:lnTo>
                    <a:pt x="3724" y="63"/>
                  </a:lnTo>
                  <a:lnTo>
                    <a:pt x="3766" y="114"/>
                  </a:lnTo>
                  <a:lnTo>
                    <a:pt x="3778" y="144"/>
                  </a:lnTo>
                  <a:lnTo>
                    <a:pt x="3814" y="195"/>
                  </a:lnTo>
                  <a:lnTo>
                    <a:pt x="3829" y="219"/>
                  </a:lnTo>
                  <a:lnTo>
                    <a:pt x="3856" y="246"/>
                  </a:lnTo>
                  <a:lnTo>
                    <a:pt x="3865" y="270"/>
                  </a:lnTo>
                  <a:lnTo>
                    <a:pt x="3883" y="291"/>
                  </a:lnTo>
                  <a:lnTo>
                    <a:pt x="3904" y="321"/>
                  </a:lnTo>
                  <a:lnTo>
                    <a:pt x="3940" y="333"/>
                  </a:lnTo>
                  <a:lnTo>
                    <a:pt x="3979" y="327"/>
                  </a:lnTo>
                  <a:lnTo>
                    <a:pt x="4003" y="339"/>
                  </a:lnTo>
                  <a:lnTo>
                    <a:pt x="4027" y="330"/>
                  </a:lnTo>
                  <a:lnTo>
                    <a:pt x="4083" y="360"/>
                  </a:lnTo>
                  <a:lnTo>
                    <a:pt x="4116" y="362"/>
                  </a:lnTo>
                  <a:lnTo>
                    <a:pt x="4125" y="392"/>
                  </a:lnTo>
                  <a:lnTo>
                    <a:pt x="4143" y="419"/>
                  </a:lnTo>
                  <a:lnTo>
                    <a:pt x="4140" y="437"/>
                  </a:lnTo>
                  <a:lnTo>
                    <a:pt x="4179" y="467"/>
                  </a:lnTo>
                  <a:lnTo>
                    <a:pt x="4263" y="437"/>
                  </a:lnTo>
                  <a:lnTo>
                    <a:pt x="4296" y="392"/>
                  </a:lnTo>
                  <a:lnTo>
                    <a:pt x="4332" y="374"/>
                  </a:lnTo>
                  <a:lnTo>
                    <a:pt x="4365" y="336"/>
                  </a:lnTo>
                  <a:lnTo>
                    <a:pt x="4395" y="327"/>
                  </a:lnTo>
                  <a:lnTo>
                    <a:pt x="4407" y="342"/>
                  </a:lnTo>
                  <a:lnTo>
                    <a:pt x="4401" y="360"/>
                  </a:lnTo>
                  <a:lnTo>
                    <a:pt x="4428" y="389"/>
                  </a:lnTo>
                  <a:lnTo>
                    <a:pt x="4404" y="434"/>
                  </a:lnTo>
                  <a:lnTo>
                    <a:pt x="4407" y="575"/>
                  </a:lnTo>
                  <a:lnTo>
                    <a:pt x="4398" y="602"/>
                  </a:lnTo>
                  <a:lnTo>
                    <a:pt x="4404" y="617"/>
                  </a:lnTo>
                  <a:lnTo>
                    <a:pt x="4389" y="647"/>
                  </a:lnTo>
                  <a:lnTo>
                    <a:pt x="4392" y="677"/>
                  </a:lnTo>
                  <a:lnTo>
                    <a:pt x="4377" y="689"/>
                  </a:lnTo>
                  <a:lnTo>
                    <a:pt x="4302" y="689"/>
                  </a:lnTo>
                  <a:lnTo>
                    <a:pt x="4281" y="728"/>
                  </a:lnTo>
                  <a:lnTo>
                    <a:pt x="4257" y="752"/>
                  </a:lnTo>
                  <a:lnTo>
                    <a:pt x="4299" y="815"/>
                  </a:lnTo>
                  <a:lnTo>
                    <a:pt x="4302" y="869"/>
                  </a:lnTo>
                  <a:lnTo>
                    <a:pt x="4314" y="887"/>
                  </a:lnTo>
                  <a:lnTo>
                    <a:pt x="4320" y="899"/>
                  </a:lnTo>
                  <a:lnTo>
                    <a:pt x="4311" y="932"/>
                  </a:lnTo>
                  <a:lnTo>
                    <a:pt x="4275" y="977"/>
                  </a:lnTo>
                  <a:lnTo>
                    <a:pt x="4263" y="965"/>
                  </a:lnTo>
                  <a:lnTo>
                    <a:pt x="4248" y="953"/>
                  </a:lnTo>
                  <a:lnTo>
                    <a:pt x="4236" y="956"/>
                  </a:lnTo>
                  <a:lnTo>
                    <a:pt x="4230" y="983"/>
                  </a:lnTo>
                  <a:lnTo>
                    <a:pt x="4227" y="1019"/>
                  </a:lnTo>
                  <a:lnTo>
                    <a:pt x="4200" y="1031"/>
                  </a:lnTo>
                  <a:lnTo>
                    <a:pt x="4182" y="1070"/>
                  </a:lnTo>
                  <a:lnTo>
                    <a:pt x="4134" y="1085"/>
                  </a:lnTo>
                  <a:lnTo>
                    <a:pt x="4125" y="1097"/>
                  </a:lnTo>
                  <a:lnTo>
                    <a:pt x="4152" y="1132"/>
                  </a:lnTo>
                  <a:lnTo>
                    <a:pt x="4134" y="1150"/>
                  </a:lnTo>
                  <a:lnTo>
                    <a:pt x="4080" y="1156"/>
                  </a:lnTo>
                  <a:lnTo>
                    <a:pt x="4051" y="1138"/>
                  </a:lnTo>
                  <a:lnTo>
                    <a:pt x="4036" y="1141"/>
                  </a:lnTo>
                  <a:lnTo>
                    <a:pt x="4006" y="1225"/>
                  </a:lnTo>
                  <a:lnTo>
                    <a:pt x="3976" y="1246"/>
                  </a:lnTo>
                  <a:lnTo>
                    <a:pt x="3940" y="1285"/>
                  </a:lnTo>
                  <a:lnTo>
                    <a:pt x="3886" y="1366"/>
                  </a:lnTo>
                  <a:lnTo>
                    <a:pt x="3859" y="1372"/>
                  </a:lnTo>
                  <a:lnTo>
                    <a:pt x="3772" y="1420"/>
                  </a:lnTo>
                  <a:lnTo>
                    <a:pt x="3715" y="1495"/>
                  </a:lnTo>
                  <a:lnTo>
                    <a:pt x="3676" y="1516"/>
                  </a:lnTo>
                  <a:lnTo>
                    <a:pt x="3673" y="1507"/>
                  </a:lnTo>
                  <a:lnTo>
                    <a:pt x="3694" y="1483"/>
                  </a:lnTo>
                  <a:lnTo>
                    <a:pt x="3697" y="1459"/>
                  </a:lnTo>
                  <a:lnTo>
                    <a:pt x="3667" y="1438"/>
                  </a:lnTo>
                  <a:lnTo>
                    <a:pt x="3700" y="1387"/>
                  </a:lnTo>
                  <a:lnTo>
                    <a:pt x="3724" y="1333"/>
                  </a:lnTo>
                  <a:lnTo>
                    <a:pt x="3691" y="1300"/>
                  </a:lnTo>
                  <a:lnTo>
                    <a:pt x="3637" y="1312"/>
                  </a:lnTo>
                  <a:lnTo>
                    <a:pt x="3604" y="1366"/>
                  </a:lnTo>
                  <a:lnTo>
                    <a:pt x="3571" y="1405"/>
                  </a:lnTo>
                  <a:lnTo>
                    <a:pt x="3553" y="1414"/>
                  </a:lnTo>
                  <a:lnTo>
                    <a:pt x="3514" y="1471"/>
                  </a:lnTo>
                  <a:lnTo>
                    <a:pt x="3514" y="1492"/>
                  </a:lnTo>
                  <a:lnTo>
                    <a:pt x="3448" y="1528"/>
                  </a:lnTo>
                  <a:lnTo>
                    <a:pt x="3421" y="1516"/>
                  </a:lnTo>
                  <a:lnTo>
                    <a:pt x="3403" y="1531"/>
                  </a:lnTo>
                  <a:lnTo>
                    <a:pt x="3394" y="1561"/>
                  </a:lnTo>
                  <a:lnTo>
                    <a:pt x="3403" y="1582"/>
                  </a:lnTo>
                  <a:lnTo>
                    <a:pt x="3415" y="1612"/>
                  </a:lnTo>
                  <a:lnTo>
                    <a:pt x="3430" y="1621"/>
                  </a:lnTo>
                  <a:lnTo>
                    <a:pt x="3451" y="1639"/>
                  </a:lnTo>
                  <a:lnTo>
                    <a:pt x="3490" y="1630"/>
                  </a:lnTo>
                  <a:lnTo>
                    <a:pt x="3511" y="1642"/>
                  </a:lnTo>
                  <a:lnTo>
                    <a:pt x="3520" y="1678"/>
                  </a:lnTo>
                  <a:lnTo>
                    <a:pt x="3523" y="1699"/>
                  </a:lnTo>
                  <a:lnTo>
                    <a:pt x="3565" y="1717"/>
                  </a:lnTo>
                  <a:lnTo>
                    <a:pt x="3583" y="1705"/>
                  </a:lnTo>
                  <a:lnTo>
                    <a:pt x="3646" y="1624"/>
                  </a:lnTo>
                  <a:lnTo>
                    <a:pt x="3670" y="1621"/>
                  </a:lnTo>
                  <a:lnTo>
                    <a:pt x="3712" y="1639"/>
                  </a:lnTo>
                  <a:lnTo>
                    <a:pt x="3775" y="1633"/>
                  </a:lnTo>
                  <a:lnTo>
                    <a:pt x="3802" y="1636"/>
                  </a:lnTo>
                  <a:lnTo>
                    <a:pt x="3808" y="1675"/>
                  </a:lnTo>
                  <a:lnTo>
                    <a:pt x="3787" y="1693"/>
                  </a:lnTo>
                  <a:lnTo>
                    <a:pt x="3748" y="1705"/>
                  </a:lnTo>
                  <a:lnTo>
                    <a:pt x="3694" y="1753"/>
                  </a:lnTo>
                  <a:lnTo>
                    <a:pt x="3685" y="1780"/>
                  </a:lnTo>
                  <a:lnTo>
                    <a:pt x="3664" y="1789"/>
                  </a:lnTo>
                  <a:lnTo>
                    <a:pt x="3649" y="1786"/>
                  </a:lnTo>
                  <a:lnTo>
                    <a:pt x="3637" y="1798"/>
                  </a:lnTo>
                  <a:lnTo>
                    <a:pt x="3649" y="1816"/>
                  </a:lnTo>
                  <a:lnTo>
                    <a:pt x="3586" y="1920"/>
                  </a:lnTo>
                  <a:lnTo>
                    <a:pt x="3643" y="1959"/>
                  </a:lnTo>
                  <a:lnTo>
                    <a:pt x="3685" y="1977"/>
                  </a:lnTo>
                  <a:lnTo>
                    <a:pt x="3763" y="2106"/>
                  </a:lnTo>
                  <a:lnTo>
                    <a:pt x="3760" y="2118"/>
                  </a:lnTo>
                  <a:lnTo>
                    <a:pt x="3811" y="2142"/>
                  </a:lnTo>
                  <a:lnTo>
                    <a:pt x="3826" y="2166"/>
                  </a:lnTo>
                  <a:lnTo>
                    <a:pt x="3850" y="2178"/>
                  </a:lnTo>
                  <a:lnTo>
                    <a:pt x="3862" y="2199"/>
                  </a:lnTo>
                  <a:lnTo>
                    <a:pt x="3844" y="2208"/>
                  </a:lnTo>
                  <a:lnTo>
                    <a:pt x="3817" y="2199"/>
                  </a:lnTo>
                  <a:lnTo>
                    <a:pt x="3781" y="2199"/>
                  </a:lnTo>
                  <a:lnTo>
                    <a:pt x="3748" y="2187"/>
                  </a:lnTo>
                  <a:lnTo>
                    <a:pt x="3733" y="2199"/>
                  </a:lnTo>
                  <a:lnTo>
                    <a:pt x="3766" y="2208"/>
                  </a:lnTo>
                  <a:lnTo>
                    <a:pt x="3796" y="2220"/>
                  </a:lnTo>
                  <a:lnTo>
                    <a:pt x="3826" y="2235"/>
                  </a:lnTo>
                  <a:lnTo>
                    <a:pt x="3862" y="2250"/>
                  </a:lnTo>
                  <a:lnTo>
                    <a:pt x="3877" y="2271"/>
                  </a:lnTo>
                  <a:lnTo>
                    <a:pt x="3865" y="2286"/>
                  </a:lnTo>
                  <a:lnTo>
                    <a:pt x="3832" y="2313"/>
                  </a:lnTo>
                  <a:lnTo>
                    <a:pt x="3817" y="2322"/>
                  </a:lnTo>
                  <a:lnTo>
                    <a:pt x="3802" y="2349"/>
                  </a:lnTo>
                  <a:lnTo>
                    <a:pt x="3778" y="2355"/>
                  </a:lnTo>
                  <a:lnTo>
                    <a:pt x="3769" y="2361"/>
                  </a:lnTo>
                  <a:lnTo>
                    <a:pt x="3793" y="2376"/>
                  </a:lnTo>
                  <a:lnTo>
                    <a:pt x="3838" y="2355"/>
                  </a:lnTo>
                  <a:lnTo>
                    <a:pt x="3913" y="2388"/>
                  </a:lnTo>
                  <a:lnTo>
                    <a:pt x="3922" y="2451"/>
                  </a:lnTo>
                  <a:lnTo>
                    <a:pt x="3889" y="2451"/>
                  </a:lnTo>
                  <a:lnTo>
                    <a:pt x="3889" y="2469"/>
                  </a:lnTo>
                  <a:lnTo>
                    <a:pt x="3904" y="2496"/>
                  </a:lnTo>
                  <a:lnTo>
                    <a:pt x="3889" y="2511"/>
                  </a:lnTo>
                  <a:lnTo>
                    <a:pt x="3907" y="2538"/>
                  </a:lnTo>
                  <a:lnTo>
                    <a:pt x="3883" y="2568"/>
                  </a:lnTo>
                  <a:lnTo>
                    <a:pt x="3871" y="2553"/>
                  </a:lnTo>
                  <a:lnTo>
                    <a:pt x="3835" y="2645"/>
                  </a:lnTo>
                  <a:lnTo>
                    <a:pt x="3829" y="2660"/>
                  </a:lnTo>
                  <a:lnTo>
                    <a:pt x="3796" y="2735"/>
                  </a:lnTo>
                  <a:lnTo>
                    <a:pt x="3778" y="2726"/>
                  </a:lnTo>
                  <a:lnTo>
                    <a:pt x="3763" y="2735"/>
                  </a:lnTo>
                  <a:lnTo>
                    <a:pt x="3763" y="2741"/>
                  </a:lnTo>
                  <a:lnTo>
                    <a:pt x="3781" y="2762"/>
                  </a:lnTo>
                  <a:lnTo>
                    <a:pt x="3775" y="2831"/>
                  </a:lnTo>
                  <a:lnTo>
                    <a:pt x="3781" y="2855"/>
                  </a:lnTo>
                  <a:lnTo>
                    <a:pt x="3775" y="2861"/>
                  </a:lnTo>
                  <a:lnTo>
                    <a:pt x="3754" y="2858"/>
                  </a:lnTo>
                  <a:lnTo>
                    <a:pt x="3742" y="2870"/>
                  </a:lnTo>
                  <a:lnTo>
                    <a:pt x="3751" y="2888"/>
                  </a:lnTo>
                  <a:lnTo>
                    <a:pt x="3724" y="2915"/>
                  </a:lnTo>
                  <a:lnTo>
                    <a:pt x="3730" y="2924"/>
                  </a:lnTo>
                  <a:lnTo>
                    <a:pt x="3706" y="2936"/>
                  </a:lnTo>
                  <a:lnTo>
                    <a:pt x="3709" y="2954"/>
                  </a:lnTo>
                  <a:lnTo>
                    <a:pt x="3700" y="2963"/>
                  </a:lnTo>
                  <a:lnTo>
                    <a:pt x="3667" y="2963"/>
                  </a:lnTo>
                  <a:lnTo>
                    <a:pt x="3649" y="2981"/>
                  </a:lnTo>
                  <a:lnTo>
                    <a:pt x="3646" y="2987"/>
                  </a:lnTo>
                  <a:lnTo>
                    <a:pt x="3661" y="2999"/>
                  </a:lnTo>
                  <a:lnTo>
                    <a:pt x="3643" y="3026"/>
                  </a:lnTo>
                  <a:lnTo>
                    <a:pt x="3619" y="3056"/>
                  </a:lnTo>
                  <a:lnTo>
                    <a:pt x="3610" y="3053"/>
                  </a:lnTo>
                  <a:lnTo>
                    <a:pt x="3586" y="3077"/>
                  </a:lnTo>
                  <a:lnTo>
                    <a:pt x="3568" y="3092"/>
                  </a:lnTo>
                  <a:lnTo>
                    <a:pt x="3553" y="3119"/>
                  </a:lnTo>
                  <a:lnTo>
                    <a:pt x="3538" y="3125"/>
                  </a:lnTo>
                  <a:lnTo>
                    <a:pt x="3526" y="3152"/>
                  </a:lnTo>
                  <a:lnTo>
                    <a:pt x="3478" y="3176"/>
                  </a:lnTo>
                  <a:lnTo>
                    <a:pt x="3460" y="3167"/>
                  </a:lnTo>
                  <a:lnTo>
                    <a:pt x="3451" y="3185"/>
                  </a:lnTo>
                  <a:lnTo>
                    <a:pt x="3451" y="3191"/>
                  </a:lnTo>
                  <a:lnTo>
                    <a:pt x="3436" y="3191"/>
                  </a:lnTo>
                  <a:lnTo>
                    <a:pt x="3412" y="3191"/>
                  </a:lnTo>
                  <a:lnTo>
                    <a:pt x="3388" y="3206"/>
                  </a:lnTo>
                  <a:lnTo>
                    <a:pt x="3373" y="3197"/>
                  </a:lnTo>
                  <a:lnTo>
                    <a:pt x="3352" y="3212"/>
                  </a:lnTo>
                  <a:lnTo>
                    <a:pt x="3302" y="3233"/>
                  </a:lnTo>
                  <a:lnTo>
                    <a:pt x="3263" y="3200"/>
                  </a:lnTo>
                  <a:lnTo>
                    <a:pt x="3260" y="3224"/>
                  </a:lnTo>
                  <a:lnTo>
                    <a:pt x="3275" y="3263"/>
                  </a:lnTo>
                  <a:lnTo>
                    <a:pt x="3236" y="3278"/>
                  </a:lnTo>
                  <a:lnTo>
                    <a:pt x="3218" y="3308"/>
                  </a:lnTo>
                  <a:lnTo>
                    <a:pt x="3179" y="3317"/>
                  </a:lnTo>
                  <a:lnTo>
                    <a:pt x="3158" y="3326"/>
                  </a:lnTo>
                  <a:lnTo>
                    <a:pt x="3116" y="3326"/>
                  </a:lnTo>
                  <a:lnTo>
                    <a:pt x="3089" y="3353"/>
                  </a:lnTo>
                  <a:lnTo>
                    <a:pt x="3017" y="3376"/>
                  </a:lnTo>
                  <a:lnTo>
                    <a:pt x="2981" y="3400"/>
                  </a:lnTo>
                  <a:lnTo>
                    <a:pt x="2963" y="3418"/>
                  </a:lnTo>
                  <a:lnTo>
                    <a:pt x="2996" y="3475"/>
                  </a:lnTo>
                  <a:lnTo>
                    <a:pt x="2972" y="3493"/>
                  </a:lnTo>
                  <a:lnTo>
                    <a:pt x="2945" y="3493"/>
                  </a:lnTo>
                  <a:lnTo>
                    <a:pt x="2915" y="3433"/>
                  </a:lnTo>
                  <a:lnTo>
                    <a:pt x="2921" y="3391"/>
                  </a:lnTo>
                  <a:lnTo>
                    <a:pt x="2921" y="3373"/>
                  </a:lnTo>
                  <a:lnTo>
                    <a:pt x="2861" y="3382"/>
                  </a:lnTo>
                  <a:lnTo>
                    <a:pt x="2831" y="3358"/>
                  </a:lnTo>
                  <a:lnTo>
                    <a:pt x="2798" y="3347"/>
                  </a:lnTo>
                  <a:lnTo>
                    <a:pt x="2765" y="3376"/>
                  </a:lnTo>
                  <a:lnTo>
                    <a:pt x="2732" y="3379"/>
                  </a:lnTo>
                  <a:lnTo>
                    <a:pt x="2699" y="3382"/>
                  </a:lnTo>
                  <a:lnTo>
                    <a:pt x="2627" y="3341"/>
                  </a:lnTo>
                  <a:lnTo>
                    <a:pt x="2615" y="3305"/>
                  </a:lnTo>
                  <a:lnTo>
                    <a:pt x="2633" y="3269"/>
                  </a:lnTo>
                  <a:lnTo>
                    <a:pt x="2612" y="3254"/>
                  </a:lnTo>
                  <a:lnTo>
                    <a:pt x="2585" y="3254"/>
                  </a:lnTo>
                  <a:lnTo>
                    <a:pt x="2577" y="3245"/>
                  </a:lnTo>
                  <a:lnTo>
                    <a:pt x="2550" y="3254"/>
                  </a:lnTo>
                  <a:lnTo>
                    <a:pt x="2520" y="3233"/>
                  </a:lnTo>
                  <a:lnTo>
                    <a:pt x="2505" y="3215"/>
                  </a:lnTo>
                  <a:lnTo>
                    <a:pt x="2475" y="3221"/>
                  </a:lnTo>
                  <a:lnTo>
                    <a:pt x="2454" y="3254"/>
                  </a:lnTo>
                  <a:lnTo>
                    <a:pt x="2430" y="3272"/>
                  </a:lnTo>
                  <a:lnTo>
                    <a:pt x="2403" y="3278"/>
                  </a:lnTo>
                  <a:lnTo>
                    <a:pt x="2394" y="3272"/>
                  </a:lnTo>
                  <a:lnTo>
                    <a:pt x="2376" y="3290"/>
                  </a:lnTo>
                  <a:lnTo>
                    <a:pt x="2370" y="3299"/>
                  </a:lnTo>
                  <a:lnTo>
                    <a:pt x="2361" y="3299"/>
                  </a:lnTo>
                  <a:lnTo>
                    <a:pt x="2340" y="3278"/>
                  </a:lnTo>
                  <a:lnTo>
                    <a:pt x="2316" y="3293"/>
                  </a:lnTo>
                  <a:lnTo>
                    <a:pt x="2304" y="3281"/>
                  </a:lnTo>
                  <a:lnTo>
                    <a:pt x="2283" y="3302"/>
                  </a:lnTo>
                  <a:lnTo>
                    <a:pt x="2229" y="3284"/>
                  </a:lnTo>
                  <a:lnTo>
                    <a:pt x="2208" y="3311"/>
                  </a:lnTo>
                  <a:lnTo>
                    <a:pt x="2199" y="3311"/>
                  </a:lnTo>
                  <a:lnTo>
                    <a:pt x="2160" y="3311"/>
                  </a:lnTo>
                  <a:lnTo>
                    <a:pt x="2148" y="3329"/>
                  </a:lnTo>
                  <a:lnTo>
                    <a:pt x="2163" y="3394"/>
                  </a:lnTo>
                  <a:lnTo>
                    <a:pt x="2163" y="3430"/>
                  </a:lnTo>
                  <a:lnTo>
                    <a:pt x="2157" y="3439"/>
                  </a:lnTo>
                  <a:lnTo>
                    <a:pt x="2145" y="3433"/>
                  </a:lnTo>
                  <a:lnTo>
                    <a:pt x="2121" y="3436"/>
                  </a:lnTo>
                  <a:lnTo>
                    <a:pt x="2109" y="3427"/>
                  </a:lnTo>
                  <a:lnTo>
                    <a:pt x="2103" y="3403"/>
                  </a:lnTo>
                  <a:lnTo>
                    <a:pt x="2103" y="3388"/>
                  </a:lnTo>
                  <a:lnTo>
                    <a:pt x="2088" y="3382"/>
                  </a:lnTo>
                  <a:lnTo>
                    <a:pt x="2043" y="3406"/>
                  </a:lnTo>
                  <a:lnTo>
                    <a:pt x="2007" y="3406"/>
                  </a:lnTo>
                  <a:lnTo>
                    <a:pt x="1983" y="3367"/>
                  </a:lnTo>
                  <a:lnTo>
                    <a:pt x="1986" y="3355"/>
                  </a:lnTo>
                  <a:lnTo>
                    <a:pt x="1947" y="3341"/>
                  </a:lnTo>
                  <a:lnTo>
                    <a:pt x="1926" y="3338"/>
                  </a:lnTo>
                  <a:lnTo>
                    <a:pt x="1917" y="3329"/>
                  </a:lnTo>
                  <a:lnTo>
                    <a:pt x="1929" y="3296"/>
                  </a:lnTo>
                  <a:lnTo>
                    <a:pt x="1932" y="3269"/>
                  </a:lnTo>
                  <a:lnTo>
                    <a:pt x="1950" y="3245"/>
                  </a:lnTo>
                  <a:lnTo>
                    <a:pt x="1935" y="3233"/>
                  </a:lnTo>
                  <a:lnTo>
                    <a:pt x="1899" y="3233"/>
                  </a:lnTo>
                  <a:lnTo>
                    <a:pt x="1890" y="3221"/>
                  </a:lnTo>
                  <a:lnTo>
                    <a:pt x="1887" y="3185"/>
                  </a:lnTo>
                  <a:lnTo>
                    <a:pt x="1875" y="3164"/>
                  </a:lnTo>
                  <a:lnTo>
                    <a:pt x="1884" y="3140"/>
                  </a:lnTo>
                  <a:lnTo>
                    <a:pt x="1822" y="3143"/>
                  </a:lnTo>
                  <a:lnTo>
                    <a:pt x="1780" y="3155"/>
                  </a:lnTo>
                  <a:lnTo>
                    <a:pt x="1771" y="3149"/>
                  </a:lnTo>
                  <a:lnTo>
                    <a:pt x="1783" y="3122"/>
                  </a:lnTo>
                  <a:lnTo>
                    <a:pt x="1771" y="3086"/>
                  </a:lnTo>
                  <a:lnTo>
                    <a:pt x="1771" y="3071"/>
                  </a:lnTo>
                  <a:lnTo>
                    <a:pt x="1789" y="3056"/>
                  </a:lnTo>
                  <a:lnTo>
                    <a:pt x="1792" y="3026"/>
                  </a:lnTo>
                  <a:lnTo>
                    <a:pt x="1878" y="2951"/>
                  </a:lnTo>
                  <a:lnTo>
                    <a:pt x="1884" y="2825"/>
                  </a:lnTo>
                  <a:lnTo>
                    <a:pt x="1881" y="2789"/>
                  </a:lnTo>
                  <a:lnTo>
                    <a:pt x="1866" y="2780"/>
                  </a:lnTo>
                  <a:lnTo>
                    <a:pt x="1851" y="2780"/>
                  </a:lnTo>
                  <a:lnTo>
                    <a:pt x="1837" y="2720"/>
                  </a:lnTo>
                  <a:lnTo>
                    <a:pt x="1795" y="2687"/>
                  </a:lnTo>
                  <a:lnTo>
                    <a:pt x="1765" y="2711"/>
                  </a:lnTo>
                  <a:lnTo>
                    <a:pt x="1699" y="2693"/>
                  </a:lnTo>
                  <a:lnTo>
                    <a:pt x="1687" y="2693"/>
                  </a:lnTo>
                  <a:lnTo>
                    <a:pt x="1678" y="2687"/>
                  </a:lnTo>
                  <a:lnTo>
                    <a:pt x="1702" y="2645"/>
                  </a:lnTo>
                  <a:lnTo>
                    <a:pt x="1699" y="2633"/>
                  </a:lnTo>
                  <a:lnTo>
                    <a:pt x="1672" y="2633"/>
                  </a:lnTo>
                  <a:lnTo>
                    <a:pt x="1666" y="2627"/>
                  </a:lnTo>
                  <a:lnTo>
                    <a:pt x="1684" y="2601"/>
                  </a:lnTo>
                  <a:lnTo>
                    <a:pt x="1663" y="2586"/>
                  </a:lnTo>
                  <a:lnTo>
                    <a:pt x="1597" y="2621"/>
                  </a:lnTo>
                  <a:lnTo>
                    <a:pt x="1552" y="2606"/>
                  </a:lnTo>
                  <a:lnTo>
                    <a:pt x="1546" y="2595"/>
                  </a:lnTo>
                  <a:lnTo>
                    <a:pt x="1483" y="2627"/>
                  </a:lnTo>
                  <a:lnTo>
                    <a:pt x="1453" y="2648"/>
                  </a:lnTo>
                  <a:lnTo>
                    <a:pt x="1417" y="2651"/>
                  </a:lnTo>
                  <a:lnTo>
                    <a:pt x="1378" y="2684"/>
                  </a:lnTo>
                  <a:lnTo>
                    <a:pt x="1363" y="2693"/>
                  </a:lnTo>
                  <a:lnTo>
                    <a:pt x="1357" y="2708"/>
                  </a:lnTo>
                  <a:lnTo>
                    <a:pt x="1276" y="2723"/>
                  </a:lnTo>
                  <a:lnTo>
                    <a:pt x="1267" y="2717"/>
                  </a:lnTo>
                  <a:lnTo>
                    <a:pt x="1249" y="2693"/>
                  </a:lnTo>
                  <a:lnTo>
                    <a:pt x="1195" y="2687"/>
                  </a:lnTo>
                  <a:lnTo>
                    <a:pt x="1153" y="2663"/>
                  </a:lnTo>
                  <a:lnTo>
                    <a:pt x="1114" y="2654"/>
                  </a:lnTo>
                  <a:lnTo>
                    <a:pt x="1058" y="2696"/>
                  </a:lnTo>
                  <a:lnTo>
                    <a:pt x="1010" y="2735"/>
                  </a:lnTo>
                  <a:lnTo>
                    <a:pt x="1001" y="2720"/>
                  </a:lnTo>
                  <a:lnTo>
                    <a:pt x="1010" y="2681"/>
                  </a:lnTo>
                  <a:lnTo>
                    <a:pt x="998" y="2663"/>
                  </a:lnTo>
                  <a:lnTo>
                    <a:pt x="956" y="2666"/>
                  </a:lnTo>
                  <a:lnTo>
                    <a:pt x="872" y="2669"/>
                  </a:lnTo>
                  <a:lnTo>
                    <a:pt x="836" y="2642"/>
                  </a:lnTo>
                  <a:lnTo>
                    <a:pt x="812" y="2642"/>
                  </a:lnTo>
                  <a:lnTo>
                    <a:pt x="767" y="2642"/>
                  </a:lnTo>
                  <a:lnTo>
                    <a:pt x="758" y="2636"/>
                  </a:lnTo>
                  <a:lnTo>
                    <a:pt x="755" y="2615"/>
                  </a:lnTo>
                  <a:lnTo>
                    <a:pt x="704" y="2586"/>
                  </a:lnTo>
                  <a:lnTo>
                    <a:pt x="692" y="2553"/>
                  </a:lnTo>
                  <a:lnTo>
                    <a:pt x="680" y="2556"/>
                  </a:lnTo>
                  <a:lnTo>
                    <a:pt x="617" y="2520"/>
                  </a:lnTo>
                  <a:lnTo>
                    <a:pt x="617" y="2481"/>
                  </a:lnTo>
                  <a:lnTo>
                    <a:pt x="608" y="2469"/>
                  </a:lnTo>
                  <a:lnTo>
                    <a:pt x="593" y="2484"/>
                  </a:lnTo>
                  <a:lnTo>
                    <a:pt x="572" y="2484"/>
                  </a:lnTo>
                  <a:lnTo>
                    <a:pt x="551" y="2436"/>
                  </a:lnTo>
                  <a:lnTo>
                    <a:pt x="449" y="2349"/>
                  </a:lnTo>
                  <a:lnTo>
                    <a:pt x="422" y="2325"/>
                  </a:lnTo>
                  <a:lnTo>
                    <a:pt x="395" y="2352"/>
                  </a:lnTo>
                  <a:lnTo>
                    <a:pt x="380" y="2349"/>
                  </a:lnTo>
                  <a:lnTo>
                    <a:pt x="365" y="2331"/>
                  </a:lnTo>
                  <a:lnTo>
                    <a:pt x="321" y="2280"/>
                  </a:lnTo>
                  <a:lnTo>
                    <a:pt x="321" y="2265"/>
                  </a:lnTo>
                  <a:lnTo>
                    <a:pt x="261" y="2217"/>
                  </a:lnTo>
                  <a:lnTo>
                    <a:pt x="246" y="2193"/>
                  </a:lnTo>
                  <a:lnTo>
                    <a:pt x="219" y="2190"/>
                  </a:lnTo>
                  <a:lnTo>
                    <a:pt x="216" y="2175"/>
                  </a:lnTo>
                  <a:lnTo>
                    <a:pt x="222" y="2154"/>
                  </a:lnTo>
                  <a:lnTo>
                    <a:pt x="222" y="2127"/>
                  </a:lnTo>
                  <a:lnTo>
                    <a:pt x="219" y="2106"/>
                  </a:lnTo>
                  <a:lnTo>
                    <a:pt x="207" y="2079"/>
                  </a:lnTo>
                  <a:lnTo>
                    <a:pt x="213" y="2061"/>
                  </a:lnTo>
                  <a:lnTo>
                    <a:pt x="234" y="2058"/>
                  </a:lnTo>
                  <a:lnTo>
                    <a:pt x="255" y="2079"/>
                  </a:lnTo>
                  <a:lnTo>
                    <a:pt x="294" y="2076"/>
                  </a:lnTo>
                  <a:lnTo>
                    <a:pt x="303" y="2061"/>
                  </a:lnTo>
                  <a:lnTo>
                    <a:pt x="300" y="2022"/>
                  </a:lnTo>
                  <a:lnTo>
                    <a:pt x="273" y="1995"/>
                  </a:lnTo>
                  <a:lnTo>
                    <a:pt x="276" y="1968"/>
                  </a:lnTo>
                  <a:lnTo>
                    <a:pt x="285" y="1968"/>
                  </a:lnTo>
                  <a:lnTo>
                    <a:pt x="291" y="1944"/>
                  </a:lnTo>
                  <a:lnTo>
                    <a:pt x="300" y="1926"/>
                  </a:lnTo>
                  <a:lnTo>
                    <a:pt x="321" y="1926"/>
                  </a:lnTo>
                  <a:lnTo>
                    <a:pt x="342" y="1920"/>
                  </a:lnTo>
                  <a:lnTo>
                    <a:pt x="348" y="1896"/>
                  </a:lnTo>
                  <a:lnTo>
                    <a:pt x="377" y="1878"/>
                  </a:lnTo>
                  <a:lnTo>
                    <a:pt x="392" y="1837"/>
                  </a:lnTo>
                  <a:lnTo>
                    <a:pt x="431" y="1810"/>
                  </a:lnTo>
                  <a:lnTo>
                    <a:pt x="422" y="1801"/>
                  </a:lnTo>
                  <a:lnTo>
                    <a:pt x="401" y="1801"/>
                  </a:lnTo>
                  <a:lnTo>
                    <a:pt x="365" y="1747"/>
                  </a:lnTo>
                  <a:lnTo>
                    <a:pt x="333" y="1738"/>
                  </a:lnTo>
                  <a:lnTo>
                    <a:pt x="246" y="1765"/>
                  </a:lnTo>
                  <a:lnTo>
                    <a:pt x="210" y="1756"/>
                  </a:lnTo>
                  <a:lnTo>
                    <a:pt x="135" y="1702"/>
                  </a:lnTo>
                  <a:lnTo>
                    <a:pt x="114" y="1699"/>
                  </a:lnTo>
                  <a:lnTo>
                    <a:pt x="99" y="1663"/>
                  </a:lnTo>
                  <a:lnTo>
                    <a:pt x="111" y="1627"/>
                  </a:lnTo>
                  <a:lnTo>
                    <a:pt x="105" y="1609"/>
                  </a:lnTo>
                  <a:lnTo>
                    <a:pt x="78" y="1591"/>
                  </a:lnTo>
                  <a:lnTo>
                    <a:pt x="69" y="1573"/>
                  </a:lnTo>
                  <a:lnTo>
                    <a:pt x="12" y="1540"/>
                  </a:lnTo>
                  <a:lnTo>
                    <a:pt x="12" y="1531"/>
                  </a:lnTo>
                  <a:lnTo>
                    <a:pt x="39" y="1519"/>
                  </a:lnTo>
                  <a:lnTo>
                    <a:pt x="57" y="1528"/>
                  </a:lnTo>
                  <a:lnTo>
                    <a:pt x="72" y="1513"/>
                  </a:lnTo>
                  <a:lnTo>
                    <a:pt x="66" y="1459"/>
                  </a:lnTo>
                  <a:lnTo>
                    <a:pt x="72" y="1414"/>
                  </a:lnTo>
                  <a:lnTo>
                    <a:pt x="36" y="1375"/>
                  </a:lnTo>
                  <a:lnTo>
                    <a:pt x="9" y="1384"/>
                  </a:lnTo>
                  <a:lnTo>
                    <a:pt x="0" y="1357"/>
                  </a:lnTo>
                  <a:lnTo>
                    <a:pt x="15" y="1330"/>
                  </a:lnTo>
                  <a:lnTo>
                    <a:pt x="6" y="1303"/>
                  </a:lnTo>
                  <a:lnTo>
                    <a:pt x="30" y="1282"/>
                  </a:lnTo>
                  <a:lnTo>
                    <a:pt x="42" y="1273"/>
                  </a:lnTo>
                  <a:lnTo>
                    <a:pt x="42" y="1252"/>
                  </a:lnTo>
                  <a:lnTo>
                    <a:pt x="75" y="1234"/>
                  </a:lnTo>
                  <a:lnTo>
                    <a:pt x="111" y="1228"/>
                  </a:lnTo>
                  <a:lnTo>
                    <a:pt x="141" y="1216"/>
                  </a:lnTo>
                  <a:lnTo>
                    <a:pt x="165" y="1225"/>
                  </a:lnTo>
                  <a:lnTo>
                    <a:pt x="183" y="1216"/>
                  </a:lnTo>
                  <a:lnTo>
                    <a:pt x="189" y="1222"/>
                  </a:lnTo>
                  <a:lnTo>
                    <a:pt x="192" y="1243"/>
                  </a:lnTo>
                  <a:lnTo>
                    <a:pt x="207" y="1252"/>
                  </a:lnTo>
                  <a:lnTo>
                    <a:pt x="246" y="1249"/>
                  </a:lnTo>
                  <a:lnTo>
                    <a:pt x="291" y="1201"/>
                  </a:lnTo>
                  <a:lnTo>
                    <a:pt x="377" y="1219"/>
                  </a:lnTo>
                  <a:lnTo>
                    <a:pt x="422" y="1189"/>
                  </a:lnTo>
                  <a:lnTo>
                    <a:pt x="554" y="1159"/>
                  </a:lnTo>
                  <a:lnTo>
                    <a:pt x="563" y="1141"/>
                  </a:lnTo>
                  <a:lnTo>
                    <a:pt x="575" y="1091"/>
                  </a:lnTo>
                  <a:lnTo>
                    <a:pt x="611" y="1061"/>
                  </a:lnTo>
                  <a:lnTo>
                    <a:pt x="623" y="1061"/>
                  </a:lnTo>
                  <a:lnTo>
                    <a:pt x="623" y="1046"/>
                  </a:lnTo>
                  <a:lnTo>
                    <a:pt x="626" y="920"/>
                  </a:lnTo>
                  <a:lnTo>
                    <a:pt x="632" y="896"/>
                  </a:lnTo>
                  <a:lnTo>
                    <a:pt x="596" y="881"/>
                  </a:lnTo>
                  <a:lnTo>
                    <a:pt x="593" y="872"/>
                  </a:lnTo>
                  <a:lnTo>
                    <a:pt x="632" y="860"/>
                  </a:lnTo>
                  <a:lnTo>
                    <a:pt x="731" y="851"/>
                  </a:lnTo>
                  <a:lnTo>
                    <a:pt x="746" y="872"/>
                  </a:lnTo>
                  <a:lnTo>
                    <a:pt x="779" y="881"/>
                  </a:lnTo>
                  <a:lnTo>
                    <a:pt x="788" y="881"/>
                  </a:lnTo>
                  <a:lnTo>
                    <a:pt x="803" y="863"/>
                  </a:lnTo>
                  <a:lnTo>
                    <a:pt x="785" y="845"/>
                  </a:lnTo>
                  <a:lnTo>
                    <a:pt x="857" y="698"/>
                  </a:lnTo>
                  <a:lnTo>
                    <a:pt x="869" y="689"/>
                  </a:lnTo>
                  <a:lnTo>
                    <a:pt x="935" y="722"/>
                  </a:lnTo>
                  <a:lnTo>
                    <a:pt x="965" y="722"/>
                  </a:lnTo>
                  <a:lnTo>
                    <a:pt x="977" y="740"/>
                  </a:lnTo>
                  <a:lnTo>
                    <a:pt x="1040" y="722"/>
                  </a:lnTo>
                  <a:lnTo>
                    <a:pt x="1058" y="614"/>
                  </a:lnTo>
                  <a:lnTo>
                    <a:pt x="1085" y="596"/>
                  </a:lnTo>
                  <a:lnTo>
                    <a:pt x="1117" y="596"/>
                  </a:lnTo>
                  <a:lnTo>
                    <a:pt x="1138" y="569"/>
                  </a:lnTo>
                  <a:lnTo>
                    <a:pt x="1147" y="542"/>
                  </a:lnTo>
                  <a:lnTo>
                    <a:pt x="1165" y="530"/>
                  </a:lnTo>
                  <a:lnTo>
                    <a:pt x="1207" y="542"/>
                  </a:lnTo>
                  <a:lnTo>
                    <a:pt x="1225" y="542"/>
                  </a:lnTo>
                  <a:lnTo>
                    <a:pt x="1213" y="578"/>
                  </a:lnTo>
                  <a:lnTo>
                    <a:pt x="1228" y="596"/>
                  </a:lnTo>
                  <a:lnTo>
                    <a:pt x="1231" y="608"/>
                  </a:lnTo>
                  <a:lnTo>
                    <a:pt x="1267" y="644"/>
                  </a:lnTo>
                  <a:lnTo>
                    <a:pt x="1276" y="671"/>
                  </a:lnTo>
                  <a:lnTo>
                    <a:pt x="1324" y="674"/>
                  </a:lnTo>
                  <a:lnTo>
                    <a:pt x="1345" y="692"/>
                  </a:lnTo>
                  <a:lnTo>
                    <a:pt x="1357" y="692"/>
                  </a:lnTo>
                  <a:lnTo>
                    <a:pt x="1384" y="752"/>
                  </a:lnTo>
                  <a:lnTo>
                    <a:pt x="1411" y="824"/>
                  </a:lnTo>
                  <a:lnTo>
                    <a:pt x="1396" y="866"/>
                  </a:lnTo>
                  <a:lnTo>
                    <a:pt x="1399" y="881"/>
                  </a:lnTo>
                  <a:lnTo>
                    <a:pt x="1375" y="926"/>
                  </a:lnTo>
                  <a:lnTo>
                    <a:pt x="1381" y="959"/>
                  </a:lnTo>
                  <a:lnTo>
                    <a:pt x="1471" y="998"/>
                  </a:lnTo>
                  <a:lnTo>
                    <a:pt x="1567" y="1010"/>
                  </a:lnTo>
                  <a:lnTo>
                    <a:pt x="1666" y="1079"/>
                  </a:lnTo>
                  <a:lnTo>
                    <a:pt x="1696" y="1091"/>
                  </a:lnTo>
                  <a:lnTo>
                    <a:pt x="1699" y="1109"/>
                  </a:lnTo>
                  <a:lnTo>
                    <a:pt x="1720" y="1153"/>
                  </a:lnTo>
                  <a:lnTo>
                    <a:pt x="1741" y="1207"/>
                  </a:lnTo>
                  <a:lnTo>
                    <a:pt x="1768" y="1255"/>
                  </a:lnTo>
                </a:path>
              </a:pathLst>
            </a:custGeom>
            <a:solidFill>
              <a:srgbClr val="CCECFF"/>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7" name="Freeform 71"/>
            <p:cNvSpPr>
              <a:spLocks/>
            </p:cNvSpPr>
            <p:nvPr/>
          </p:nvSpPr>
          <p:spPr bwMode="auto">
            <a:xfrm>
              <a:off x="924174" y="3595712"/>
              <a:ext cx="77787" cy="95250"/>
            </a:xfrm>
            <a:custGeom>
              <a:avLst/>
              <a:gdLst>
                <a:gd name="T0" fmla="*/ 0 w 54"/>
                <a:gd name="T1" fmla="*/ 22 h 68"/>
                <a:gd name="T2" fmla="*/ 6 w 54"/>
                <a:gd name="T3" fmla="*/ 10 h 68"/>
                <a:gd name="T4" fmla="*/ 25 w 54"/>
                <a:gd name="T5" fmla="*/ 0 h 68"/>
                <a:gd name="T6" fmla="*/ 0 w 54"/>
                <a:gd name="T7" fmla="*/ 22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 h="68">
                  <a:moveTo>
                    <a:pt x="0" y="68"/>
                  </a:moveTo>
                  <a:lnTo>
                    <a:pt x="15" y="27"/>
                  </a:lnTo>
                  <a:lnTo>
                    <a:pt x="54" y="0"/>
                  </a:lnTo>
                  <a:lnTo>
                    <a:pt x="0" y="68"/>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8" name="Freeform 72"/>
            <p:cNvSpPr>
              <a:spLocks/>
            </p:cNvSpPr>
            <p:nvPr/>
          </p:nvSpPr>
          <p:spPr bwMode="auto">
            <a:xfrm>
              <a:off x="924174" y="3595712"/>
              <a:ext cx="77787" cy="95250"/>
            </a:xfrm>
            <a:custGeom>
              <a:avLst/>
              <a:gdLst>
                <a:gd name="T0" fmla="*/ 0 w 54"/>
                <a:gd name="T1" fmla="*/ 22 h 68"/>
                <a:gd name="T2" fmla="*/ 6 w 54"/>
                <a:gd name="T3" fmla="*/ 10 h 68"/>
                <a:gd name="T4" fmla="*/ 25 w 54"/>
                <a:gd name="T5" fmla="*/ 0 h 68"/>
                <a:gd name="T6" fmla="*/ 0 60000 65536"/>
                <a:gd name="T7" fmla="*/ 0 60000 65536"/>
                <a:gd name="T8" fmla="*/ 0 60000 65536"/>
              </a:gdLst>
              <a:ahLst/>
              <a:cxnLst>
                <a:cxn ang="T6">
                  <a:pos x="T0" y="T1"/>
                </a:cxn>
                <a:cxn ang="T7">
                  <a:pos x="T2" y="T3"/>
                </a:cxn>
                <a:cxn ang="T8">
                  <a:pos x="T4" y="T5"/>
                </a:cxn>
              </a:cxnLst>
              <a:rect l="0" t="0" r="r" b="b"/>
              <a:pathLst>
                <a:path w="54" h="68">
                  <a:moveTo>
                    <a:pt x="0" y="68"/>
                  </a:moveTo>
                  <a:lnTo>
                    <a:pt x="15" y="27"/>
                  </a:lnTo>
                  <a:lnTo>
                    <a:pt x="54" y="0"/>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79" name="Freeform 73"/>
            <p:cNvSpPr>
              <a:spLocks/>
            </p:cNvSpPr>
            <p:nvPr/>
          </p:nvSpPr>
          <p:spPr bwMode="auto">
            <a:xfrm>
              <a:off x="4486524" y="5154637"/>
              <a:ext cx="941387" cy="777875"/>
            </a:xfrm>
            <a:custGeom>
              <a:avLst/>
              <a:gdLst>
                <a:gd name="T0" fmla="*/ 81 w 671"/>
                <a:gd name="T1" fmla="*/ 27 h 560"/>
                <a:gd name="T2" fmla="*/ 85 w 671"/>
                <a:gd name="T3" fmla="*/ 15 h 560"/>
                <a:gd name="T4" fmla="*/ 110 w 671"/>
                <a:gd name="T5" fmla="*/ 21 h 560"/>
                <a:gd name="T6" fmla="*/ 109 w 671"/>
                <a:gd name="T7" fmla="*/ 12 h 560"/>
                <a:gd name="T8" fmla="*/ 120 w 671"/>
                <a:gd name="T9" fmla="*/ 4 h 560"/>
                <a:gd name="T10" fmla="*/ 148 w 671"/>
                <a:gd name="T11" fmla="*/ 0 h 560"/>
                <a:gd name="T12" fmla="*/ 174 w 671"/>
                <a:gd name="T13" fmla="*/ 4 h 560"/>
                <a:gd name="T14" fmla="*/ 171 w 671"/>
                <a:gd name="T15" fmla="*/ 13 h 560"/>
                <a:gd name="T16" fmla="*/ 163 w 671"/>
                <a:gd name="T17" fmla="*/ 27 h 560"/>
                <a:gd name="T18" fmla="*/ 204 w 671"/>
                <a:gd name="T19" fmla="*/ 19 h 560"/>
                <a:gd name="T20" fmla="*/ 221 w 671"/>
                <a:gd name="T21" fmla="*/ 21 h 560"/>
                <a:gd name="T22" fmla="*/ 220 w 671"/>
                <a:gd name="T23" fmla="*/ 11 h 560"/>
                <a:gd name="T24" fmla="*/ 248 w 671"/>
                <a:gd name="T25" fmla="*/ 17 h 560"/>
                <a:gd name="T26" fmla="*/ 265 w 671"/>
                <a:gd name="T27" fmla="*/ 27 h 560"/>
                <a:gd name="T28" fmla="*/ 268 w 671"/>
                <a:gd name="T29" fmla="*/ 51 h 560"/>
                <a:gd name="T30" fmla="*/ 257 w 671"/>
                <a:gd name="T31" fmla="*/ 64 h 560"/>
                <a:gd name="T32" fmla="*/ 232 w 671"/>
                <a:gd name="T33" fmla="*/ 80 h 560"/>
                <a:gd name="T34" fmla="*/ 221 w 671"/>
                <a:gd name="T35" fmla="*/ 82 h 560"/>
                <a:gd name="T36" fmla="*/ 214 w 671"/>
                <a:gd name="T37" fmla="*/ 85 h 560"/>
                <a:gd name="T38" fmla="*/ 194 w 671"/>
                <a:gd name="T39" fmla="*/ 89 h 560"/>
                <a:gd name="T40" fmla="*/ 180 w 671"/>
                <a:gd name="T41" fmla="*/ 92 h 560"/>
                <a:gd name="T42" fmla="*/ 143 w 671"/>
                <a:gd name="T43" fmla="*/ 88 h 560"/>
                <a:gd name="T44" fmla="*/ 148 w 671"/>
                <a:gd name="T45" fmla="*/ 108 h 560"/>
                <a:gd name="T46" fmla="*/ 124 w 671"/>
                <a:gd name="T47" fmla="*/ 123 h 560"/>
                <a:gd name="T48" fmla="*/ 101 w 671"/>
                <a:gd name="T49" fmla="*/ 129 h 560"/>
                <a:gd name="T50" fmla="*/ 71 w 671"/>
                <a:gd name="T51" fmla="*/ 139 h 560"/>
                <a:gd name="T52" fmla="*/ 27 w 671"/>
                <a:gd name="T53" fmla="*/ 154 h 560"/>
                <a:gd name="T54" fmla="*/ 34 w 671"/>
                <a:gd name="T55" fmla="*/ 178 h 560"/>
                <a:gd name="T56" fmla="*/ 13 w 671"/>
                <a:gd name="T57" fmla="*/ 184 h 560"/>
                <a:gd name="T58" fmla="*/ 5 w 671"/>
                <a:gd name="T59" fmla="*/ 149 h 560"/>
                <a:gd name="T60" fmla="*/ 13 w 671"/>
                <a:gd name="T61" fmla="*/ 133 h 560"/>
                <a:gd name="T62" fmla="*/ 24 w 671"/>
                <a:gd name="T63" fmla="*/ 125 h 560"/>
                <a:gd name="T64" fmla="*/ 37 w 671"/>
                <a:gd name="T65" fmla="*/ 106 h 560"/>
                <a:gd name="T66" fmla="*/ 59 w 671"/>
                <a:gd name="T67" fmla="*/ 76 h 560"/>
                <a:gd name="T68" fmla="*/ 74 w 671"/>
                <a:gd name="T69" fmla="*/ 53 h 560"/>
                <a:gd name="T70" fmla="*/ 74 w 671"/>
                <a:gd name="T71" fmla="*/ 31 h 5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71" h="560">
                  <a:moveTo>
                    <a:pt x="180" y="96"/>
                  </a:moveTo>
                  <a:lnTo>
                    <a:pt x="198" y="84"/>
                  </a:lnTo>
                  <a:lnTo>
                    <a:pt x="198" y="54"/>
                  </a:lnTo>
                  <a:lnTo>
                    <a:pt x="207" y="48"/>
                  </a:lnTo>
                  <a:lnTo>
                    <a:pt x="228" y="48"/>
                  </a:lnTo>
                  <a:lnTo>
                    <a:pt x="267" y="66"/>
                  </a:lnTo>
                  <a:lnTo>
                    <a:pt x="273" y="54"/>
                  </a:lnTo>
                  <a:lnTo>
                    <a:pt x="264" y="36"/>
                  </a:lnTo>
                  <a:lnTo>
                    <a:pt x="267" y="27"/>
                  </a:lnTo>
                  <a:lnTo>
                    <a:pt x="291" y="6"/>
                  </a:lnTo>
                  <a:lnTo>
                    <a:pt x="336" y="18"/>
                  </a:lnTo>
                  <a:lnTo>
                    <a:pt x="360" y="0"/>
                  </a:lnTo>
                  <a:lnTo>
                    <a:pt x="378" y="18"/>
                  </a:lnTo>
                  <a:lnTo>
                    <a:pt x="422" y="9"/>
                  </a:lnTo>
                  <a:lnTo>
                    <a:pt x="431" y="24"/>
                  </a:lnTo>
                  <a:lnTo>
                    <a:pt x="416" y="42"/>
                  </a:lnTo>
                  <a:lnTo>
                    <a:pt x="396" y="75"/>
                  </a:lnTo>
                  <a:lnTo>
                    <a:pt x="396" y="84"/>
                  </a:lnTo>
                  <a:lnTo>
                    <a:pt x="408" y="93"/>
                  </a:lnTo>
                  <a:lnTo>
                    <a:pt x="497" y="57"/>
                  </a:lnTo>
                  <a:lnTo>
                    <a:pt x="530" y="75"/>
                  </a:lnTo>
                  <a:lnTo>
                    <a:pt x="539" y="66"/>
                  </a:lnTo>
                  <a:lnTo>
                    <a:pt x="530" y="48"/>
                  </a:lnTo>
                  <a:lnTo>
                    <a:pt x="533" y="33"/>
                  </a:lnTo>
                  <a:lnTo>
                    <a:pt x="593" y="48"/>
                  </a:lnTo>
                  <a:lnTo>
                    <a:pt x="602" y="54"/>
                  </a:lnTo>
                  <a:lnTo>
                    <a:pt x="620" y="54"/>
                  </a:lnTo>
                  <a:lnTo>
                    <a:pt x="644" y="84"/>
                  </a:lnTo>
                  <a:lnTo>
                    <a:pt x="671" y="144"/>
                  </a:lnTo>
                  <a:lnTo>
                    <a:pt x="653" y="159"/>
                  </a:lnTo>
                  <a:lnTo>
                    <a:pt x="638" y="186"/>
                  </a:lnTo>
                  <a:lnTo>
                    <a:pt x="623" y="192"/>
                  </a:lnTo>
                  <a:lnTo>
                    <a:pt x="611" y="219"/>
                  </a:lnTo>
                  <a:lnTo>
                    <a:pt x="563" y="243"/>
                  </a:lnTo>
                  <a:lnTo>
                    <a:pt x="545" y="234"/>
                  </a:lnTo>
                  <a:lnTo>
                    <a:pt x="536" y="252"/>
                  </a:lnTo>
                  <a:lnTo>
                    <a:pt x="536" y="258"/>
                  </a:lnTo>
                  <a:lnTo>
                    <a:pt x="521" y="258"/>
                  </a:lnTo>
                  <a:lnTo>
                    <a:pt x="497" y="258"/>
                  </a:lnTo>
                  <a:lnTo>
                    <a:pt x="473" y="273"/>
                  </a:lnTo>
                  <a:lnTo>
                    <a:pt x="458" y="264"/>
                  </a:lnTo>
                  <a:lnTo>
                    <a:pt x="437" y="279"/>
                  </a:lnTo>
                  <a:lnTo>
                    <a:pt x="387" y="300"/>
                  </a:lnTo>
                  <a:lnTo>
                    <a:pt x="348" y="267"/>
                  </a:lnTo>
                  <a:lnTo>
                    <a:pt x="345" y="291"/>
                  </a:lnTo>
                  <a:lnTo>
                    <a:pt x="360" y="330"/>
                  </a:lnTo>
                  <a:lnTo>
                    <a:pt x="321" y="345"/>
                  </a:lnTo>
                  <a:lnTo>
                    <a:pt x="303" y="375"/>
                  </a:lnTo>
                  <a:lnTo>
                    <a:pt x="264" y="384"/>
                  </a:lnTo>
                  <a:lnTo>
                    <a:pt x="243" y="393"/>
                  </a:lnTo>
                  <a:lnTo>
                    <a:pt x="201" y="393"/>
                  </a:lnTo>
                  <a:lnTo>
                    <a:pt x="174" y="420"/>
                  </a:lnTo>
                  <a:lnTo>
                    <a:pt x="102" y="443"/>
                  </a:lnTo>
                  <a:lnTo>
                    <a:pt x="66" y="467"/>
                  </a:lnTo>
                  <a:lnTo>
                    <a:pt x="48" y="485"/>
                  </a:lnTo>
                  <a:lnTo>
                    <a:pt x="81" y="542"/>
                  </a:lnTo>
                  <a:lnTo>
                    <a:pt x="57" y="560"/>
                  </a:lnTo>
                  <a:lnTo>
                    <a:pt x="30" y="560"/>
                  </a:lnTo>
                  <a:lnTo>
                    <a:pt x="0" y="500"/>
                  </a:lnTo>
                  <a:lnTo>
                    <a:pt x="6" y="458"/>
                  </a:lnTo>
                  <a:lnTo>
                    <a:pt x="6" y="440"/>
                  </a:lnTo>
                  <a:lnTo>
                    <a:pt x="30" y="402"/>
                  </a:lnTo>
                  <a:lnTo>
                    <a:pt x="57" y="396"/>
                  </a:lnTo>
                  <a:lnTo>
                    <a:pt x="57" y="378"/>
                  </a:lnTo>
                  <a:lnTo>
                    <a:pt x="87" y="363"/>
                  </a:lnTo>
                  <a:lnTo>
                    <a:pt x="90" y="327"/>
                  </a:lnTo>
                  <a:lnTo>
                    <a:pt x="144" y="288"/>
                  </a:lnTo>
                  <a:lnTo>
                    <a:pt x="141" y="234"/>
                  </a:lnTo>
                  <a:lnTo>
                    <a:pt x="180" y="180"/>
                  </a:lnTo>
                  <a:lnTo>
                    <a:pt x="180" y="162"/>
                  </a:lnTo>
                  <a:lnTo>
                    <a:pt x="192" y="141"/>
                  </a:lnTo>
                  <a:lnTo>
                    <a:pt x="180" y="96"/>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0" name="Freeform 74"/>
            <p:cNvSpPr>
              <a:spLocks/>
            </p:cNvSpPr>
            <p:nvPr/>
          </p:nvSpPr>
          <p:spPr bwMode="auto">
            <a:xfrm>
              <a:off x="4486524" y="5154637"/>
              <a:ext cx="941387" cy="777875"/>
            </a:xfrm>
            <a:custGeom>
              <a:avLst/>
              <a:gdLst>
                <a:gd name="T0" fmla="*/ 81 w 671"/>
                <a:gd name="T1" fmla="*/ 27 h 560"/>
                <a:gd name="T2" fmla="*/ 85 w 671"/>
                <a:gd name="T3" fmla="*/ 15 h 560"/>
                <a:gd name="T4" fmla="*/ 110 w 671"/>
                <a:gd name="T5" fmla="*/ 21 h 560"/>
                <a:gd name="T6" fmla="*/ 109 w 671"/>
                <a:gd name="T7" fmla="*/ 12 h 560"/>
                <a:gd name="T8" fmla="*/ 120 w 671"/>
                <a:gd name="T9" fmla="*/ 4 h 560"/>
                <a:gd name="T10" fmla="*/ 148 w 671"/>
                <a:gd name="T11" fmla="*/ 0 h 560"/>
                <a:gd name="T12" fmla="*/ 174 w 671"/>
                <a:gd name="T13" fmla="*/ 4 h 560"/>
                <a:gd name="T14" fmla="*/ 171 w 671"/>
                <a:gd name="T15" fmla="*/ 13 h 560"/>
                <a:gd name="T16" fmla="*/ 163 w 671"/>
                <a:gd name="T17" fmla="*/ 27 h 560"/>
                <a:gd name="T18" fmla="*/ 204 w 671"/>
                <a:gd name="T19" fmla="*/ 19 h 560"/>
                <a:gd name="T20" fmla="*/ 221 w 671"/>
                <a:gd name="T21" fmla="*/ 21 h 560"/>
                <a:gd name="T22" fmla="*/ 220 w 671"/>
                <a:gd name="T23" fmla="*/ 11 h 560"/>
                <a:gd name="T24" fmla="*/ 248 w 671"/>
                <a:gd name="T25" fmla="*/ 17 h 560"/>
                <a:gd name="T26" fmla="*/ 265 w 671"/>
                <a:gd name="T27" fmla="*/ 27 h 560"/>
                <a:gd name="T28" fmla="*/ 268 w 671"/>
                <a:gd name="T29" fmla="*/ 51 h 560"/>
                <a:gd name="T30" fmla="*/ 257 w 671"/>
                <a:gd name="T31" fmla="*/ 64 h 560"/>
                <a:gd name="T32" fmla="*/ 232 w 671"/>
                <a:gd name="T33" fmla="*/ 80 h 560"/>
                <a:gd name="T34" fmla="*/ 221 w 671"/>
                <a:gd name="T35" fmla="*/ 82 h 560"/>
                <a:gd name="T36" fmla="*/ 214 w 671"/>
                <a:gd name="T37" fmla="*/ 85 h 560"/>
                <a:gd name="T38" fmla="*/ 194 w 671"/>
                <a:gd name="T39" fmla="*/ 89 h 560"/>
                <a:gd name="T40" fmla="*/ 180 w 671"/>
                <a:gd name="T41" fmla="*/ 92 h 560"/>
                <a:gd name="T42" fmla="*/ 143 w 671"/>
                <a:gd name="T43" fmla="*/ 88 h 560"/>
                <a:gd name="T44" fmla="*/ 148 w 671"/>
                <a:gd name="T45" fmla="*/ 108 h 560"/>
                <a:gd name="T46" fmla="*/ 124 w 671"/>
                <a:gd name="T47" fmla="*/ 123 h 560"/>
                <a:gd name="T48" fmla="*/ 101 w 671"/>
                <a:gd name="T49" fmla="*/ 129 h 560"/>
                <a:gd name="T50" fmla="*/ 71 w 671"/>
                <a:gd name="T51" fmla="*/ 139 h 560"/>
                <a:gd name="T52" fmla="*/ 27 w 671"/>
                <a:gd name="T53" fmla="*/ 154 h 560"/>
                <a:gd name="T54" fmla="*/ 34 w 671"/>
                <a:gd name="T55" fmla="*/ 178 h 560"/>
                <a:gd name="T56" fmla="*/ 13 w 671"/>
                <a:gd name="T57" fmla="*/ 184 h 560"/>
                <a:gd name="T58" fmla="*/ 5 w 671"/>
                <a:gd name="T59" fmla="*/ 149 h 560"/>
                <a:gd name="T60" fmla="*/ 13 w 671"/>
                <a:gd name="T61" fmla="*/ 133 h 560"/>
                <a:gd name="T62" fmla="*/ 24 w 671"/>
                <a:gd name="T63" fmla="*/ 125 h 560"/>
                <a:gd name="T64" fmla="*/ 37 w 671"/>
                <a:gd name="T65" fmla="*/ 106 h 560"/>
                <a:gd name="T66" fmla="*/ 59 w 671"/>
                <a:gd name="T67" fmla="*/ 76 h 560"/>
                <a:gd name="T68" fmla="*/ 74 w 671"/>
                <a:gd name="T69" fmla="*/ 53 h 560"/>
                <a:gd name="T70" fmla="*/ 74 w 671"/>
                <a:gd name="T71" fmla="*/ 31 h 5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71" h="560">
                  <a:moveTo>
                    <a:pt x="180" y="96"/>
                  </a:moveTo>
                  <a:lnTo>
                    <a:pt x="198" y="84"/>
                  </a:lnTo>
                  <a:lnTo>
                    <a:pt x="198" y="54"/>
                  </a:lnTo>
                  <a:lnTo>
                    <a:pt x="207" y="48"/>
                  </a:lnTo>
                  <a:lnTo>
                    <a:pt x="228" y="48"/>
                  </a:lnTo>
                  <a:lnTo>
                    <a:pt x="267" y="66"/>
                  </a:lnTo>
                  <a:lnTo>
                    <a:pt x="273" y="54"/>
                  </a:lnTo>
                  <a:lnTo>
                    <a:pt x="264" y="36"/>
                  </a:lnTo>
                  <a:lnTo>
                    <a:pt x="267" y="27"/>
                  </a:lnTo>
                  <a:lnTo>
                    <a:pt x="291" y="6"/>
                  </a:lnTo>
                  <a:lnTo>
                    <a:pt x="336" y="18"/>
                  </a:lnTo>
                  <a:lnTo>
                    <a:pt x="360" y="0"/>
                  </a:lnTo>
                  <a:lnTo>
                    <a:pt x="378" y="18"/>
                  </a:lnTo>
                  <a:lnTo>
                    <a:pt x="422" y="9"/>
                  </a:lnTo>
                  <a:lnTo>
                    <a:pt x="431" y="24"/>
                  </a:lnTo>
                  <a:lnTo>
                    <a:pt x="416" y="42"/>
                  </a:lnTo>
                  <a:lnTo>
                    <a:pt x="396" y="75"/>
                  </a:lnTo>
                  <a:lnTo>
                    <a:pt x="396" y="84"/>
                  </a:lnTo>
                  <a:lnTo>
                    <a:pt x="408" y="93"/>
                  </a:lnTo>
                  <a:lnTo>
                    <a:pt x="497" y="57"/>
                  </a:lnTo>
                  <a:lnTo>
                    <a:pt x="530" y="75"/>
                  </a:lnTo>
                  <a:lnTo>
                    <a:pt x="539" y="66"/>
                  </a:lnTo>
                  <a:lnTo>
                    <a:pt x="530" y="48"/>
                  </a:lnTo>
                  <a:lnTo>
                    <a:pt x="533" y="33"/>
                  </a:lnTo>
                  <a:lnTo>
                    <a:pt x="593" y="48"/>
                  </a:lnTo>
                  <a:lnTo>
                    <a:pt x="602" y="54"/>
                  </a:lnTo>
                  <a:lnTo>
                    <a:pt x="620" y="54"/>
                  </a:lnTo>
                  <a:lnTo>
                    <a:pt x="644" y="84"/>
                  </a:lnTo>
                  <a:lnTo>
                    <a:pt x="671" y="144"/>
                  </a:lnTo>
                  <a:lnTo>
                    <a:pt x="653" y="159"/>
                  </a:lnTo>
                  <a:lnTo>
                    <a:pt x="638" y="186"/>
                  </a:lnTo>
                  <a:lnTo>
                    <a:pt x="623" y="192"/>
                  </a:lnTo>
                  <a:lnTo>
                    <a:pt x="611" y="219"/>
                  </a:lnTo>
                  <a:lnTo>
                    <a:pt x="563" y="243"/>
                  </a:lnTo>
                  <a:lnTo>
                    <a:pt x="545" y="234"/>
                  </a:lnTo>
                  <a:lnTo>
                    <a:pt x="536" y="252"/>
                  </a:lnTo>
                  <a:lnTo>
                    <a:pt x="536" y="258"/>
                  </a:lnTo>
                  <a:lnTo>
                    <a:pt x="521" y="258"/>
                  </a:lnTo>
                  <a:lnTo>
                    <a:pt x="497" y="258"/>
                  </a:lnTo>
                  <a:lnTo>
                    <a:pt x="473" y="273"/>
                  </a:lnTo>
                  <a:lnTo>
                    <a:pt x="458" y="264"/>
                  </a:lnTo>
                  <a:lnTo>
                    <a:pt x="437" y="279"/>
                  </a:lnTo>
                  <a:lnTo>
                    <a:pt x="387" y="300"/>
                  </a:lnTo>
                  <a:lnTo>
                    <a:pt x="348" y="267"/>
                  </a:lnTo>
                  <a:lnTo>
                    <a:pt x="345" y="291"/>
                  </a:lnTo>
                  <a:lnTo>
                    <a:pt x="360" y="330"/>
                  </a:lnTo>
                  <a:lnTo>
                    <a:pt x="321" y="345"/>
                  </a:lnTo>
                  <a:lnTo>
                    <a:pt x="303" y="375"/>
                  </a:lnTo>
                  <a:lnTo>
                    <a:pt x="264" y="384"/>
                  </a:lnTo>
                  <a:lnTo>
                    <a:pt x="243" y="393"/>
                  </a:lnTo>
                  <a:lnTo>
                    <a:pt x="201" y="393"/>
                  </a:lnTo>
                  <a:lnTo>
                    <a:pt x="174" y="420"/>
                  </a:lnTo>
                  <a:lnTo>
                    <a:pt x="102" y="443"/>
                  </a:lnTo>
                  <a:lnTo>
                    <a:pt x="66" y="467"/>
                  </a:lnTo>
                  <a:lnTo>
                    <a:pt x="48" y="485"/>
                  </a:lnTo>
                  <a:lnTo>
                    <a:pt x="81" y="542"/>
                  </a:lnTo>
                  <a:lnTo>
                    <a:pt x="57" y="560"/>
                  </a:lnTo>
                  <a:lnTo>
                    <a:pt x="30" y="560"/>
                  </a:lnTo>
                  <a:lnTo>
                    <a:pt x="0" y="500"/>
                  </a:lnTo>
                  <a:lnTo>
                    <a:pt x="6" y="458"/>
                  </a:lnTo>
                  <a:lnTo>
                    <a:pt x="6" y="440"/>
                  </a:lnTo>
                  <a:lnTo>
                    <a:pt x="30" y="402"/>
                  </a:lnTo>
                  <a:lnTo>
                    <a:pt x="57" y="396"/>
                  </a:lnTo>
                  <a:lnTo>
                    <a:pt x="57" y="378"/>
                  </a:lnTo>
                  <a:lnTo>
                    <a:pt x="87" y="363"/>
                  </a:lnTo>
                  <a:lnTo>
                    <a:pt x="90" y="327"/>
                  </a:lnTo>
                  <a:lnTo>
                    <a:pt x="144" y="288"/>
                  </a:lnTo>
                  <a:lnTo>
                    <a:pt x="141" y="234"/>
                  </a:lnTo>
                  <a:lnTo>
                    <a:pt x="180" y="180"/>
                  </a:lnTo>
                  <a:lnTo>
                    <a:pt x="180" y="162"/>
                  </a:lnTo>
                  <a:lnTo>
                    <a:pt x="192" y="141"/>
                  </a:lnTo>
                  <a:lnTo>
                    <a:pt x="180" y="96"/>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1" name="Freeform 75"/>
            <p:cNvSpPr>
              <a:spLocks/>
            </p:cNvSpPr>
            <p:nvPr/>
          </p:nvSpPr>
          <p:spPr bwMode="auto">
            <a:xfrm>
              <a:off x="3780086" y="5080025"/>
              <a:ext cx="976313" cy="698500"/>
            </a:xfrm>
            <a:custGeom>
              <a:avLst/>
              <a:gdLst>
                <a:gd name="T0" fmla="*/ 13 w 695"/>
                <a:gd name="T1" fmla="*/ 64 h 503"/>
                <a:gd name="T2" fmla="*/ 32 w 695"/>
                <a:gd name="T3" fmla="*/ 57 h 503"/>
                <a:gd name="T4" fmla="*/ 60 w 695"/>
                <a:gd name="T5" fmla="*/ 64 h 503"/>
                <a:gd name="T6" fmla="*/ 66 w 695"/>
                <a:gd name="T7" fmla="*/ 51 h 503"/>
                <a:gd name="T8" fmla="*/ 109 w 695"/>
                <a:gd name="T9" fmla="*/ 39 h 503"/>
                <a:gd name="T10" fmla="*/ 142 w 695"/>
                <a:gd name="T11" fmla="*/ 33 h 503"/>
                <a:gd name="T12" fmla="*/ 156 w 695"/>
                <a:gd name="T13" fmla="*/ 36 h 503"/>
                <a:gd name="T14" fmla="*/ 167 w 695"/>
                <a:gd name="T15" fmla="*/ 29 h 503"/>
                <a:gd name="T16" fmla="*/ 172 w 695"/>
                <a:gd name="T17" fmla="*/ 21 h 503"/>
                <a:gd name="T18" fmla="*/ 186 w 695"/>
                <a:gd name="T19" fmla="*/ 13 h 503"/>
                <a:gd name="T20" fmla="*/ 204 w 695"/>
                <a:gd name="T21" fmla="*/ 6 h 503"/>
                <a:gd name="T22" fmla="*/ 212 w 695"/>
                <a:gd name="T23" fmla="*/ 13 h 503"/>
                <a:gd name="T24" fmla="*/ 231 w 695"/>
                <a:gd name="T25" fmla="*/ 4 h 503"/>
                <a:gd name="T26" fmla="*/ 251 w 695"/>
                <a:gd name="T27" fmla="*/ 4 h 503"/>
                <a:gd name="T28" fmla="*/ 260 w 695"/>
                <a:gd name="T29" fmla="*/ 15 h 503"/>
                <a:gd name="T30" fmla="*/ 248 w 695"/>
                <a:gd name="T31" fmla="*/ 36 h 503"/>
                <a:gd name="T32" fmla="*/ 248 w 695"/>
                <a:gd name="T33" fmla="*/ 46 h 503"/>
                <a:gd name="T34" fmla="*/ 266 w 695"/>
                <a:gd name="T35" fmla="*/ 53 h 503"/>
                <a:gd name="T36" fmla="*/ 281 w 695"/>
                <a:gd name="T37" fmla="*/ 49 h 503"/>
                <a:gd name="T38" fmla="*/ 281 w 695"/>
                <a:gd name="T39" fmla="*/ 72 h 503"/>
                <a:gd name="T40" fmla="*/ 265 w 695"/>
                <a:gd name="T41" fmla="*/ 95 h 503"/>
                <a:gd name="T42" fmla="*/ 244 w 695"/>
                <a:gd name="T43" fmla="*/ 125 h 503"/>
                <a:gd name="T44" fmla="*/ 231 w 695"/>
                <a:gd name="T45" fmla="*/ 141 h 503"/>
                <a:gd name="T46" fmla="*/ 220 w 695"/>
                <a:gd name="T47" fmla="*/ 149 h 503"/>
                <a:gd name="T48" fmla="*/ 185 w 695"/>
                <a:gd name="T49" fmla="*/ 166 h 503"/>
                <a:gd name="T50" fmla="*/ 159 w 695"/>
                <a:gd name="T51" fmla="*/ 154 h 503"/>
                <a:gd name="T52" fmla="*/ 132 w 695"/>
                <a:gd name="T53" fmla="*/ 164 h 503"/>
                <a:gd name="T54" fmla="*/ 88 w 695"/>
                <a:gd name="T55" fmla="*/ 151 h 503"/>
                <a:gd name="T56" fmla="*/ 92 w 695"/>
                <a:gd name="T57" fmla="*/ 128 h 503"/>
                <a:gd name="T58" fmla="*/ 71 w 695"/>
                <a:gd name="T59" fmla="*/ 123 h 503"/>
                <a:gd name="T60" fmla="*/ 57 w 695"/>
                <a:gd name="T61" fmla="*/ 123 h 503"/>
                <a:gd name="T62" fmla="*/ 49 w 695"/>
                <a:gd name="T63" fmla="*/ 106 h 503"/>
                <a:gd name="T64" fmla="*/ 61 w 695"/>
                <a:gd name="T65" fmla="*/ 103 h 503"/>
                <a:gd name="T66" fmla="*/ 60 w 695"/>
                <a:gd name="T67" fmla="*/ 88 h 503"/>
                <a:gd name="T68" fmla="*/ 24 w 695"/>
                <a:gd name="T69" fmla="*/ 76 h 503"/>
                <a:gd name="T70" fmla="*/ 5 w 695"/>
                <a:gd name="T71" fmla="*/ 76 h 503"/>
                <a:gd name="T72" fmla="*/ 0 w 695"/>
                <a:gd name="T73" fmla="*/ 64 h 5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95" h="503">
                  <a:moveTo>
                    <a:pt x="0" y="192"/>
                  </a:moveTo>
                  <a:lnTo>
                    <a:pt x="30" y="195"/>
                  </a:lnTo>
                  <a:lnTo>
                    <a:pt x="63" y="165"/>
                  </a:lnTo>
                  <a:lnTo>
                    <a:pt x="75" y="174"/>
                  </a:lnTo>
                  <a:lnTo>
                    <a:pt x="138" y="198"/>
                  </a:lnTo>
                  <a:lnTo>
                    <a:pt x="147" y="192"/>
                  </a:lnTo>
                  <a:lnTo>
                    <a:pt x="150" y="171"/>
                  </a:lnTo>
                  <a:lnTo>
                    <a:pt x="162" y="159"/>
                  </a:lnTo>
                  <a:lnTo>
                    <a:pt x="248" y="102"/>
                  </a:lnTo>
                  <a:lnTo>
                    <a:pt x="263" y="120"/>
                  </a:lnTo>
                  <a:lnTo>
                    <a:pt x="317" y="138"/>
                  </a:lnTo>
                  <a:lnTo>
                    <a:pt x="344" y="99"/>
                  </a:lnTo>
                  <a:lnTo>
                    <a:pt x="359" y="108"/>
                  </a:lnTo>
                  <a:lnTo>
                    <a:pt x="380" y="108"/>
                  </a:lnTo>
                  <a:lnTo>
                    <a:pt x="380" y="96"/>
                  </a:lnTo>
                  <a:lnTo>
                    <a:pt x="407" y="87"/>
                  </a:lnTo>
                  <a:lnTo>
                    <a:pt x="407" y="78"/>
                  </a:lnTo>
                  <a:lnTo>
                    <a:pt x="419" y="66"/>
                  </a:lnTo>
                  <a:lnTo>
                    <a:pt x="425" y="69"/>
                  </a:lnTo>
                  <a:lnTo>
                    <a:pt x="452" y="42"/>
                  </a:lnTo>
                  <a:lnTo>
                    <a:pt x="476" y="48"/>
                  </a:lnTo>
                  <a:lnTo>
                    <a:pt x="497" y="18"/>
                  </a:lnTo>
                  <a:lnTo>
                    <a:pt x="509" y="42"/>
                  </a:lnTo>
                  <a:lnTo>
                    <a:pt x="515" y="39"/>
                  </a:lnTo>
                  <a:lnTo>
                    <a:pt x="551" y="6"/>
                  </a:lnTo>
                  <a:lnTo>
                    <a:pt x="560" y="6"/>
                  </a:lnTo>
                  <a:lnTo>
                    <a:pt x="578" y="0"/>
                  </a:lnTo>
                  <a:lnTo>
                    <a:pt x="608" y="6"/>
                  </a:lnTo>
                  <a:lnTo>
                    <a:pt x="608" y="39"/>
                  </a:lnTo>
                  <a:lnTo>
                    <a:pt x="629" y="45"/>
                  </a:lnTo>
                  <a:lnTo>
                    <a:pt x="623" y="75"/>
                  </a:lnTo>
                  <a:lnTo>
                    <a:pt x="602" y="108"/>
                  </a:lnTo>
                  <a:lnTo>
                    <a:pt x="593" y="138"/>
                  </a:lnTo>
                  <a:lnTo>
                    <a:pt x="602" y="138"/>
                  </a:lnTo>
                  <a:lnTo>
                    <a:pt x="626" y="117"/>
                  </a:lnTo>
                  <a:lnTo>
                    <a:pt x="647" y="162"/>
                  </a:lnTo>
                  <a:lnTo>
                    <a:pt x="665" y="150"/>
                  </a:lnTo>
                  <a:lnTo>
                    <a:pt x="683" y="150"/>
                  </a:lnTo>
                  <a:lnTo>
                    <a:pt x="695" y="195"/>
                  </a:lnTo>
                  <a:lnTo>
                    <a:pt x="683" y="216"/>
                  </a:lnTo>
                  <a:lnTo>
                    <a:pt x="683" y="234"/>
                  </a:lnTo>
                  <a:lnTo>
                    <a:pt x="644" y="288"/>
                  </a:lnTo>
                  <a:lnTo>
                    <a:pt x="647" y="342"/>
                  </a:lnTo>
                  <a:lnTo>
                    <a:pt x="593" y="381"/>
                  </a:lnTo>
                  <a:lnTo>
                    <a:pt x="590" y="417"/>
                  </a:lnTo>
                  <a:lnTo>
                    <a:pt x="560" y="432"/>
                  </a:lnTo>
                  <a:lnTo>
                    <a:pt x="560" y="450"/>
                  </a:lnTo>
                  <a:lnTo>
                    <a:pt x="533" y="456"/>
                  </a:lnTo>
                  <a:lnTo>
                    <a:pt x="509" y="494"/>
                  </a:lnTo>
                  <a:lnTo>
                    <a:pt x="449" y="503"/>
                  </a:lnTo>
                  <a:lnTo>
                    <a:pt x="419" y="479"/>
                  </a:lnTo>
                  <a:lnTo>
                    <a:pt x="386" y="468"/>
                  </a:lnTo>
                  <a:lnTo>
                    <a:pt x="353" y="497"/>
                  </a:lnTo>
                  <a:lnTo>
                    <a:pt x="320" y="500"/>
                  </a:lnTo>
                  <a:lnTo>
                    <a:pt x="287" y="503"/>
                  </a:lnTo>
                  <a:lnTo>
                    <a:pt x="215" y="462"/>
                  </a:lnTo>
                  <a:lnTo>
                    <a:pt x="203" y="426"/>
                  </a:lnTo>
                  <a:lnTo>
                    <a:pt x="221" y="390"/>
                  </a:lnTo>
                  <a:lnTo>
                    <a:pt x="200" y="375"/>
                  </a:lnTo>
                  <a:lnTo>
                    <a:pt x="173" y="375"/>
                  </a:lnTo>
                  <a:lnTo>
                    <a:pt x="165" y="366"/>
                  </a:lnTo>
                  <a:lnTo>
                    <a:pt x="138" y="375"/>
                  </a:lnTo>
                  <a:lnTo>
                    <a:pt x="108" y="354"/>
                  </a:lnTo>
                  <a:lnTo>
                    <a:pt x="120" y="321"/>
                  </a:lnTo>
                  <a:lnTo>
                    <a:pt x="141" y="318"/>
                  </a:lnTo>
                  <a:lnTo>
                    <a:pt x="150" y="312"/>
                  </a:lnTo>
                  <a:lnTo>
                    <a:pt x="159" y="282"/>
                  </a:lnTo>
                  <a:lnTo>
                    <a:pt x="147" y="267"/>
                  </a:lnTo>
                  <a:lnTo>
                    <a:pt x="72" y="252"/>
                  </a:lnTo>
                  <a:lnTo>
                    <a:pt x="57" y="231"/>
                  </a:lnTo>
                  <a:lnTo>
                    <a:pt x="36" y="231"/>
                  </a:lnTo>
                  <a:lnTo>
                    <a:pt x="15" y="231"/>
                  </a:lnTo>
                  <a:lnTo>
                    <a:pt x="0" y="204"/>
                  </a:lnTo>
                  <a:lnTo>
                    <a:pt x="0" y="19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2" name="Freeform 76"/>
            <p:cNvSpPr>
              <a:spLocks/>
            </p:cNvSpPr>
            <p:nvPr/>
          </p:nvSpPr>
          <p:spPr bwMode="auto">
            <a:xfrm>
              <a:off x="3780086" y="5080025"/>
              <a:ext cx="976313" cy="698500"/>
            </a:xfrm>
            <a:custGeom>
              <a:avLst/>
              <a:gdLst>
                <a:gd name="T0" fmla="*/ 13 w 695"/>
                <a:gd name="T1" fmla="*/ 64 h 503"/>
                <a:gd name="T2" fmla="*/ 32 w 695"/>
                <a:gd name="T3" fmla="*/ 57 h 503"/>
                <a:gd name="T4" fmla="*/ 60 w 695"/>
                <a:gd name="T5" fmla="*/ 64 h 503"/>
                <a:gd name="T6" fmla="*/ 66 w 695"/>
                <a:gd name="T7" fmla="*/ 51 h 503"/>
                <a:gd name="T8" fmla="*/ 109 w 695"/>
                <a:gd name="T9" fmla="*/ 39 h 503"/>
                <a:gd name="T10" fmla="*/ 142 w 695"/>
                <a:gd name="T11" fmla="*/ 33 h 503"/>
                <a:gd name="T12" fmla="*/ 156 w 695"/>
                <a:gd name="T13" fmla="*/ 36 h 503"/>
                <a:gd name="T14" fmla="*/ 167 w 695"/>
                <a:gd name="T15" fmla="*/ 29 h 503"/>
                <a:gd name="T16" fmla="*/ 172 w 695"/>
                <a:gd name="T17" fmla="*/ 21 h 503"/>
                <a:gd name="T18" fmla="*/ 186 w 695"/>
                <a:gd name="T19" fmla="*/ 13 h 503"/>
                <a:gd name="T20" fmla="*/ 204 w 695"/>
                <a:gd name="T21" fmla="*/ 6 h 503"/>
                <a:gd name="T22" fmla="*/ 212 w 695"/>
                <a:gd name="T23" fmla="*/ 13 h 503"/>
                <a:gd name="T24" fmla="*/ 231 w 695"/>
                <a:gd name="T25" fmla="*/ 4 h 503"/>
                <a:gd name="T26" fmla="*/ 251 w 695"/>
                <a:gd name="T27" fmla="*/ 4 h 503"/>
                <a:gd name="T28" fmla="*/ 260 w 695"/>
                <a:gd name="T29" fmla="*/ 15 h 503"/>
                <a:gd name="T30" fmla="*/ 248 w 695"/>
                <a:gd name="T31" fmla="*/ 36 h 503"/>
                <a:gd name="T32" fmla="*/ 248 w 695"/>
                <a:gd name="T33" fmla="*/ 46 h 503"/>
                <a:gd name="T34" fmla="*/ 266 w 695"/>
                <a:gd name="T35" fmla="*/ 53 h 503"/>
                <a:gd name="T36" fmla="*/ 281 w 695"/>
                <a:gd name="T37" fmla="*/ 49 h 503"/>
                <a:gd name="T38" fmla="*/ 281 w 695"/>
                <a:gd name="T39" fmla="*/ 72 h 503"/>
                <a:gd name="T40" fmla="*/ 265 w 695"/>
                <a:gd name="T41" fmla="*/ 95 h 503"/>
                <a:gd name="T42" fmla="*/ 244 w 695"/>
                <a:gd name="T43" fmla="*/ 125 h 503"/>
                <a:gd name="T44" fmla="*/ 231 w 695"/>
                <a:gd name="T45" fmla="*/ 141 h 503"/>
                <a:gd name="T46" fmla="*/ 220 w 695"/>
                <a:gd name="T47" fmla="*/ 149 h 503"/>
                <a:gd name="T48" fmla="*/ 185 w 695"/>
                <a:gd name="T49" fmla="*/ 166 h 503"/>
                <a:gd name="T50" fmla="*/ 159 w 695"/>
                <a:gd name="T51" fmla="*/ 154 h 503"/>
                <a:gd name="T52" fmla="*/ 132 w 695"/>
                <a:gd name="T53" fmla="*/ 164 h 503"/>
                <a:gd name="T54" fmla="*/ 88 w 695"/>
                <a:gd name="T55" fmla="*/ 151 h 503"/>
                <a:gd name="T56" fmla="*/ 92 w 695"/>
                <a:gd name="T57" fmla="*/ 128 h 503"/>
                <a:gd name="T58" fmla="*/ 71 w 695"/>
                <a:gd name="T59" fmla="*/ 123 h 503"/>
                <a:gd name="T60" fmla="*/ 57 w 695"/>
                <a:gd name="T61" fmla="*/ 123 h 503"/>
                <a:gd name="T62" fmla="*/ 49 w 695"/>
                <a:gd name="T63" fmla="*/ 106 h 503"/>
                <a:gd name="T64" fmla="*/ 61 w 695"/>
                <a:gd name="T65" fmla="*/ 103 h 503"/>
                <a:gd name="T66" fmla="*/ 60 w 695"/>
                <a:gd name="T67" fmla="*/ 88 h 503"/>
                <a:gd name="T68" fmla="*/ 24 w 695"/>
                <a:gd name="T69" fmla="*/ 76 h 503"/>
                <a:gd name="T70" fmla="*/ 5 w 695"/>
                <a:gd name="T71" fmla="*/ 76 h 503"/>
                <a:gd name="T72" fmla="*/ 0 w 695"/>
                <a:gd name="T73" fmla="*/ 64 h 5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95" h="503">
                  <a:moveTo>
                    <a:pt x="0" y="192"/>
                  </a:moveTo>
                  <a:lnTo>
                    <a:pt x="30" y="195"/>
                  </a:lnTo>
                  <a:lnTo>
                    <a:pt x="63" y="165"/>
                  </a:lnTo>
                  <a:lnTo>
                    <a:pt x="75" y="174"/>
                  </a:lnTo>
                  <a:lnTo>
                    <a:pt x="138" y="198"/>
                  </a:lnTo>
                  <a:lnTo>
                    <a:pt x="147" y="192"/>
                  </a:lnTo>
                  <a:lnTo>
                    <a:pt x="150" y="171"/>
                  </a:lnTo>
                  <a:lnTo>
                    <a:pt x="162" y="159"/>
                  </a:lnTo>
                  <a:lnTo>
                    <a:pt x="248" y="102"/>
                  </a:lnTo>
                  <a:lnTo>
                    <a:pt x="263" y="120"/>
                  </a:lnTo>
                  <a:lnTo>
                    <a:pt x="317" y="138"/>
                  </a:lnTo>
                  <a:lnTo>
                    <a:pt x="344" y="99"/>
                  </a:lnTo>
                  <a:lnTo>
                    <a:pt x="359" y="108"/>
                  </a:lnTo>
                  <a:lnTo>
                    <a:pt x="380" y="108"/>
                  </a:lnTo>
                  <a:lnTo>
                    <a:pt x="380" y="96"/>
                  </a:lnTo>
                  <a:lnTo>
                    <a:pt x="407" y="87"/>
                  </a:lnTo>
                  <a:lnTo>
                    <a:pt x="407" y="78"/>
                  </a:lnTo>
                  <a:lnTo>
                    <a:pt x="419" y="66"/>
                  </a:lnTo>
                  <a:lnTo>
                    <a:pt x="425" y="69"/>
                  </a:lnTo>
                  <a:lnTo>
                    <a:pt x="452" y="42"/>
                  </a:lnTo>
                  <a:lnTo>
                    <a:pt x="476" y="48"/>
                  </a:lnTo>
                  <a:lnTo>
                    <a:pt x="497" y="18"/>
                  </a:lnTo>
                  <a:lnTo>
                    <a:pt x="509" y="42"/>
                  </a:lnTo>
                  <a:lnTo>
                    <a:pt x="515" y="39"/>
                  </a:lnTo>
                  <a:lnTo>
                    <a:pt x="551" y="6"/>
                  </a:lnTo>
                  <a:lnTo>
                    <a:pt x="560" y="6"/>
                  </a:lnTo>
                  <a:lnTo>
                    <a:pt x="578" y="0"/>
                  </a:lnTo>
                  <a:lnTo>
                    <a:pt x="608" y="6"/>
                  </a:lnTo>
                  <a:lnTo>
                    <a:pt x="608" y="39"/>
                  </a:lnTo>
                  <a:lnTo>
                    <a:pt x="629" y="45"/>
                  </a:lnTo>
                  <a:lnTo>
                    <a:pt x="623" y="75"/>
                  </a:lnTo>
                  <a:lnTo>
                    <a:pt x="602" y="108"/>
                  </a:lnTo>
                  <a:lnTo>
                    <a:pt x="593" y="138"/>
                  </a:lnTo>
                  <a:lnTo>
                    <a:pt x="602" y="138"/>
                  </a:lnTo>
                  <a:lnTo>
                    <a:pt x="626" y="117"/>
                  </a:lnTo>
                  <a:lnTo>
                    <a:pt x="647" y="162"/>
                  </a:lnTo>
                  <a:lnTo>
                    <a:pt x="665" y="150"/>
                  </a:lnTo>
                  <a:lnTo>
                    <a:pt x="683" y="150"/>
                  </a:lnTo>
                  <a:lnTo>
                    <a:pt x="695" y="195"/>
                  </a:lnTo>
                  <a:lnTo>
                    <a:pt x="683" y="216"/>
                  </a:lnTo>
                  <a:lnTo>
                    <a:pt x="683" y="234"/>
                  </a:lnTo>
                  <a:lnTo>
                    <a:pt x="644" y="288"/>
                  </a:lnTo>
                  <a:lnTo>
                    <a:pt x="647" y="342"/>
                  </a:lnTo>
                  <a:lnTo>
                    <a:pt x="593" y="381"/>
                  </a:lnTo>
                  <a:lnTo>
                    <a:pt x="590" y="417"/>
                  </a:lnTo>
                  <a:lnTo>
                    <a:pt x="560" y="432"/>
                  </a:lnTo>
                  <a:lnTo>
                    <a:pt x="560" y="450"/>
                  </a:lnTo>
                  <a:lnTo>
                    <a:pt x="533" y="456"/>
                  </a:lnTo>
                  <a:lnTo>
                    <a:pt x="509" y="494"/>
                  </a:lnTo>
                  <a:lnTo>
                    <a:pt x="449" y="503"/>
                  </a:lnTo>
                  <a:lnTo>
                    <a:pt x="419" y="479"/>
                  </a:lnTo>
                  <a:lnTo>
                    <a:pt x="386" y="468"/>
                  </a:lnTo>
                  <a:lnTo>
                    <a:pt x="353" y="497"/>
                  </a:lnTo>
                  <a:lnTo>
                    <a:pt x="320" y="500"/>
                  </a:lnTo>
                  <a:lnTo>
                    <a:pt x="287" y="503"/>
                  </a:lnTo>
                  <a:lnTo>
                    <a:pt x="215" y="462"/>
                  </a:lnTo>
                  <a:lnTo>
                    <a:pt x="203" y="426"/>
                  </a:lnTo>
                  <a:lnTo>
                    <a:pt x="221" y="390"/>
                  </a:lnTo>
                  <a:lnTo>
                    <a:pt x="200" y="375"/>
                  </a:lnTo>
                  <a:lnTo>
                    <a:pt x="173" y="375"/>
                  </a:lnTo>
                  <a:lnTo>
                    <a:pt x="165" y="366"/>
                  </a:lnTo>
                  <a:lnTo>
                    <a:pt x="138" y="375"/>
                  </a:lnTo>
                  <a:lnTo>
                    <a:pt x="108" y="354"/>
                  </a:lnTo>
                  <a:lnTo>
                    <a:pt x="120" y="321"/>
                  </a:lnTo>
                  <a:lnTo>
                    <a:pt x="141" y="318"/>
                  </a:lnTo>
                  <a:lnTo>
                    <a:pt x="150" y="312"/>
                  </a:lnTo>
                  <a:lnTo>
                    <a:pt x="159" y="282"/>
                  </a:lnTo>
                  <a:lnTo>
                    <a:pt x="147" y="267"/>
                  </a:lnTo>
                  <a:lnTo>
                    <a:pt x="72" y="252"/>
                  </a:lnTo>
                  <a:lnTo>
                    <a:pt x="57" y="231"/>
                  </a:lnTo>
                  <a:lnTo>
                    <a:pt x="36" y="231"/>
                  </a:lnTo>
                  <a:lnTo>
                    <a:pt x="15" y="231"/>
                  </a:lnTo>
                  <a:lnTo>
                    <a:pt x="0" y="204"/>
                  </a:lnTo>
                  <a:lnTo>
                    <a:pt x="0" y="192"/>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3" name="Freeform 77"/>
            <p:cNvSpPr>
              <a:spLocks/>
            </p:cNvSpPr>
            <p:nvPr/>
          </p:nvSpPr>
          <p:spPr bwMode="auto">
            <a:xfrm>
              <a:off x="4364286" y="5953150"/>
              <a:ext cx="312738" cy="284162"/>
            </a:xfrm>
            <a:custGeom>
              <a:avLst/>
              <a:gdLst>
                <a:gd name="T0" fmla="*/ 91 w 222"/>
                <a:gd name="T1" fmla="*/ 12 h 204"/>
                <a:gd name="T2" fmla="*/ 73 w 222"/>
                <a:gd name="T3" fmla="*/ 37 h 204"/>
                <a:gd name="T4" fmla="*/ 73 w 222"/>
                <a:gd name="T5" fmla="*/ 47 h 204"/>
                <a:gd name="T6" fmla="*/ 40 w 222"/>
                <a:gd name="T7" fmla="*/ 68 h 204"/>
                <a:gd name="T8" fmla="*/ 5 w 222"/>
                <a:gd name="T9" fmla="*/ 59 h 204"/>
                <a:gd name="T10" fmla="*/ 0 w 222"/>
                <a:gd name="T11" fmla="*/ 39 h 204"/>
                <a:gd name="T12" fmla="*/ 3 w 222"/>
                <a:gd name="T13" fmla="*/ 31 h 204"/>
                <a:gd name="T14" fmla="*/ 21 w 222"/>
                <a:gd name="T15" fmla="*/ 14 h 204"/>
                <a:gd name="T16" fmla="*/ 27 w 222"/>
                <a:gd name="T17" fmla="*/ 11 h 204"/>
                <a:gd name="T18" fmla="*/ 58 w 222"/>
                <a:gd name="T19" fmla="*/ 6 h 204"/>
                <a:gd name="T20" fmla="*/ 71 w 222"/>
                <a:gd name="T21" fmla="*/ 4 h 204"/>
                <a:gd name="T22" fmla="*/ 76 w 222"/>
                <a:gd name="T23" fmla="*/ 0 h 204"/>
                <a:gd name="T24" fmla="*/ 85 w 222"/>
                <a:gd name="T25" fmla="*/ 4 h 204"/>
                <a:gd name="T26" fmla="*/ 91 w 222"/>
                <a:gd name="T27" fmla="*/ 1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22" h="204">
                  <a:moveTo>
                    <a:pt x="222" y="36"/>
                  </a:moveTo>
                  <a:lnTo>
                    <a:pt x="180" y="108"/>
                  </a:lnTo>
                  <a:lnTo>
                    <a:pt x="180" y="138"/>
                  </a:lnTo>
                  <a:lnTo>
                    <a:pt x="99" y="204"/>
                  </a:lnTo>
                  <a:lnTo>
                    <a:pt x="15" y="177"/>
                  </a:lnTo>
                  <a:lnTo>
                    <a:pt x="0" y="117"/>
                  </a:lnTo>
                  <a:lnTo>
                    <a:pt x="3" y="90"/>
                  </a:lnTo>
                  <a:lnTo>
                    <a:pt x="51" y="42"/>
                  </a:lnTo>
                  <a:lnTo>
                    <a:pt x="66" y="30"/>
                  </a:lnTo>
                  <a:lnTo>
                    <a:pt x="141" y="18"/>
                  </a:lnTo>
                  <a:lnTo>
                    <a:pt x="174" y="15"/>
                  </a:lnTo>
                  <a:lnTo>
                    <a:pt x="186" y="0"/>
                  </a:lnTo>
                  <a:lnTo>
                    <a:pt x="210" y="6"/>
                  </a:lnTo>
                  <a:lnTo>
                    <a:pt x="222" y="36"/>
                  </a:lnTo>
                  <a:close/>
                </a:path>
              </a:pathLst>
            </a:custGeom>
            <a:solidFill>
              <a:schemeClr val="bg1">
                <a:lumMod val="75000"/>
              </a:schemeClr>
            </a:solidFill>
            <a:ln w="0">
              <a:solidFill>
                <a:srgbClr val="000000">
                  <a:lumMod val="50000"/>
                  <a:lumOff val="50000"/>
                </a:srgb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4" name="Freeform 78"/>
            <p:cNvSpPr>
              <a:spLocks/>
            </p:cNvSpPr>
            <p:nvPr/>
          </p:nvSpPr>
          <p:spPr bwMode="auto">
            <a:xfrm>
              <a:off x="4364286" y="5953150"/>
              <a:ext cx="312738" cy="284162"/>
            </a:xfrm>
            <a:custGeom>
              <a:avLst/>
              <a:gdLst>
                <a:gd name="T0" fmla="*/ 91 w 222"/>
                <a:gd name="T1" fmla="*/ 12 h 204"/>
                <a:gd name="T2" fmla="*/ 73 w 222"/>
                <a:gd name="T3" fmla="*/ 37 h 204"/>
                <a:gd name="T4" fmla="*/ 73 w 222"/>
                <a:gd name="T5" fmla="*/ 47 h 204"/>
                <a:gd name="T6" fmla="*/ 40 w 222"/>
                <a:gd name="T7" fmla="*/ 68 h 204"/>
                <a:gd name="T8" fmla="*/ 5 w 222"/>
                <a:gd name="T9" fmla="*/ 59 h 204"/>
                <a:gd name="T10" fmla="*/ 0 w 222"/>
                <a:gd name="T11" fmla="*/ 39 h 204"/>
                <a:gd name="T12" fmla="*/ 3 w 222"/>
                <a:gd name="T13" fmla="*/ 31 h 204"/>
                <a:gd name="T14" fmla="*/ 21 w 222"/>
                <a:gd name="T15" fmla="*/ 14 h 204"/>
                <a:gd name="T16" fmla="*/ 27 w 222"/>
                <a:gd name="T17" fmla="*/ 11 h 204"/>
                <a:gd name="T18" fmla="*/ 58 w 222"/>
                <a:gd name="T19" fmla="*/ 6 h 204"/>
                <a:gd name="T20" fmla="*/ 71 w 222"/>
                <a:gd name="T21" fmla="*/ 4 h 204"/>
                <a:gd name="T22" fmla="*/ 76 w 222"/>
                <a:gd name="T23" fmla="*/ 0 h 204"/>
                <a:gd name="T24" fmla="*/ 85 w 222"/>
                <a:gd name="T25" fmla="*/ 4 h 204"/>
                <a:gd name="T26" fmla="*/ 91 w 222"/>
                <a:gd name="T27" fmla="*/ 1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22" h="204">
                  <a:moveTo>
                    <a:pt x="222" y="36"/>
                  </a:moveTo>
                  <a:lnTo>
                    <a:pt x="180" y="108"/>
                  </a:lnTo>
                  <a:lnTo>
                    <a:pt x="180" y="138"/>
                  </a:lnTo>
                  <a:lnTo>
                    <a:pt x="99" y="204"/>
                  </a:lnTo>
                  <a:lnTo>
                    <a:pt x="15" y="177"/>
                  </a:lnTo>
                  <a:lnTo>
                    <a:pt x="0" y="117"/>
                  </a:lnTo>
                  <a:lnTo>
                    <a:pt x="3" y="90"/>
                  </a:lnTo>
                  <a:lnTo>
                    <a:pt x="51" y="42"/>
                  </a:lnTo>
                  <a:lnTo>
                    <a:pt x="66" y="30"/>
                  </a:lnTo>
                  <a:lnTo>
                    <a:pt x="141" y="18"/>
                  </a:lnTo>
                  <a:lnTo>
                    <a:pt x="174" y="15"/>
                  </a:lnTo>
                  <a:lnTo>
                    <a:pt x="186" y="0"/>
                  </a:lnTo>
                  <a:lnTo>
                    <a:pt x="210" y="6"/>
                  </a:lnTo>
                  <a:lnTo>
                    <a:pt x="222" y="36"/>
                  </a:lnTo>
                </a:path>
              </a:pathLst>
            </a:custGeom>
            <a:solidFill>
              <a:schemeClr val="bg1">
                <a:lumMod val="75000"/>
              </a:schemeClr>
            </a:solidFill>
            <a:ln w="9525">
              <a:solidFill>
                <a:srgbClr val="000000">
                  <a:lumMod val="50000"/>
                  <a:lumOff val="50000"/>
                </a:srgb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5" name="Freeform 79"/>
            <p:cNvSpPr>
              <a:spLocks/>
            </p:cNvSpPr>
            <p:nvPr/>
          </p:nvSpPr>
          <p:spPr bwMode="auto">
            <a:xfrm>
              <a:off x="2881561" y="4710137"/>
              <a:ext cx="1122363" cy="1147763"/>
            </a:xfrm>
            <a:custGeom>
              <a:avLst/>
              <a:gdLst>
                <a:gd name="T0" fmla="*/ 287 w 800"/>
                <a:gd name="T1" fmla="*/ 42 h 827"/>
                <a:gd name="T2" fmla="*/ 265 w 800"/>
                <a:gd name="T3" fmla="*/ 46 h 827"/>
                <a:gd name="T4" fmla="*/ 255 w 800"/>
                <a:gd name="T5" fmla="*/ 33 h 827"/>
                <a:gd name="T6" fmla="*/ 251 w 800"/>
                <a:gd name="T7" fmla="*/ 24 h 827"/>
                <a:gd name="T8" fmla="*/ 232 w 800"/>
                <a:gd name="T9" fmla="*/ 24 h 827"/>
                <a:gd name="T10" fmla="*/ 224 w 800"/>
                <a:gd name="T11" fmla="*/ 36 h 827"/>
                <a:gd name="T12" fmla="*/ 224 w 800"/>
                <a:gd name="T13" fmla="*/ 47 h 827"/>
                <a:gd name="T14" fmla="*/ 204 w 800"/>
                <a:gd name="T15" fmla="*/ 95 h 827"/>
                <a:gd name="T16" fmla="*/ 188 w 800"/>
                <a:gd name="T17" fmla="*/ 98 h 827"/>
                <a:gd name="T18" fmla="*/ 157 w 800"/>
                <a:gd name="T19" fmla="*/ 106 h 827"/>
                <a:gd name="T20" fmla="*/ 113 w 800"/>
                <a:gd name="T21" fmla="*/ 46 h 827"/>
                <a:gd name="T22" fmla="*/ 94 w 800"/>
                <a:gd name="T23" fmla="*/ 37 h 827"/>
                <a:gd name="T24" fmla="*/ 93 w 800"/>
                <a:gd name="T25" fmla="*/ 24 h 827"/>
                <a:gd name="T26" fmla="*/ 70 w 800"/>
                <a:gd name="T27" fmla="*/ 33 h 827"/>
                <a:gd name="T28" fmla="*/ 60 w 800"/>
                <a:gd name="T29" fmla="*/ 0 h 827"/>
                <a:gd name="T30" fmla="*/ 45 w 800"/>
                <a:gd name="T31" fmla="*/ 13 h 827"/>
                <a:gd name="T32" fmla="*/ 43 w 800"/>
                <a:gd name="T33" fmla="*/ 34 h 827"/>
                <a:gd name="T34" fmla="*/ 33 w 800"/>
                <a:gd name="T35" fmla="*/ 30 h 827"/>
                <a:gd name="T36" fmla="*/ 33 w 800"/>
                <a:gd name="T37" fmla="*/ 55 h 827"/>
                <a:gd name="T38" fmla="*/ 45 w 800"/>
                <a:gd name="T39" fmla="*/ 57 h 827"/>
                <a:gd name="T40" fmla="*/ 44 w 800"/>
                <a:gd name="T41" fmla="*/ 112 h 827"/>
                <a:gd name="T42" fmla="*/ 7 w 800"/>
                <a:gd name="T43" fmla="*/ 147 h 827"/>
                <a:gd name="T44" fmla="*/ 0 w 800"/>
                <a:gd name="T45" fmla="*/ 156 h 827"/>
                <a:gd name="T46" fmla="*/ 0 w 800"/>
                <a:gd name="T47" fmla="*/ 177 h 827"/>
                <a:gd name="T48" fmla="*/ 21 w 800"/>
                <a:gd name="T49" fmla="*/ 174 h 827"/>
                <a:gd name="T50" fmla="*/ 43 w 800"/>
                <a:gd name="T51" fmla="*/ 182 h 827"/>
                <a:gd name="T52" fmla="*/ 49 w 800"/>
                <a:gd name="T53" fmla="*/ 201 h 827"/>
                <a:gd name="T54" fmla="*/ 67 w 800"/>
                <a:gd name="T55" fmla="*/ 204 h 827"/>
                <a:gd name="T56" fmla="*/ 66 w 800"/>
                <a:gd name="T57" fmla="*/ 217 h 827"/>
                <a:gd name="T58" fmla="*/ 60 w 800"/>
                <a:gd name="T59" fmla="*/ 236 h 827"/>
                <a:gd name="T60" fmla="*/ 72 w 800"/>
                <a:gd name="T61" fmla="*/ 240 h 827"/>
                <a:gd name="T62" fmla="*/ 86 w 800"/>
                <a:gd name="T63" fmla="*/ 248 h 827"/>
                <a:gd name="T64" fmla="*/ 113 w 800"/>
                <a:gd name="T65" fmla="*/ 261 h 827"/>
                <a:gd name="T66" fmla="*/ 136 w 800"/>
                <a:gd name="T67" fmla="*/ 255 h 827"/>
                <a:gd name="T68" fmla="*/ 140 w 800"/>
                <a:gd name="T69" fmla="*/ 268 h 827"/>
                <a:gd name="T70" fmla="*/ 154 w 800"/>
                <a:gd name="T71" fmla="*/ 270 h 827"/>
                <a:gd name="T72" fmla="*/ 162 w 800"/>
                <a:gd name="T73" fmla="*/ 269 h 827"/>
                <a:gd name="T74" fmla="*/ 155 w 800"/>
                <a:gd name="T75" fmla="*/ 236 h 827"/>
                <a:gd name="T76" fmla="*/ 177 w 800"/>
                <a:gd name="T77" fmla="*/ 229 h 827"/>
                <a:gd name="T78" fmla="*/ 188 w 800"/>
                <a:gd name="T79" fmla="*/ 221 h 827"/>
                <a:gd name="T80" fmla="*/ 220 w 800"/>
                <a:gd name="T81" fmla="*/ 221 h 827"/>
                <a:gd name="T82" fmla="*/ 234 w 800"/>
                <a:gd name="T83" fmla="*/ 219 h 827"/>
                <a:gd name="T84" fmla="*/ 245 w 800"/>
                <a:gd name="T85" fmla="*/ 226 h 827"/>
                <a:gd name="T86" fmla="*/ 257 w 800"/>
                <a:gd name="T87" fmla="*/ 217 h 827"/>
                <a:gd name="T88" fmla="*/ 271 w 800"/>
                <a:gd name="T89" fmla="*/ 217 h 827"/>
                <a:gd name="T90" fmla="*/ 290 w 800"/>
                <a:gd name="T91" fmla="*/ 201 h 827"/>
                <a:gd name="T92" fmla="*/ 308 w 800"/>
                <a:gd name="T93" fmla="*/ 204 h 827"/>
                <a:gd name="T94" fmla="*/ 320 w 800"/>
                <a:gd name="T95" fmla="*/ 193 h 827"/>
                <a:gd name="T96" fmla="*/ 329 w 800"/>
                <a:gd name="T97" fmla="*/ 180 h 827"/>
                <a:gd name="T98" fmla="*/ 293 w 800"/>
                <a:gd name="T99" fmla="*/ 171 h 827"/>
                <a:gd name="T100" fmla="*/ 278 w 800"/>
                <a:gd name="T101" fmla="*/ 164 h 827"/>
                <a:gd name="T102" fmla="*/ 264 w 800"/>
                <a:gd name="T103" fmla="*/ 156 h 827"/>
                <a:gd name="T104" fmla="*/ 268 w 800"/>
                <a:gd name="T105" fmla="*/ 133 h 827"/>
                <a:gd name="T106" fmla="*/ 265 w 800"/>
                <a:gd name="T107" fmla="*/ 92 h 827"/>
                <a:gd name="T108" fmla="*/ 238 w 800"/>
                <a:gd name="T109" fmla="*/ 92 h 827"/>
                <a:gd name="T110" fmla="*/ 232 w 800"/>
                <a:gd name="T111" fmla="*/ 79 h 827"/>
                <a:gd name="T112" fmla="*/ 239 w 800"/>
                <a:gd name="T113" fmla="*/ 64 h 827"/>
                <a:gd name="T114" fmla="*/ 255 w 800"/>
                <a:gd name="T115" fmla="*/ 63 h 827"/>
                <a:gd name="T116" fmla="*/ 284 w 800"/>
                <a:gd name="T117" fmla="*/ 63 h 8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00" h="827">
                  <a:moveTo>
                    <a:pt x="704" y="153"/>
                  </a:moveTo>
                  <a:lnTo>
                    <a:pt x="698" y="129"/>
                  </a:lnTo>
                  <a:lnTo>
                    <a:pt x="677" y="123"/>
                  </a:lnTo>
                  <a:lnTo>
                    <a:pt x="644" y="141"/>
                  </a:lnTo>
                  <a:lnTo>
                    <a:pt x="620" y="132"/>
                  </a:lnTo>
                  <a:lnTo>
                    <a:pt x="620" y="102"/>
                  </a:lnTo>
                  <a:lnTo>
                    <a:pt x="608" y="87"/>
                  </a:lnTo>
                  <a:lnTo>
                    <a:pt x="608" y="72"/>
                  </a:lnTo>
                  <a:lnTo>
                    <a:pt x="575" y="66"/>
                  </a:lnTo>
                  <a:lnTo>
                    <a:pt x="566" y="75"/>
                  </a:lnTo>
                  <a:lnTo>
                    <a:pt x="572" y="96"/>
                  </a:lnTo>
                  <a:lnTo>
                    <a:pt x="545" y="108"/>
                  </a:lnTo>
                  <a:lnTo>
                    <a:pt x="539" y="123"/>
                  </a:lnTo>
                  <a:lnTo>
                    <a:pt x="545" y="144"/>
                  </a:lnTo>
                  <a:lnTo>
                    <a:pt x="488" y="210"/>
                  </a:lnTo>
                  <a:lnTo>
                    <a:pt x="497" y="288"/>
                  </a:lnTo>
                  <a:lnTo>
                    <a:pt x="470" y="312"/>
                  </a:lnTo>
                  <a:lnTo>
                    <a:pt x="458" y="297"/>
                  </a:lnTo>
                  <a:lnTo>
                    <a:pt x="404" y="330"/>
                  </a:lnTo>
                  <a:lnTo>
                    <a:pt x="383" y="318"/>
                  </a:lnTo>
                  <a:lnTo>
                    <a:pt x="302" y="165"/>
                  </a:lnTo>
                  <a:lnTo>
                    <a:pt x="272" y="141"/>
                  </a:lnTo>
                  <a:lnTo>
                    <a:pt x="245" y="135"/>
                  </a:lnTo>
                  <a:lnTo>
                    <a:pt x="233" y="114"/>
                  </a:lnTo>
                  <a:lnTo>
                    <a:pt x="248" y="93"/>
                  </a:lnTo>
                  <a:lnTo>
                    <a:pt x="227" y="75"/>
                  </a:lnTo>
                  <a:lnTo>
                    <a:pt x="197" y="96"/>
                  </a:lnTo>
                  <a:lnTo>
                    <a:pt x="170" y="102"/>
                  </a:lnTo>
                  <a:lnTo>
                    <a:pt x="152" y="18"/>
                  </a:lnTo>
                  <a:lnTo>
                    <a:pt x="149" y="0"/>
                  </a:lnTo>
                  <a:lnTo>
                    <a:pt x="119" y="33"/>
                  </a:lnTo>
                  <a:lnTo>
                    <a:pt x="110" y="39"/>
                  </a:lnTo>
                  <a:lnTo>
                    <a:pt x="113" y="93"/>
                  </a:lnTo>
                  <a:lnTo>
                    <a:pt x="104" y="105"/>
                  </a:lnTo>
                  <a:lnTo>
                    <a:pt x="92" y="105"/>
                  </a:lnTo>
                  <a:lnTo>
                    <a:pt x="80" y="93"/>
                  </a:lnTo>
                  <a:lnTo>
                    <a:pt x="66" y="108"/>
                  </a:lnTo>
                  <a:lnTo>
                    <a:pt x="80" y="168"/>
                  </a:lnTo>
                  <a:lnTo>
                    <a:pt x="95" y="168"/>
                  </a:lnTo>
                  <a:lnTo>
                    <a:pt x="110" y="177"/>
                  </a:lnTo>
                  <a:lnTo>
                    <a:pt x="113" y="213"/>
                  </a:lnTo>
                  <a:lnTo>
                    <a:pt x="107" y="339"/>
                  </a:lnTo>
                  <a:lnTo>
                    <a:pt x="21" y="414"/>
                  </a:lnTo>
                  <a:lnTo>
                    <a:pt x="18" y="444"/>
                  </a:lnTo>
                  <a:lnTo>
                    <a:pt x="0" y="459"/>
                  </a:lnTo>
                  <a:lnTo>
                    <a:pt x="0" y="474"/>
                  </a:lnTo>
                  <a:lnTo>
                    <a:pt x="12" y="510"/>
                  </a:lnTo>
                  <a:lnTo>
                    <a:pt x="0" y="537"/>
                  </a:lnTo>
                  <a:lnTo>
                    <a:pt x="9" y="543"/>
                  </a:lnTo>
                  <a:lnTo>
                    <a:pt x="51" y="531"/>
                  </a:lnTo>
                  <a:lnTo>
                    <a:pt x="113" y="528"/>
                  </a:lnTo>
                  <a:lnTo>
                    <a:pt x="104" y="552"/>
                  </a:lnTo>
                  <a:lnTo>
                    <a:pt x="116" y="573"/>
                  </a:lnTo>
                  <a:lnTo>
                    <a:pt x="119" y="609"/>
                  </a:lnTo>
                  <a:lnTo>
                    <a:pt x="128" y="621"/>
                  </a:lnTo>
                  <a:lnTo>
                    <a:pt x="164" y="621"/>
                  </a:lnTo>
                  <a:lnTo>
                    <a:pt x="179" y="633"/>
                  </a:lnTo>
                  <a:lnTo>
                    <a:pt x="161" y="657"/>
                  </a:lnTo>
                  <a:lnTo>
                    <a:pt x="158" y="684"/>
                  </a:lnTo>
                  <a:lnTo>
                    <a:pt x="146" y="717"/>
                  </a:lnTo>
                  <a:lnTo>
                    <a:pt x="155" y="726"/>
                  </a:lnTo>
                  <a:lnTo>
                    <a:pt x="176" y="729"/>
                  </a:lnTo>
                  <a:lnTo>
                    <a:pt x="215" y="743"/>
                  </a:lnTo>
                  <a:lnTo>
                    <a:pt x="212" y="755"/>
                  </a:lnTo>
                  <a:lnTo>
                    <a:pt x="236" y="794"/>
                  </a:lnTo>
                  <a:lnTo>
                    <a:pt x="272" y="794"/>
                  </a:lnTo>
                  <a:lnTo>
                    <a:pt x="317" y="770"/>
                  </a:lnTo>
                  <a:lnTo>
                    <a:pt x="332" y="776"/>
                  </a:lnTo>
                  <a:lnTo>
                    <a:pt x="332" y="791"/>
                  </a:lnTo>
                  <a:lnTo>
                    <a:pt x="338" y="815"/>
                  </a:lnTo>
                  <a:lnTo>
                    <a:pt x="350" y="824"/>
                  </a:lnTo>
                  <a:lnTo>
                    <a:pt x="374" y="821"/>
                  </a:lnTo>
                  <a:lnTo>
                    <a:pt x="386" y="827"/>
                  </a:lnTo>
                  <a:lnTo>
                    <a:pt x="392" y="818"/>
                  </a:lnTo>
                  <a:lnTo>
                    <a:pt x="392" y="782"/>
                  </a:lnTo>
                  <a:lnTo>
                    <a:pt x="377" y="717"/>
                  </a:lnTo>
                  <a:lnTo>
                    <a:pt x="389" y="699"/>
                  </a:lnTo>
                  <a:lnTo>
                    <a:pt x="428" y="699"/>
                  </a:lnTo>
                  <a:lnTo>
                    <a:pt x="437" y="699"/>
                  </a:lnTo>
                  <a:lnTo>
                    <a:pt x="458" y="672"/>
                  </a:lnTo>
                  <a:lnTo>
                    <a:pt x="512" y="690"/>
                  </a:lnTo>
                  <a:lnTo>
                    <a:pt x="533" y="669"/>
                  </a:lnTo>
                  <a:lnTo>
                    <a:pt x="545" y="681"/>
                  </a:lnTo>
                  <a:lnTo>
                    <a:pt x="569" y="666"/>
                  </a:lnTo>
                  <a:lnTo>
                    <a:pt x="590" y="687"/>
                  </a:lnTo>
                  <a:lnTo>
                    <a:pt x="599" y="687"/>
                  </a:lnTo>
                  <a:lnTo>
                    <a:pt x="605" y="678"/>
                  </a:lnTo>
                  <a:lnTo>
                    <a:pt x="623" y="660"/>
                  </a:lnTo>
                  <a:lnTo>
                    <a:pt x="632" y="666"/>
                  </a:lnTo>
                  <a:lnTo>
                    <a:pt x="659" y="660"/>
                  </a:lnTo>
                  <a:lnTo>
                    <a:pt x="683" y="642"/>
                  </a:lnTo>
                  <a:lnTo>
                    <a:pt x="704" y="609"/>
                  </a:lnTo>
                  <a:lnTo>
                    <a:pt x="734" y="603"/>
                  </a:lnTo>
                  <a:lnTo>
                    <a:pt x="749" y="621"/>
                  </a:lnTo>
                  <a:lnTo>
                    <a:pt x="761" y="588"/>
                  </a:lnTo>
                  <a:lnTo>
                    <a:pt x="782" y="585"/>
                  </a:lnTo>
                  <a:lnTo>
                    <a:pt x="791" y="579"/>
                  </a:lnTo>
                  <a:lnTo>
                    <a:pt x="800" y="549"/>
                  </a:lnTo>
                  <a:lnTo>
                    <a:pt x="788" y="534"/>
                  </a:lnTo>
                  <a:lnTo>
                    <a:pt x="713" y="519"/>
                  </a:lnTo>
                  <a:lnTo>
                    <a:pt x="698" y="498"/>
                  </a:lnTo>
                  <a:lnTo>
                    <a:pt x="677" y="498"/>
                  </a:lnTo>
                  <a:lnTo>
                    <a:pt x="656" y="498"/>
                  </a:lnTo>
                  <a:lnTo>
                    <a:pt x="641" y="471"/>
                  </a:lnTo>
                  <a:lnTo>
                    <a:pt x="641" y="459"/>
                  </a:lnTo>
                  <a:lnTo>
                    <a:pt x="650" y="405"/>
                  </a:lnTo>
                  <a:lnTo>
                    <a:pt x="620" y="375"/>
                  </a:lnTo>
                  <a:lnTo>
                    <a:pt x="644" y="279"/>
                  </a:lnTo>
                  <a:lnTo>
                    <a:pt x="629" y="267"/>
                  </a:lnTo>
                  <a:lnTo>
                    <a:pt x="578" y="282"/>
                  </a:lnTo>
                  <a:lnTo>
                    <a:pt x="566" y="261"/>
                  </a:lnTo>
                  <a:lnTo>
                    <a:pt x="566" y="237"/>
                  </a:lnTo>
                  <a:lnTo>
                    <a:pt x="554" y="228"/>
                  </a:lnTo>
                  <a:lnTo>
                    <a:pt x="581" y="192"/>
                  </a:lnTo>
                  <a:lnTo>
                    <a:pt x="608" y="201"/>
                  </a:lnTo>
                  <a:lnTo>
                    <a:pt x="620" y="189"/>
                  </a:lnTo>
                  <a:lnTo>
                    <a:pt x="668" y="198"/>
                  </a:lnTo>
                  <a:lnTo>
                    <a:pt x="692" y="189"/>
                  </a:lnTo>
                  <a:lnTo>
                    <a:pt x="704" y="153"/>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6" name="Freeform 80"/>
            <p:cNvSpPr>
              <a:spLocks/>
            </p:cNvSpPr>
            <p:nvPr/>
          </p:nvSpPr>
          <p:spPr bwMode="auto">
            <a:xfrm>
              <a:off x="2881561" y="4710137"/>
              <a:ext cx="1122363" cy="1147763"/>
            </a:xfrm>
            <a:custGeom>
              <a:avLst/>
              <a:gdLst>
                <a:gd name="T0" fmla="*/ 287 w 800"/>
                <a:gd name="T1" fmla="*/ 42 h 827"/>
                <a:gd name="T2" fmla="*/ 265 w 800"/>
                <a:gd name="T3" fmla="*/ 46 h 827"/>
                <a:gd name="T4" fmla="*/ 255 w 800"/>
                <a:gd name="T5" fmla="*/ 33 h 827"/>
                <a:gd name="T6" fmla="*/ 251 w 800"/>
                <a:gd name="T7" fmla="*/ 24 h 827"/>
                <a:gd name="T8" fmla="*/ 232 w 800"/>
                <a:gd name="T9" fmla="*/ 24 h 827"/>
                <a:gd name="T10" fmla="*/ 224 w 800"/>
                <a:gd name="T11" fmla="*/ 36 h 827"/>
                <a:gd name="T12" fmla="*/ 224 w 800"/>
                <a:gd name="T13" fmla="*/ 47 h 827"/>
                <a:gd name="T14" fmla="*/ 204 w 800"/>
                <a:gd name="T15" fmla="*/ 95 h 827"/>
                <a:gd name="T16" fmla="*/ 188 w 800"/>
                <a:gd name="T17" fmla="*/ 98 h 827"/>
                <a:gd name="T18" fmla="*/ 157 w 800"/>
                <a:gd name="T19" fmla="*/ 106 h 827"/>
                <a:gd name="T20" fmla="*/ 113 w 800"/>
                <a:gd name="T21" fmla="*/ 46 h 827"/>
                <a:gd name="T22" fmla="*/ 94 w 800"/>
                <a:gd name="T23" fmla="*/ 37 h 827"/>
                <a:gd name="T24" fmla="*/ 93 w 800"/>
                <a:gd name="T25" fmla="*/ 24 h 827"/>
                <a:gd name="T26" fmla="*/ 70 w 800"/>
                <a:gd name="T27" fmla="*/ 33 h 827"/>
                <a:gd name="T28" fmla="*/ 60 w 800"/>
                <a:gd name="T29" fmla="*/ 0 h 827"/>
                <a:gd name="T30" fmla="*/ 45 w 800"/>
                <a:gd name="T31" fmla="*/ 13 h 827"/>
                <a:gd name="T32" fmla="*/ 43 w 800"/>
                <a:gd name="T33" fmla="*/ 34 h 827"/>
                <a:gd name="T34" fmla="*/ 33 w 800"/>
                <a:gd name="T35" fmla="*/ 30 h 827"/>
                <a:gd name="T36" fmla="*/ 33 w 800"/>
                <a:gd name="T37" fmla="*/ 55 h 827"/>
                <a:gd name="T38" fmla="*/ 45 w 800"/>
                <a:gd name="T39" fmla="*/ 57 h 827"/>
                <a:gd name="T40" fmla="*/ 44 w 800"/>
                <a:gd name="T41" fmla="*/ 112 h 827"/>
                <a:gd name="T42" fmla="*/ 7 w 800"/>
                <a:gd name="T43" fmla="*/ 147 h 827"/>
                <a:gd name="T44" fmla="*/ 0 w 800"/>
                <a:gd name="T45" fmla="*/ 156 h 827"/>
                <a:gd name="T46" fmla="*/ 0 w 800"/>
                <a:gd name="T47" fmla="*/ 177 h 827"/>
                <a:gd name="T48" fmla="*/ 21 w 800"/>
                <a:gd name="T49" fmla="*/ 174 h 827"/>
                <a:gd name="T50" fmla="*/ 43 w 800"/>
                <a:gd name="T51" fmla="*/ 182 h 827"/>
                <a:gd name="T52" fmla="*/ 49 w 800"/>
                <a:gd name="T53" fmla="*/ 201 h 827"/>
                <a:gd name="T54" fmla="*/ 67 w 800"/>
                <a:gd name="T55" fmla="*/ 204 h 827"/>
                <a:gd name="T56" fmla="*/ 66 w 800"/>
                <a:gd name="T57" fmla="*/ 217 h 827"/>
                <a:gd name="T58" fmla="*/ 60 w 800"/>
                <a:gd name="T59" fmla="*/ 236 h 827"/>
                <a:gd name="T60" fmla="*/ 72 w 800"/>
                <a:gd name="T61" fmla="*/ 240 h 827"/>
                <a:gd name="T62" fmla="*/ 86 w 800"/>
                <a:gd name="T63" fmla="*/ 248 h 827"/>
                <a:gd name="T64" fmla="*/ 113 w 800"/>
                <a:gd name="T65" fmla="*/ 261 h 827"/>
                <a:gd name="T66" fmla="*/ 136 w 800"/>
                <a:gd name="T67" fmla="*/ 255 h 827"/>
                <a:gd name="T68" fmla="*/ 140 w 800"/>
                <a:gd name="T69" fmla="*/ 268 h 827"/>
                <a:gd name="T70" fmla="*/ 154 w 800"/>
                <a:gd name="T71" fmla="*/ 270 h 827"/>
                <a:gd name="T72" fmla="*/ 162 w 800"/>
                <a:gd name="T73" fmla="*/ 269 h 827"/>
                <a:gd name="T74" fmla="*/ 155 w 800"/>
                <a:gd name="T75" fmla="*/ 236 h 827"/>
                <a:gd name="T76" fmla="*/ 177 w 800"/>
                <a:gd name="T77" fmla="*/ 229 h 827"/>
                <a:gd name="T78" fmla="*/ 188 w 800"/>
                <a:gd name="T79" fmla="*/ 221 h 827"/>
                <a:gd name="T80" fmla="*/ 220 w 800"/>
                <a:gd name="T81" fmla="*/ 221 h 827"/>
                <a:gd name="T82" fmla="*/ 234 w 800"/>
                <a:gd name="T83" fmla="*/ 219 h 827"/>
                <a:gd name="T84" fmla="*/ 245 w 800"/>
                <a:gd name="T85" fmla="*/ 226 h 827"/>
                <a:gd name="T86" fmla="*/ 257 w 800"/>
                <a:gd name="T87" fmla="*/ 217 h 827"/>
                <a:gd name="T88" fmla="*/ 271 w 800"/>
                <a:gd name="T89" fmla="*/ 217 h 827"/>
                <a:gd name="T90" fmla="*/ 290 w 800"/>
                <a:gd name="T91" fmla="*/ 201 h 827"/>
                <a:gd name="T92" fmla="*/ 308 w 800"/>
                <a:gd name="T93" fmla="*/ 204 h 827"/>
                <a:gd name="T94" fmla="*/ 320 w 800"/>
                <a:gd name="T95" fmla="*/ 193 h 827"/>
                <a:gd name="T96" fmla="*/ 329 w 800"/>
                <a:gd name="T97" fmla="*/ 180 h 827"/>
                <a:gd name="T98" fmla="*/ 293 w 800"/>
                <a:gd name="T99" fmla="*/ 171 h 827"/>
                <a:gd name="T100" fmla="*/ 278 w 800"/>
                <a:gd name="T101" fmla="*/ 164 h 827"/>
                <a:gd name="T102" fmla="*/ 264 w 800"/>
                <a:gd name="T103" fmla="*/ 156 h 827"/>
                <a:gd name="T104" fmla="*/ 268 w 800"/>
                <a:gd name="T105" fmla="*/ 133 h 827"/>
                <a:gd name="T106" fmla="*/ 265 w 800"/>
                <a:gd name="T107" fmla="*/ 92 h 827"/>
                <a:gd name="T108" fmla="*/ 238 w 800"/>
                <a:gd name="T109" fmla="*/ 92 h 827"/>
                <a:gd name="T110" fmla="*/ 232 w 800"/>
                <a:gd name="T111" fmla="*/ 79 h 827"/>
                <a:gd name="T112" fmla="*/ 239 w 800"/>
                <a:gd name="T113" fmla="*/ 64 h 827"/>
                <a:gd name="T114" fmla="*/ 255 w 800"/>
                <a:gd name="T115" fmla="*/ 63 h 827"/>
                <a:gd name="T116" fmla="*/ 284 w 800"/>
                <a:gd name="T117" fmla="*/ 63 h 8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00" h="827">
                  <a:moveTo>
                    <a:pt x="704" y="153"/>
                  </a:moveTo>
                  <a:lnTo>
                    <a:pt x="698" y="129"/>
                  </a:lnTo>
                  <a:lnTo>
                    <a:pt x="677" y="123"/>
                  </a:lnTo>
                  <a:lnTo>
                    <a:pt x="644" y="141"/>
                  </a:lnTo>
                  <a:lnTo>
                    <a:pt x="620" y="132"/>
                  </a:lnTo>
                  <a:lnTo>
                    <a:pt x="620" y="102"/>
                  </a:lnTo>
                  <a:lnTo>
                    <a:pt x="608" y="87"/>
                  </a:lnTo>
                  <a:lnTo>
                    <a:pt x="608" y="72"/>
                  </a:lnTo>
                  <a:lnTo>
                    <a:pt x="575" y="66"/>
                  </a:lnTo>
                  <a:lnTo>
                    <a:pt x="566" y="75"/>
                  </a:lnTo>
                  <a:lnTo>
                    <a:pt x="572" y="96"/>
                  </a:lnTo>
                  <a:lnTo>
                    <a:pt x="545" y="108"/>
                  </a:lnTo>
                  <a:lnTo>
                    <a:pt x="539" y="123"/>
                  </a:lnTo>
                  <a:lnTo>
                    <a:pt x="545" y="144"/>
                  </a:lnTo>
                  <a:lnTo>
                    <a:pt x="488" y="210"/>
                  </a:lnTo>
                  <a:lnTo>
                    <a:pt x="497" y="288"/>
                  </a:lnTo>
                  <a:lnTo>
                    <a:pt x="470" y="312"/>
                  </a:lnTo>
                  <a:lnTo>
                    <a:pt x="458" y="297"/>
                  </a:lnTo>
                  <a:lnTo>
                    <a:pt x="404" y="330"/>
                  </a:lnTo>
                  <a:lnTo>
                    <a:pt x="383" y="318"/>
                  </a:lnTo>
                  <a:lnTo>
                    <a:pt x="302" y="165"/>
                  </a:lnTo>
                  <a:lnTo>
                    <a:pt x="272" y="141"/>
                  </a:lnTo>
                  <a:lnTo>
                    <a:pt x="245" y="135"/>
                  </a:lnTo>
                  <a:lnTo>
                    <a:pt x="233" y="114"/>
                  </a:lnTo>
                  <a:lnTo>
                    <a:pt x="248" y="93"/>
                  </a:lnTo>
                  <a:lnTo>
                    <a:pt x="227" y="75"/>
                  </a:lnTo>
                  <a:lnTo>
                    <a:pt x="197" y="96"/>
                  </a:lnTo>
                  <a:lnTo>
                    <a:pt x="170" y="102"/>
                  </a:lnTo>
                  <a:lnTo>
                    <a:pt x="152" y="18"/>
                  </a:lnTo>
                  <a:lnTo>
                    <a:pt x="149" y="0"/>
                  </a:lnTo>
                  <a:lnTo>
                    <a:pt x="119" y="33"/>
                  </a:lnTo>
                  <a:lnTo>
                    <a:pt x="110" y="39"/>
                  </a:lnTo>
                  <a:lnTo>
                    <a:pt x="113" y="93"/>
                  </a:lnTo>
                  <a:lnTo>
                    <a:pt x="104" y="105"/>
                  </a:lnTo>
                  <a:lnTo>
                    <a:pt x="92" y="105"/>
                  </a:lnTo>
                  <a:lnTo>
                    <a:pt x="80" y="93"/>
                  </a:lnTo>
                  <a:lnTo>
                    <a:pt x="66" y="108"/>
                  </a:lnTo>
                  <a:lnTo>
                    <a:pt x="80" y="168"/>
                  </a:lnTo>
                  <a:lnTo>
                    <a:pt x="95" y="168"/>
                  </a:lnTo>
                  <a:lnTo>
                    <a:pt x="110" y="177"/>
                  </a:lnTo>
                  <a:lnTo>
                    <a:pt x="113" y="213"/>
                  </a:lnTo>
                  <a:lnTo>
                    <a:pt x="107" y="339"/>
                  </a:lnTo>
                  <a:lnTo>
                    <a:pt x="21" y="414"/>
                  </a:lnTo>
                  <a:lnTo>
                    <a:pt x="18" y="444"/>
                  </a:lnTo>
                  <a:lnTo>
                    <a:pt x="0" y="459"/>
                  </a:lnTo>
                  <a:lnTo>
                    <a:pt x="0" y="474"/>
                  </a:lnTo>
                  <a:lnTo>
                    <a:pt x="12" y="510"/>
                  </a:lnTo>
                  <a:lnTo>
                    <a:pt x="0" y="537"/>
                  </a:lnTo>
                  <a:lnTo>
                    <a:pt x="9" y="543"/>
                  </a:lnTo>
                  <a:lnTo>
                    <a:pt x="51" y="531"/>
                  </a:lnTo>
                  <a:lnTo>
                    <a:pt x="113" y="528"/>
                  </a:lnTo>
                  <a:lnTo>
                    <a:pt x="104" y="552"/>
                  </a:lnTo>
                  <a:lnTo>
                    <a:pt x="116" y="573"/>
                  </a:lnTo>
                  <a:lnTo>
                    <a:pt x="119" y="609"/>
                  </a:lnTo>
                  <a:lnTo>
                    <a:pt x="128" y="621"/>
                  </a:lnTo>
                  <a:lnTo>
                    <a:pt x="164" y="621"/>
                  </a:lnTo>
                  <a:lnTo>
                    <a:pt x="179" y="633"/>
                  </a:lnTo>
                  <a:lnTo>
                    <a:pt x="161" y="657"/>
                  </a:lnTo>
                  <a:lnTo>
                    <a:pt x="158" y="684"/>
                  </a:lnTo>
                  <a:lnTo>
                    <a:pt x="146" y="717"/>
                  </a:lnTo>
                  <a:lnTo>
                    <a:pt x="155" y="726"/>
                  </a:lnTo>
                  <a:lnTo>
                    <a:pt x="176" y="729"/>
                  </a:lnTo>
                  <a:lnTo>
                    <a:pt x="215" y="743"/>
                  </a:lnTo>
                  <a:lnTo>
                    <a:pt x="212" y="755"/>
                  </a:lnTo>
                  <a:lnTo>
                    <a:pt x="236" y="794"/>
                  </a:lnTo>
                  <a:lnTo>
                    <a:pt x="272" y="794"/>
                  </a:lnTo>
                  <a:lnTo>
                    <a:pt x="317" y="770"/>
                  </a:lnTo>
                  <a:lnTo>
                    <a:pt x="332" y="776"/>
                  </a:lnTo>
                  <a:lnTo>
                    <a:pt x="332" y="791"/>
                  </a:lnTo>
                  <a:lnTo>
                    <a:pt x="338" y="815"/>
                  </a:lnTo>
                  <a:lnTo>
                    <a:pt x="350" y="824"/>
                  </a:lnTo>
                  <a:lnTo>
                    <a:pt x="374" y="821"/>
                  </a:lnTo>
                  <a:lnTo>
                    <a:pt x="386" y="827"/>
                  </a:lnTo>
                  <a:lnTo>
                    <a:pt x="392" y="818"/>
                  </a:lnTo>
                  <a:lnTo>
                    <a:pt x="392" y="782"/>
                  </a:lnTo>
                  <a:lnTo>
                    <a:pt x="377" y="717"/>
                  </a:lnTo>
                  <a:lnTo>
                    <a:pt x="389" y="699"/>
                  </a:lnTo>
                  <a:lnTo>
                    <a:pt x="428" y="699"/>
                  </a:lnTo>
                  <a:lnTo>
                    <a:pt x="437" y="699"/>
                  </a:lnTo>
                  <a:lnTo>
                    <a:pt x="458" y="672"/>
                  </a:lnTo>
                  <a:lnTo>
                    <a:pt x="512" y="690"/>
                  </a:lnTo>
                  <a:lnTo>
                    <a:pt x="533" y="669"/>
                  </a:lnTo>
                  <a:lnTo>
                    <a:pt x="545" y="681"/>
                  </a:lnTo>
                  <a:lnTo>
                    <a:pt x="569" y="666"/>
                  </a:lnTo>
                  <a:lnTo>
                    <a:pt x="590" y="687"/>
                  </a:lnTo>
                  <a:lnTo>
                    <a:pt x="599" y="687"/>
                  </a:lnTo>
                  <a:lnTo>
                    <a:pt x="605" y="678"/>
                  </a:lnTo>
                  <a:lnTo>
                    <a:pt x="623" y="660"/>
                  </a:lnTo>
                  <a:lnTo>
                    <a:pt x="632" y="666"/>
                  </a:lnTo>
                  <a:lnTo>
                    <a:pt x="659" y="660"/>
                  </a:lnTo>
                  <a:lnTo>
                    <a:pt x="683" y="642"/>
                  </a:lnTo>
                  <a:lnTo>
                    <a:pt x="704" y="609"/>
                  </a:lnTo>
                  <a:lnTo>
                    <a:pt x="734" y="603"/>
                  </a:lnTo>
                  <a:lnTo>
                    <a:pt x="749" y="621"/>
                  </a:lnTo>
                  <a:lnTo>
                    <a:pt x="761" y="588"/>
                  </a:lnTo>
                  <a:lnTo>
                    <a:pt x="782" y="585"/>
                  </a:lnTo>
                  <a:lnTo>
                    <a:pt x="791" y="579"/>
                  </a:lnTo>
                  <a:lnTo>
                    <a:pt x="800" y="549"/>
                  </a:lnTo>
                  <a:lnTo>
                    <a:pt x="788" y="534"/>
                  </a:lnTo>
                  <a:lnTo>
                    <a:pt x="713" y="519"/>
                  </a:lnTo>
                  <a:lnTo>
                    <a:pt x="698" y="498"/>
                  </a:lnTo>
                  <a:lnTo>
                    <a:pt x="677" y="498"/>
                  </a:lnTo>
                  <a:lnTo>
                    <a:pt x="656" y="498"/>
                  </a:lnTo>
                  <a:lnTo>
                    <a:pt x="641" y="471"/>
                  </a:lnTo>
                  <a:lnTo>
                    <a:pt x="641" y="459"/>
                  </a:lnTo>
                  <a:lnTo>
                    <a:pt x="650" y="405"/>
                  </a:lnTo>
                  <a:lnTo>
                    <a:pt x="620" y="375"/>
                  </a:lnTo>
                  <a:lnTo>
                    <a:pt x="644" y="279"/>
                  </a:lnTo>
                  <a:lnTo>
                    <a:pt x="629" y="267"/>
                  </a:lnTo>
                  <a:lnTo>
                    <a:pt x="578" y="282"/>
                  </a:lnTo>
                  <a:lnTo>
                    <a:pt x="566" y="261"/>
                  </a:lnTo>
                  <a:lnTo>
                    <a:pt x="566" y="237"/>
                  </a:lnTo>
                  <a:lnTo>
                    <a:pt x="554" y="228"/>
                  </a:lnTo>
                  <a:lnTo>
                    <a:pt x="581" y="192"/>
                  </a:lnTo>
                  <a:lnTo>
                    <a:pt x="608" y="201"/>
                  </a:lnTo>
                  <a:lnTo>
                    <a:pt x="620" y="189"/>
                  </a:lnTo>
                  <a:lnTo>
                    <a:pt x="668" y="198"/>
                  </a:lnTo>
                  <a:lnTo>
                    <a:pt x="692" y="189"/>
                  </a:lnTo>
                  <a:lnTo>
                    <a:pt x="704" y="153"/>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7" name="Freeform 81"/>
            <p:cNvSpPr>
              <a:spLocks/>
            </p:cNvSpPr>
            <p:nvPr/>
          </p:nvSpPr>
          <p:spPr bwMode="auto">
            <a:xfrm>
              <a:off x="5234236" y="4694262"/>
              <a:ext cx="536575" cy="660400"/>
            </a:xfrm>
            <a:custGeom>
              <a:avLst/>
              <a:gdLst>
                <a:gd name="T0" fmla="*/ 0 w 381"/>
                <a:gd name="T1" fmla="*/ 119 h 476"/>
                <a:gd name="T2" fmla="*/ 5 w 381"/>
                <a:gd name="T3" fmla="*/ 94 h 476"/>
                <a:gd name="T4" fmla="*/ 12 w 381"/>
                <a:gd name="T5" fmla="*/ 86 h 476"/>
                <a:gd name="T6" fmla="*/ 14 w 381"/>
                <a:gd name="T7" fmla="*/ 80 h 476"/>
                <a:gd name="T8" fmla="*/ 20 w 381"/>
                <a:gd name="T9" fmla="*/ 68 h 476"/>
                <a:gd name="T10" fmla="*/ 17 w 381"/>
                <a:gd name="T11" fmla="*/ 64 h 476"/>
                <a:gd name="T12" fmla="*/ 17 w 381"/>
                <a:gd name="T13" fmla="*/ 55 h 476"/>
                <a:gd name="T14" fmla="*/ 34 w 381"/>
                <a:gd name="T15" fmla="*/ 39 h 476"/>
                <a:gd name="T16" fmla="*/ 32 w 381"/>
                <a:gd name="T17" fmla="*/ 30 h 476"/>
                <a:gd name="T18" fmla="*/ 44 w 381"/>
                <a:gd name="T19" fmla="*/ 15 h 476"/>
                <a:gd name="T20" fmla="*/ 54 w 381"/>
                <a:gd name="T21" fmla="*/ 17 h 476"/>
                <a:gd name="T22" fmla="*/ 74 w 381"/>
                <a:gd name="T23" fmla="*/ 5 h 476"/>
                <a:gd name="T24" fmla="*/ 79 w 381"/>
                <a:gd name="T25" fmla="*/ 0 h 476"/>
                <a:gd name="T26" fmla="*/ 92 w 381"/>
                <a:gd name="T27" fmla="*/ 4 h 476"/>
                <a:gd name="T28" fmla="*/ 96 w 381"/>
                <a:gd name="T29" fmla="*/ 14 h 476"/>
                <a:gd name="T30" fmla="*/ 103 w 381"/>
                <a:gd name="T31" fmla="*/ 24 h 476"/>
                <a:gd name="T32" fmla="*/ 115 w 381"/>
                <a:gd name="T33" fmla="*/ 24 h 476"/>
                <a:gd name="T34" fmla="*/ 125 w 381"/>
                <a:gd name="T35" fmla="*/ 15 h 476"/>
                <a:gd name="T36" fmla="*/ 137 w 381"/>
                <a:gd name="T37" fmla="*/ 25 h 476"/>
                <a:gd name="T38" fmla="*/ 158 w 381"/>
                <a:gd name="T39" fmla="*/ 19 h 476"/>
                <a:gd name="T40" fmla="*/ 145 w 381"/>
                <a:gd name="T41" fmla="*/ 44 h 476"/>
                <a:gd name="T42" fmla="*/ 137 w 381"/>
                <a:gd name="T43" fmla="*/ 41 h 476"/>
                <a:gd name="T44" fmla="*/ 132 w 381"/>
                <a:gd name="T45" fmla="*/ 44 h 476"/>
                <a:gd name="T46" fmla="*/ 132 w 381"/>
                <a:gd name="T47" fmla="*/ 46 h 476"/>
                <a:gd name="T48" fmla="*/ 138 w 381"/>
                <a:gd name="T49" fmla="*/ 52 h 476"/>
                <a:gd name="T50" fmla="*/ 136 w 381"/>
                <a:gd name="T51" fmla="*/ 76 h 476"/>
                <a:gd name="T52" fmla="*/ 138 w 381"/>
                <a:gd name="T53" fmla="*/ 84 h 476"/>
                <a:gd name="T54" fmla="*/ 136 w 381"/>
                <a:gd name="T55" fmla="*/ 86 h 476"/>
                <a:gd name="T56" fmla="*/ 126 w 381"/>
                <a:gd name="T57" fmla="*/ 85 h 476"/>
                <a:gd name="T58" fmla="*/ 122 w 381"/>
                <a:gd name="T59" fmla="*/ 89 h 476"/>
                <a:gd name="T60" fmla="*/ 126 w 381"/>
                <a:gd name="T61" fmla="*/ 95 h 476"/>
                <a:gd name="T62" fmla="*/ 115 w 381"/>
                <a:gd name="T63" fmla="*/ 103 h 476"/>
                <a:gd name="T64" fmla="*/ 116 w 381"/>
                <a:gd name="T65" fmla="*/ 107 h 476"/>
                <a:gd name="T66" fmla="*/ 106 w 381"/>
                <a:gd name="T67" fmla="*/ 111 h 476"/>
                <a:gd name="T68" fmla="*/ 109 w 381"/>
                <a:gd name="T69" fmla="*/ 116 h 476"/>
                <a:gd name="T70" fmla="*/ 105 w 381"/>
                <a:gd name="T71" fmla="*/ 119 h 476"/>
                <a:gd name="T72" fmla="*/ 92 w 381"/>
                <a:gd name="T73" fmla="*/ 119 h 476"/>
                <a:gd name="T74" fmla="*/ 84 w 381"/>
                <a:gd name="T75" fmla="*/ 125 h 476"/>
                <a:gd name="T76" fmla="*/ 82 w 381"/>
                <a:gd name="T77" fmla="*/ 127 h 476"/>
                <a:gd name="T78" fmla="*/ 88 w 381"/>
                <a:gd name="T79" fmla="*/ 132 h 476"/>
                <a:gd name="T80" fmla="*/ 81 w 381"/>
                <a:gd name="T81" fmla="*/ 140 h 476"/>
                <a:gd name="T82" fmla="*/ 71 w 381"/>
                <a:gd name="T83" fmla="*/ 149 h 476"/>
                <a:gd name="T84" fmla="*/ 68 w 381"/>
                <a:gd name="T85" fmla="*/ 149 h 476"/>
                <a:gd name="T86" fmla="*/ 57 w 381"/>
                <a:gd name="T87" fmla="*/ 157 h 476"/>
                <a:gd name="T88" fmla="*/ 46 w 381"/>
                <a:gd name="T89" fmla="*/ 138 h 476"/>
                <a:gd name="T90" fmla="*/ 36 w 381"/>
                <a:gd name="T91" fmla="*/ 127 h 476"/>
                <a:gd name="T92" fmla="*/ 29 w 381"/>
                <a:gd name="T93" fmla="*/ 127 h 476"/>
                <a:gd name="T94" fmla="*/ 25 w 381"/>
                <a:gd name="T95" fmla="*/ 125 h 476"/>
                <a:gd name="T96" fmla="*/ 0 w 381"/>
                <a:gd name="T97" fmla="*/ 119 h 4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81" h="476">
                  <a:moveTo>
                    <a:pt x="0" y="365"/>
                  </a:moveTo>
                  <a:lnTo>
                    <a:pt x="12" y="284"/>
                  </a:lnTo>
                  <a:lnTo>
                    <a:pt x="27" y="263"/>
                  </a:lnTo>
                  <a:lnTo>
                    <a:pt x="33" y="239"/>
                  </a:lnTo>
                  <a:lnTo>
                    <a:pt x="48" y="206"/>
                  </a:lnTo>
                  <a:lnTo>
                    <a:pt x="42" y="191"/>
                  </a:lnTo>
                  <a:lnTo>
                    <a:pt x="42" y="164"/>
                  </a:lnTo>
                  <a:lnTo>
                    <a:pt x="81" y="119"/>
                  </a:lnTo>
                  <a:lnTo>
                    <a:pt x="78" y="89"/>
                  </a:lnTo>
                  <a:lnTo>
                    <a:pt x="105" y="47"/>
                  </a:lnTo>
                  <a:lnTo>
                    <a:pt x="129" y="53"/>
                  </a:lnTo>
                  <a:lnTo>
                    <a:pt x="180" y="17"/>
                  </a:lnTo>
                  <a:lnTo>
                    <a:pt x="189" y="0"/>
                  </a:lnTo>
                  <a:lnTo>
                    <a:pt x="219" y="5"/>
                  </a:lnTo>
                  <a:lnTo>
                    <a:pt x="234" y="44"/>
                  </a:lnTo>
                  <a:lnTo>
                    <a:pt x="246" y="71"/>
                  </a:lnTo>
                  <a:lnTo>
                    <a:pt x="279" y="71"/>
                  </a:lnTo>
                  <a:lnTo>
                    <a:pt x="300" y="47"/>
                  </a:lnTo>
                  <a:lnTo>
                    <a:pt x="330" y="77"/>
                  </a:lnTo>
                  <a:lnTo>
                    <a:pt x="381" y="59"/>
                  </a:lnTo>
                  <a:lnTo>
                    <a:pt x="348" y="134"/>
                  </a:lnTo>
                  <a:lnTo>
                    <a:pt x="330" y="125"/>
                  </a:lnTo>
                  <a:lnTo>
                    <a:pt x="315" y="134"/>
                  </a:lnTo>
                  <a:lnTo>
                    <a:pt x="315" y="140"/>
                  </a:lnTo>
                  <a:lnTo>
                    <a:pt x="333" y="161"/>
                  </a:lnTo>
                  <a:lnTo>
                    <a:pt x="327" y="230"/>
                  </a:lnTo>
                  <a:lnTo>
                    <a:pt x="333" y="254"/>
                  </a:lnTo>
                  <a:lnTo>
                    <a:pt x="327" y="260"/>
                  </a:lnTo>
                  <a:lnTo>
                    <a:pt x="306" y="257"/>
                  </a:lnTo>
                  <a:lnTo>
                    <a:pt x="294" y="269"/>
                  </a:lnTo>
                  <a:lnTo>
                    <a:pt x="303" y="287"/>
                  </a:lnTo>
                  <a:lnTo>
                    <a:pt x="276" y="314"/>
                  </a:lnTo>
                  <a:lnTo>
                    <a:pt x="282" y="323"/>
                  </a:lnTo>
                  <a:lnTo>
                    <a:pt x="258" y="335"/>
                  </a:lnTo>
                  <a:lnTo>
                    <a:pt x="261" y="353"/>
                  </a:lnTo>
                  <a:lnTo>
                    <a:pt x="252" y="362"/>
                  </a:lnTo>
                  <a:lnTo>
                    <a:pt x="219" y="362"/>
                  </a:lnTo>
                  <a:lnTo>
                    <a:pt x="201" y="380"/>
                  </a:lnTo>
                  <a:lnTo>
                    <a:pt x="198" y="386"/>
                  </a:lnTo>
                  <a:lnTo>
                    <a:pt x="213" y="398"/>
                  </a:lnTo>
                  <a:lnTo>
                    <a:pt x="195" y="425"/>
                  </a:lnTo>
                  <a:lnTo>
                    <a:pt x="171" y="455"/>
                  </a:lnTo>
                  <a:lnTo>
                    <a:pt x="162" y="452"/>
                  </a:lnTo>
                  <a:lnTo>
                    <a:pt x="138" y="476"/>
                  </a:lnTo>
                  <a:lnTo>
                    <a:pt x="111" y="416"/>
                  </a:lnTo>
                  <a:lnTo>
                    <a:pt x="87" y="386"/>
                  </a:lnTo>
                  <a:lnTo>
                    <a:pt x="69" y="386"/>
                  </a:lnTo>
                  <a:lnTo>
                    <a:pt x="60" y="380"/>
                  </a:lnTo>
                  <a:lnTo>
                    <a:pt x="0" y="365"/>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8" name="Freeform 82"/>
            <p:cNvSpPr>
              <a:spLocks/>
            </p:cNvSpPr>
            <p:nvPr/>
          </p:nvSpPr>
          <p:spPr bwMode="auto">
            <a:xfrm>
              <a:off x="5234236" y="4694262"/>
              <a:ext cx="536575" cy="660400"/>
            </a:xfrm>
            <a:custGeom>
              <a:avLst/>
              <a:gdLst>
                <a:gd name="T0" fmla="*/ 0 w 381"/>
                <a:gd name="T1" fmla="*/ 119 h 476"/>
                <a:gd name="T2" fmla="*/ 5 w 381"/>
                <a:gd name="T3" fmla="*/ 94 h 476"/>
                <a:gd name="T4" fmla="*/ 12 w 381"/>
                <a:gd name="T5" fmla="*/ 86 h 476"/>
                <a:gd name="T6" fmla="*/ 14 w 381"/>
                <a:gd name="T7" fmla="*/ 80 h 476"/>
                <a:gd name="T8" fmla="*/ 20 w 381"/>
                <a:gd name="T9" fmla="*/ 68 h 476"/>
                <a:gd name="T10" fmla="*/ 17 w 381"/>
                <a:gd name="T11" fmla="*/ 64 h 476"/>
                <a:gd name="T12" fmla="*/ 17 w 381"/>
                <a:gd name="T13" fmla="*/ 55 h 476"/>
                <a:gd name="T14" fmla="*/ 34 w 381"/>
                <a:gd name="T15" fmla="*/ 39 h 476"/>
                <a:gd name="T16" fmla="*/ 32 w 381"/>
                <a:gd name="T17" fmla="*/ 30 h 476"/>
                <a:gd name="T18" fmla="*/ 44 w 381"/>
                <a:gd name="T19" fmla="*/ 15 h 476"/>
                <a:gd name="T20" fmla="*/ 54 w 381"/>
                <a:gd name="T21" fmla="*/ 17 h 476"/>
                <a:gd name="T22" fmla="*/ 74 w 381"/>
                <a:gd name="T23" fmla="*/ 5 h 476"/>
                <a:gd name="T24" fmla="*/ 79 w 381"/>
                <a:gd name="T25" fmla="*/ 0 h 476"/>
                <a:gd name="T26" fmla="*/ 92 w 381"/>
                <a:gd name="T27" fmla="*/ 4 h 476"/>
                <a:gd name="T28" fmla="*/ 96 w 381"/>
                <a:gd name="T29" fmla="*/ 14 h 476"/>
                <a:gd name="T30" fmla="*/ 103 w 381"/>
                <a:gd name="T31" fmla="*/ 24 h 476"/>
                <a:gd name="T32" fmla="*/ 115 w 381"/>
                <a:gd name="T33" fmla="*/ 24 h 476"/>
                <a:gd name="T34" fmla="*/ 125 w 381"/>
                <a:gd name="T35" fmla="*/ 15 h 476"/>
                <a:gd name="T36" fmla="*/ 137 w 381"/>
                <a:gd name="T37" fmla="*/ 25 h 476"/>
                <a:gd name="T38" fmla="*/ 158 w 381"/>
                <a:gd name="T39" fmla="*/ 19 h 476"/>
                <a:gd name="T40" fmla="*/ 145 w 381"/>
                <a:gd name="T41" fmla="*/ 44 h 476"/>
                <a:gd name="T42" fmla="*/ 137 w 381"/>
                <a:gd name="T43" fmla="*/ 41 h 476"/>
                <a:gd name="T44" fmla="*/ 132 w 381"/>
                <a:gd name="T45" fmla="*/ 44 h 476"/>
                <a:gd name="T46" fmla="*/ 132 w 381"/>
                <a:gd name="T47" fmla="*/ 46 h 476"/>
                <a:gd name="T48" fmla="*/ 138 w 381"/>
                <a:gd name="T49" fmla="*/ 52 h 476"/>
                <a:gd name="T50" fmla="*/ 136 w 381"/>
                <a:gd name="T51" fmla="*/ 76 h 476"/>
                <a:gd name="T52" fmla="*/ 138 w 381"/>
                <a:gd name="T53" fmla="*/ 84 h 476"/>
                <a:gd name="T54" fmla="*/ 136 w 381"/>
                <a:gd name="T55" fmla="*/ 86 h 476"/>
                <a:gd name="T56" fmla="*/ 126 w 381"/>
                <a:gd name="T57" fmla="*/ 85 h 476"/>
                <a:gd name="T58" fmla="*/ 122 w 381"/>
                <a:gd name="T59" fmla="*/ 89 h 476"/>
                <a:gd name="T60" fmla="*/ 126 w 381"/>
                <a:gd name="T61" fmla="*/ 95 h 476"/>
                <a:gd name="T62" fmla="*/ 115 w 381"/>
                <a:gd name="T63" fmla="*/ 103 h 476"/>
                <a:gd name="T64" fmla="*/ 116 w 381"/>
                <a:gd name="T65" fmla="*/ 107 h 476"/>
                <a:gd name="T66" fmla="*/ 106 w 381"/>
                <a:gd name="T67" fmla="*/ 111 h 476"/>
                <a:gd name="T68" fmla="*/ 109 w 381"/>
                <a:gd name="T69" fmla="*/ 116 h 476"/>
                <a:gd name="T70" fmla="*/ 105 w 381"/>
                <a:gd name="T71" fmla="*/ 119 h 476"/>
                <a:gd name="T72" fmla="*/ 92 w 381"/>
                <a:gd name="T73" fmla="*/ 119 h 476"/>
                <a:gd name="T74" fmla="*/ 84 w 381"/>
                <a:gd name="T75" fmla="*/ 125 h 476"/>
                <a:gd name="T76" fmla="*/ 82 w 381"/>
                <a:gd name="T77" fmla="*/ 127 h 476"/>
                <a:gd name="T78" fmla="*/ 88 w 381"/>
                <a:gd name="T79" fmla="*/ 132 h 476"/>
                <a:gd name="T80" fmla="*/ 81 w 381"/>
                <a:gd name="T81" fmla="*/ 140 h 476"/>
                <a:gd name="T82" fmla="*/ 71 w 381"/>
                <a:gd name="T83" fmla="*/ 149 h 476"/>
                <a:gd name="T84" fmla="*/ 68 w 381"/>
                <a:gd name="T85" fmla="*/ 149 h 476"/>
                <a:gd name="T86" fmla="*/ 57 w 381"/>
                <a:gd name="T87" fmla="*/ 157 h 476"/>
                <a:gd name="T88" fmla="*/ 46 w 381"/>
                <a:gd name="T89" fmla="*/ 138 h 476"/>
                <a:gd name="T90" fmla="*/ 36 w 381"/>
                <a:gd name="T91" fmla="*/ 127 h 476"/>
                <a:gd name="T92" fmla="*/ 29 w 381"/>
                <a:gd name="T93" fmla="*/ 127 h 476"/>
                <a:gd name="T94" fmla="*/ 25 w 381"/>
                <a:gd name="T95" fmla="*/ 125 h 476"/>
                <a:gd name="T96" fmla="*/ 0 w 381"/>
                <a:gd name="T97" fmla="*/ 119 h 4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81" h="476">
                  <a:moveTo>
                    <a:pt x="0" y="365"/>
                  </a:moveTo>
                  <a:lnTo>
                    <a:pt x="12" y="284"/>
                  </a:lnTo>
                  <a:lnTo>
                    <a:pt x="27" y="263"/>
                  </a:lnTo>
                  <a:lnTo>
                    <a:pt x="33" y="239"/>
                  </a:lnTo>
                  <a:lnTo>
                    <a:pt x="48" y="206"/>
                  </a:lnTo>
                  <a:lnTo>
                    <a:pt x="42" y="191"/>
                  </a:lnTo>
                  <a:lnTo>
                    <a:pt x="42" y="164"/>
                  </a:lnTo>
                  <a:lnTo>
                    <a:pt x="81" y="119"/>
                  </a:lnTo>
                  <a:lnTo>
                    <a:pt x="78" y="89"/>
                  </a:lnTo>
                  <a:lnTo>
                    <a:pt x="105" y="47"/>
                  </a:lnTo>
                  <a:lnTo>
                    <a:pt x="129" y="53"/>
                  </a:lnTo>
                  <a:lnTo>
                    <a:pt x="180" y="17"/>
                  </a:lnTo>
                  <a:lnTo>
                    <a:pt x="189" y="0"/>
                  </a:lnTo>
                  <a:lnTo>
                    <a:pt x="219" y="5"/>
                  </a:lnTo>
                  <a:lnTo>
                    <a:pt x="234" y="44"/>
                  </a:lnTo>
                  <a:lnTo>
                    <a:pt x="246" y="71"/>
                  </a:lnTo>
                  <a:lnTo>
                    <a:pt x="279" y="71"/>
                  </a:lnTo>
                  <a:lnTo>
                    <a:pt x="300" y="47"/>
                  </a:lnTo>
                  <a:lnTo>
                    <a:pt x="330" y="77"/>
                  </a:lnTo>
                  <a:lnTo>
                    <a:pt x="381" y="59"/>
                  </a:lnTo>
                  <a:lnTo>
                    <a:pt x="348" y="134"/>
                  </a:lnTo>
                  <a:lnTo>
                    <a:pt x="330" y="125"/>
                  </a:lnTo>
                  <a:lnTo>
                    <a:pt x="315" y="134"/>
                  </a:lnTo>
                  <a:lnTo>
                    <a:pt x="315" y="140"/>
                  </a:lnTo>
                  <a:lnTo>
                    <a:pt x="333" y="161"/>
                  </a:lnTo>
                  <a:lnTo>
                    <a:pt x="327" y="230"/>
                  </a:lnTo>
                  <a:lnTo>
                    <a:pt x="333" y="254"/>
                  </a:lnTo>
                  <a:lnTo>
                    <a:pt x="327" y="260"/>
                  </a:lnTo>
                  <a:lnTo>
                    <a:pt x="306" y="257"/>
                  </a:lnTo>
                  <a:lnTo>
                    <a:pt x="294" y="269"/>
                  </a:lnTo>
                  <a:lnTo>
                    <a:pt x="303" y="287"/>
                  </a:lnTo>
                  <a:lnTo>
                    <a:pt x="276" y="314"/>
                  </a:lnTo>
                  <a:lnTo>
                    <a:pt x="282" y="323"/>
                  </a:lnTo>
                  <a:lnTo>
                    <a:pt x="258" y="335"/>
                  </a:lnTo>
                  <a:lnTo>
                    <a:pt x="261" y="353"/>
                  </a:lnTo>
                  <a:lnTo>
                    <a:pt x="252" y="362"/>
                  </a:lnTo>
                  <a:lnTo>
                    <a:pt x="219" y="362"/>
                  </a:lnTo>
                  <a:lnTo>
                    <a:pt x="201" y="380"/>
                  </a:lnTo>
                  <a:lnTo>
                    <a:pt x="198" y="386"/>
                  </a:lnTo>
                  <a:lnTo>
                    <a:pt x="213" y="398"/>
                  </a:lnTo>
                  <a:lnTo>
                    <a:pt x="195" y="425"/>
                  </a:lnTo>
                  <a:lnTo>
                    <a:pt x="171" y="455"/>
                  </a:lnTo>
                  <a:lnTo>
                    <a:pt x="162" y="452"/>
                  </a:lnTo>
                  <a:lnTo>
                    <a:pt x="138" y="476"/>
                  </a:lnTo>
                  <a:lnTo>
                    <a:pt x="111" y="416"/>
                  </a:lnTo>
                  <a:lnTo>
                    <a:pt x="87" y="386"/>
                  </a:lnTo>
                  <a:lnTo>
                    <a:pt x="69" y="386"/>
                  </a:lnTo>
                  <a:lnTo>
                    <a:pt x="60" y="380"/>
                  </a:lnTo>
                  <a:lnTo>
                    <a:pt x="0" y="365"/>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89" name="Freeform 83"/>
            <p:cNvSpPr>
              <a:spLocks/>
            </p:cNvSpPr>
            <p:nvPr/>
          </p:nvSpPr>
          <p:spPr bwMode="auto">
            <a:xfrm>
              <a:off x="4911974" y="4481537"/>
              <a:ext cx="587375" cy="803275"/>
            </a:xfrm>
            <a:custGeom>
              <a:avLst/>
              <a:gdLst>
                <a:gd name="T0" fmla="*/ 5 w 419"/>
                <a:gd name="T1" fmla="*/ 41 h 578"/>
                <a:gd name="T2" fmla="*/ 15 w 419"/>
                <a:gd name="T3" fmla="*/ 57 h 578"/>
                <a:gd name="T4" fmla="*/ 16 w 419"/>
                <a:gd name="T5" fmla="*/ 67 h 578"/>
                <a:gd name="T6" fmla="*/ 10 w 419"/>
                <a:gd name="T7" fmla="*/ 76 h 578"/>
                <a:gd name="T8" fmla="*/ 5 w 419"/>
                <a:gd name="T9" fmla="*/ 81 h 578"/>
                <a:gd name="T10" fmla="*/ 0 w 419"/>
                <a:gd name="T11" fmla="*/ 97 h 578"/>
                <a:gd name="T12" fmla="*/ 5 w 419"/>
                <a:gd name="T13" fmla="*/ 100 h 578"/>
                <a:gd name="T14" fmla="*/ 7 w 419"/>
                <a:gd name="T15" fmla="*/ 98 h 578"/>
                <a:gd name="T16" fmla="*/ 10 w 419"/>
                <a:gd name="T17" fmla="*/ 100 h 578"/>
                <a:gd name="T18" fmla="*/ 10 w 419"/>
                <a:gd name="T19" fmla="*/ 110 h 578"/>
                <a:gd name="T20" fmla="*/ 16 w 419"/>
                <a:gd name="T21" fmla="*/ 123 h 578"/>
                <a:gd name="T22" fmla="*/ 24 w 419"/>
                <a:gd name="T23" fmla="*/ 125 h 578"/>
                <a:gd name="T24" fmla="*/ 24 w 419"/>
                <a:gd name="T25" fmla="*/ 142 h 578"/>
                <a:gd name="T26" fmla="*/ 20 w 419"/>
                <a:gd name="T27" fmla="*/ 155 h 578"/>
                <a:gd name="T28" fmla="*/ 24 w 419"/>
                <a:gd name="T29" fmla="*/ 159 h 578"/>
                <a:gd name="T30" fmla="*/ 31 w 419"/>
                <a:gd name="T31" fmla="*/ 165 h 578"/>
                <a:gd name="T32" fmla="*/ 48 w 419"/>
                <a:gd name="T33" fmla="*/ 162 h 578"/>
                <a:gd name="T34" fmla="*/ 53 w 419"/>
                <a:gd name="T35" fmla="*/ 166 h 578"/>
                <a:gd name="T36" fmla="*/ 46 w 419"/>
                <a:gd name="T37" fmla="*/ 173 h 578"/>
                <a:gd name="T38" fmla="*/ 37 w 419"/>
                <a:gd name="T39" fmla="*/ 184 h 578"/>
                <a:gd name="T40" fmla="*/ 37 w 419"/>
                <a:gd name="T41" fmla="*/ 186 h 578"/>
                <a:gd name="T42" fmla="*/ 43 w 419"/>
                <a:gd name="T43" fmla="*/ 189 h 578"/>
                <a:gd name="T44" fmla="*/ 78 w 419"/>
                <a:gd name="T45" fmla="*/ 178 h 578"/>
                <a:gd name="T46" fmla="*/ 92 w 419"/>
                <a:gd name="T47" fmla="*/ 184 h 578"/>
                <a:gd name="T48" fmla="*/ 96 w 419"/>
                <a:gd name="T49" fmla="*/ 180 h 578"/>
                <a:gd name="T50" fmla="*/ 92 w 419"/>
                <a:gd name="T51" fmla="*/ 175 h 578"/>
                <a:gd name="T52" fmla="*/ 93 w 419"/>
                <a:gd name="T53" fmla="*/ 170 h 578"/>
                <a:gd name="T54" fmla="*/ 99 w 419"/>
                <a:gd name="T55" fmla="*/ 143 h 578"/>
                <a:gd name="T56" fmla="*/ 105 w 419"/>
                <a:gd name="T57" fmla="*/ 137 h 578"/>
                <a:gd name="T58" fmla="*/ 107 w 419"/>
                <a:gd name="T59" fmla="*/ 129 h 578"/>
                <a:gd name="T60" fmla="*/ 112 w 419"/>
                <a:gd name="T61" fmla="*/ 118 h 578"/>
                <a:gd name="T62" fmla="*/ 112 w 419"/>
                <a:gd name="T63" fmla="*/ 112 h 578"/>
                <a:gd name="T64" fmla="*/ 112 w 419"/>
                <a:gd name="T65" fmla="*/ 105 h 578"/>
                <a:gd name="T66" fmla="*/ 127 w 419"/>
                <a:gd name="T67" fmla="*/ 89 h 578"/>
                <a:gd name="T68" fmla="*/ 126 w 419"/>
                <a:gd name="T69" fmla="*/ 80 h 578"/>
                <a:gd name="T70" fmla="*/ 137 w 419"/>
                <a:gd name="T71" fmla="*/ 64 h 578"/>
                <a:gd name="T72" fmla="*/ 146 w 419"/>
                <a:gd name="T73" fmla="*/ 68 h 578"/>
                <a:gd name="T74" fmla="*/ 166 w 419"/>
                <a:gd name="T75" fmla="*/ 56 h 578"/>
                <a:gd name="T76" fmla="*/ 171 w 419"/>
                <a:gd name="T77" fmla="*/ 51 h 578"/>
                <a:gd name="T78" fmla="*/ 158 w 419"/>
                <a:gd name="T79" fmla="*/ 30 h 578"/>
                <a:gd name="T80" fmla="*/ 149 w 419"/>
                <a:gd name="T81" fmla="*/ 21 h 578"/>
                <a:gd name="T82" fmla="*/ 154 w 419"/>
                <a:gd name="T83" fmla="*/ 17 h 578"/>
                <a:gd name="T84" fmla="*/ 147 w 419"/>
                <a:gd name="T85" fmla="*/ 11 h 578"/>
                <a:gd name="T86" fmla="*/ 127 w 419"/>
                <a:gd name="T87" fmla="*/ 11 h 578"/>
                <a:gd name="T88" fmla="*/ 120 w 419"/>
                <a:gd name="T89" fmla="*/ 4 h 578"/>
                <a:gd name="T90" fmla="*/ 102 w 419"/>
                <a:gd name="T91" fmla="*/ 15 h 578"/>
                <a:gd name="T92" fmla="*/ 97 w 419"/>
                <a:gd name="T93" fmla="*/ 13 h 578"/>
                <a:gd name="T94" fmla="*/ 105 w 419"/>
                <a:gd name="T95" fmla="*/ 4 h 578"/>
                <a:gd name="T96" fmla="*/ 102 w 419"/>
                <a:gd name="T97" fmla="*/ 3 h 578"/>
                <a:gd name="T98" fmla="*/ 97 w 419"/>
                <a:gd name="T99" fmla="*/ 0 h 578"/>
                <a:gd name="T100" fmla="*/ 78 w 419"/>
                <a:gd name="T101" fmla="*/ 8 h 578"/>
                <a:gd name="T102" fmla="*/ 64 w 419"/>
                <a:gd name="T103" fmla="*/ 12 h 578"/>
                <a:gd name="T104" fmla="*/ 54 w 419"/>
                <a:gd name="T105" fmla="*/ 11 h 578"/>
                <a:gd name="T106" fmla="*/ 27 w 419"/>
                <a:gd name="T107" fmla="*/ 30 h 578"/>
                <a:gd name="T108" fmla="*/ 14 w 419"/>
                <a:gd name="T109" fmla="*/ 33 h 578"/>
                <a:gd name="T110" fmla="*/ 5 w 419"/>
                <a:gd name="T111" fmla="*/ 41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19" h="578">
                  <a:moveTo>
                    <a:pt x="9" y="126"/>
                  </a:moveTo>
                  <a:lnTo>
                    <a:pt x="36" y="176"/>
                  </a:lnTo>
                  <a:lnTo>
                    <a:pt x="39" y="203"/>
                  </a:lnTo>
                  <a:lnTo>
                    <a:pt x="24" y="233"/>
                  </a:lnTo>
                  <a:lnTo>
                    <a:pt x="6" y="248"/>
                  </a:lnTo>
                  <a:lnTo>
                    <a:pt x="0" y="296"/>
                  </a:lnTo>
                  <a:lnTo>
                    <a:pt x="6" y="305"/>
                  </a:lnTo>
                  <a:lnTo>
                    <a:pt x="18" y="299"/>
                  </a:lnTo>
                  <a:lnTo>
                    <a:pt x="24" y="305"/>
                  </a:lnTo>
                  <a:lnTo>
                    <a:pt x="24" y="335"/>
                  </a:lnTo>
                  <a:lnTo>
                    <a:pt x="39" y="374"/>
                  </a:lnTo>
                  <a:lnTo>
                    <a:pt x="57" y="380"/>
                  </a:lnTo>
                  <a:lnTo>
                    <a:pt x="57" y="434"/>
                  </a:lnTo>
                  <a:lnTo>
                    <a:pt x="48" y="470"/>
                  </a:lnTo>
                  <a:lnTo>
                    <a:pt x="57" y="485"/>
                  </a:lnTo>
                  <a:lnTo>
                    <a:pt x="75" y="503"/>
                  </a:lnTo>
                  <a:lnTo>
                    <a:pt x="119" y="494"/>
                  </a:lnTo>
                  <a:lnTo>
                    <a:pt x="128" y="509"/>
                  </a:lnTo>
                  <a:lnTo>
                    <a:pt x="113" y="527"/>
                  </a:lnTo>
                  <a:lnTo>
                    <a:pt x="93" y="560"/>
                  </a:lnTo>
                  <a:lnTo>
                    <a:pt x="93" y="569"/>
                  </a:lnTo>
                  <a:lnTo>
                    <a:pt x="105" y="578"/>
                  </a:lnTo>
                  <a:lnTo>
                    <a:pt x="194" y="542"/>
                  </a:lnTo>
                  <a:lnTo>
                    <a:pt x="227" y="560"/>
                  </a:lnTo>
                  <a:lnTo>
                    <a:pt x="236" y="551"/>
                  </a:lnTo>
                  <a:lnTo>
                    <a:pt x="227" y="533"/>
                  </a:lnTo>
                  <a:lnTo>
                    <a:pt x="230" y="518"/>
                  </a:lnTo>
                  <a:lnTo>
                    <a:pt x="242" y="437"/>
                  </a:lnTo>
                  <a:lnTo>
                    <a:pt x="257" y="416"/>
                  </a:lnTo>
                  <a:lnTo>
                    <a:pt x="263" y="392"/>
                  </a:lnTo>
                  <a:lnTo>
                    <a:pt x="278" y="359"/>
                  </a:lnTo>
                  <a:lnTo>
                    <a:pt x="272" y="344"/>
                  </a:lnTo>
                  <a:lnTo>
                    <a:pt x="272" y="317"/>
                  </a:lnTo>
                  <a:lnTo>
                    <a:pt x="311" y="272"/>
                  </a:lnTo>
                  <a:lnTo>
                    <a:pt x="308" y="242"/>
                  </a:lnTo>
                  <a:lnTo>
                    <a:pt x="335" y="200"/>
                  </a:lnTo>
                  <a:lnTo>
                    <a:pt x="359" y="206"/>
                  </a:lnTo>
                  <a:lnTo>
                    <a:pt x="410" y="170"/>
                  </a:lnTo>
                  <a:lnTo>
                    <a:pt x="419" y="153"/>
                  </a:lnTo>
                  <a:lnTo>
                    <a:pt x="386" y="93"/>
                  </a:lnTo>
                  <a:lnTo>
                    <a:pt x="365" y="63"/>
                  </a:lnTo>
                  <a:lnTo>
                    <a:pt x="380" y="51"/>
                  </a:lnTo>
                  <a:lnTo>
                    <a:pt x="362" y="33"/>
                  </a:lnTo>
                  <a:lnTo>
                    <a:pt x="314" y="33"/>
                  </a:lnTo>
                  <a:lnTo>
                    <a:pt x="293" y="9"/>
                  </a:lnTo>
                  <a:lnTo>
                    <a:pt x="254" y="48"/>
                  </a:lnTo>
                  <a:lnTo>
                    <a:pt x="239" y="42"/>
                  </a:lnTo>
                  <a:lnTo>
                    <a:pt x="257" y="12"/>
                  </a:lnTo>
                  <a:lnTo>
                    <a:pt x="254" y="3"/>
                  </a:lnTo>
                  <a:lnTo>
                    <a:pt x="239" y="0"/>
                  </a:lnTo>
                  <a:lnTo>
                    <a:pt x="194" y="24"/>
                  </a:lnTo>
                  <a:lnTo>
                    <a:pt x="158" y="36"/>
                  </a:lnTo>
                  <a:lnTo>
                    <a:pt x="131" y="33"/>
                  </a:lnTo>
                  <a:lnTo>
                    <a:pt x="66" y="90"/>
                  </a:lnTo>
                  <a:lnTo>
                    <a:pt x="33" y="102"/>
                  </a:lnTo>
                  <a:lnTo>
                    <a:pt x="9" y="126"/>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0" name="Freeform 84"/>
            <p:cNvSpPr>
              <a:spLocks/>
            </p:cNvSpPr>
            <p:nvPr/>
          </p:nvSpPr>
          <p:spPr bwMode="auto">
            <a:xfrm>
              <a:off x="4911974" y="4481537"/>
              <a:ext cx="587375" cy="803275"/>
            </a:xfrm>
            <a:custGeom>
              <a:avLst/>
              <a:gdLst>
                <a:gd name="T0" fmla="*/ 5 w 419"/>
                <a:gd name="T1" fmla="*/ 41 h 578"/>
                <a:gd name="T2" fmla="*/ 15 w 419"/>
                <a:gd name="T3" fmla="*/ 57 h 578"/>
                <a:gd name="T4" fmla="*/ 16 w 419"/>
                <a:gd name="T5" fmla="*/ 67 h 578"/>
                <a:gd name="T6" fmla="*/ 10 w 419"/>
                <a:gd name="T7" fmla="*/ 76 h 578"/>
                <a:gd name="T8" fmla="*/ 5 w 419"/>
                <a:gd name="T9" fmla="*/ 81 h 578"/>
                <a:gd name="T10" fmla="*/ 0 w 419"/>
                <a:gd name="T11" fmla="*/ 97 h 578"/>
                <a:gd name="T12" fmla="*/ 5 w 419"/>
                <a:gd name="T13" fmla="*/ 100 h 578"/>
                <a:gd name="T14" fmla="*/ 7 w 419"/>
                <a:gd name="T15" fmla="*/ 98 h 578"/>
                <a:gd name="T16" fmla="*/ 10 w 419"/>
                <a:gd name="T17" fmla="*/ 100 h 578"/>
                <a:gd name="T18" fmla="*/ 10 w 419"/>
                <a:gd name="T19" fmla="*/ 110 h 578"/>
                <a:gd name="T20" fmla="*/ 16 w 419"/>
                <a:gd name="T21" fmla="*/ 123 h 578"/>
                <a:gd name="T22" fmla="*/ 24 w 419"/>
                <a:gd name="T23" fmla="*/ 125 h 578"/>
                <a:gd name="T24" fmla="*/ 24 w 419"/>
                <a:gd name="T25" fmla="*/ 142 h 578"/>
                <a:gd name="T26" fmla="*/ 20 w 419"/>
                <a:gd name="T27" fmla="*/ 155 h 578"/>
                <a:gd name="T28" fmla="*/ 24 w 419"/>
                <a:gd name="T29" fmla="*/ 159 h 578"/>
                <a:gd name="T30" fmla="*/ 31 w 419"/>
                <a:gd name="T31" fmla="*/ 165 h 578"/>
                <a:gd name="T32" fmla="*/ 48 w 419"/>
                <a:gd name="T33" fmla="*/ 162 h 578"/>
                <a:gd name="T34" fmla="*/ 53 w 419"/>
                <a:gd name="T35" fmla="*/ 166 h 578"/>
                <a:gd name="T36" fmla="*/ 46 w 419"/>
                <a:gd name="T37" fmla="*/ 173 h 578"/>
                <a:gd name="T38" fmla="*/ 37 w 419"/>
                <a:gd name="T39" fmla="*/ 184 h 578"/>
                <a:gd name="T40" fmla="*/ 37 w 419"/>
                <a:gd name="T41" fmla="*/ 186 h 578"/>
                <a:gd name="T42" fmla="*/ 43 w 419"/>
                <a:gd name="T43" fmla="*/ 189 h 578"/>
                <a:gd name="T44" fmla="*/ 78 w 419"/>
                <a:gd name="T45" fmla="*/ 178 h 578"/>
                <a:gd name="T46" fmla="*/ 92 w 419"/>
                <a:gd name="T47" fmla="*/ 184 h 578"/>
                <a:gd name="T48" fmla="*/ 96 w 419"/>
                <a:gd name="T49" fmla="*/ 180 h 578"/>
                <a:gd name="T50" fmla="*/ 92 w 419"/>
                <a:gd name="T51" fmla="*/ 175 h 578"/>
                <a:gd name="T52" fmla="*/ 93 w 419"/>
                <a:gd name="T53" fmla="*/ 170 h 578"/>
                <a:gd name="T54" fmla="*/ 99 w 419"/>
                <a:gd name="T55" fmla="*/ 143 h 578"/>
                <a:gd name="T56" fmla="*/ 105 w 419"/>
                <a:gd name="T57" fmla="*/ 137 h 578"/>
                <a:gd name="T58" fmla="*/ 107 w 419"/>
                <a:gd name="T59" fmla="*/ 129 h 578"/>
                <a:gd name="T60" fmla="*/ 112 w 419"/>
                <a:gd name="T61" fmla="*/ 118 h 578"/>
                <a:gd name="T62" fmla="*/ 112 w 419"/>
                <a:gd name="T63" fmla="*/ 112 h 578"/>
                <a:gd name="T64" fmla="*/ 112 w 419"/>
                <a:gd name="T65" fmla="*/ 105 h 578"/>
                <a:gd name="T66" fmla="*/ 127 w 419"/>
                <a:gd name="T67" fmla="*/ 89 h 578"/>
                <a:gd name="T68" fmla="*/ 126 w 419"/>
                <a:gd name="T69" fmla="*/ 80 h 578"/>
                <a:gd name="T70" fmla="*/ 137 w 419"/>
                <a:gd name="T71" fmla="*/ 64 h 578"/>
                <a:gd name="T72" fmla="*/ 146 w 419"/>
                <a:gd name="T73" fmla="*/ 68 h 578"/>
                <a:gd name="T74" fmla="*/ 166 w 419"/>
                <a:gd name="T75" fmla="*/ 56 h 578"/>
                <a:gd name="T76" fmla="*/ 171 w 419"/>
                <a:gd name="T77" fmla="*/ 51 h 578"/>
                <a:gd name="T78" fmla="*/ 158 w 419"/>
                <a:gd name="T79" fmla="*/ 30 h 578"/>
                <a:gd name="T80" fmla="*/ 149 w 419"/>
                <a:gd name="T81" fmla="*/ 21 h 578"/>
                <a:gd name="T82" fmla="*/ 154 w 419"/>
                <a:gd name="T83" fmla="*/ 17 h 578"/>
                <a:gd name="T84" fmla="*/ 147 w 419"/>
                <a:gd name="T85" fmla="*/ 11 h 578"/>
                <a:gd name="T86" fmla="*/ 127 w 419"/>
                <a:gd name="T87" fmla="*/ 11 h 578"/>
                <a:gd name="T88" fmla="*/ 120 w 419"/>
                <a:gd name="T89" fmla="*/ 4 h 578"/>
                <a:gd name="T90" fmla="*/ 102 w 419"/>
                <a:gd name="T91" fmla="*/ 15 h 578"/>
                <a:gd name="T92" fmla="*/ 97 w 419"/>
                <a:gd name="T93" fmla="*/ 13 h 578"/>
                <a:gd name="T94" fmla="*/ 105 w 419"/>
                <a:gd name="T95" fmla="*/ 4 h 578"/>
                <a:gd name="T96" fmla="*/ 102 w 419"/>
                <a:gd name="T97" fmla="*/ 3 h 578"/>
                <a:gd name="T98" fmla="*/ 97 w 419"/>
                <a:gd name="T99" fmla="*/ 0 h 578"/>
                <a:gd name="T100" fmla="*/ 78 w 419"/>
                <a:gd name="T101" fmla="*/ 8 h 578"/>
                <a:gd name="T102" fmla="*/ 64 w 419"/>
                <a:gd name="T103" fmla="*/ 12 h 578"/>
                <a:gd name="T104" fmla="*/ 54 w 419"/>
                <a:gd name="T105" fmla="*/ 11 h 578"/>
                <a:gd name="T106" fmla="*/ 27 w 419"/>
                <a:gd name="T107" fmla="*/ 30 h 578"/>
                <a:gd name="T108" fmla="*/ 14 w 419"/>
                <a:gd name="T109" fmla="*/ 33 h 578"/>
                <a:gd name="T110" fmla="*/ 5 w 419"/>
                <a:gd name="T111" fmla="*/ 41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19" h="578">
                  <a:moveTo>
                    <a:pt x="9" y="126"/>
                  </a:moveTo>
                  <a:lnTo>
                    <a:pt x="36" y="176"/>
                  </a:lnTo>
                  <a:lnTo>
                    <a:pt x="39" y="203"/>
                  </a:lnTo>
                  <a:lnTo>
                    <a:pt x="24" y="233"/>
                  </a:lnTo>
                  <a:lnTo>
                    <a:pt x="6" y="248"/>
                  </a:lnTo>
                  <a:lnTo>
                    <a:pt x="0" y="296"/>
                  </a:lnTo>
                  <a:lnTo>
                    <a:pt x="6" y="305"/>
                  </a:lnTo>
                  <a:lnTo>
                    <a:pt x="18" y="299"/>
                  </a:lnTo>
                  <a:lnTo>
                    <a:pt x="24" y="305"/>
                  </a:lnTo>
                  <a:lnTo>
                    <a:pt x="24" y="335"/>
                  </a:lnTo>
                  <a:lnTo>
                    <a:pt x="39" y="374"/>
                  </a:lnTo>
                  <a:lnTo>
                    <a:pt x="57" y="380"/>
                  </a:lnTo>
                  <a:lnTo>
                    <a:pt x="57" y="434"/>
                  </a:lnTo>
                  <a:lnTo>
                    <a:pt x="48" y="470"/>
                  </a:lnTo>
                  <a:lnTo>
                    <a:pt x="57" y="485"/>
                  </a:lnTo>
                  <a:lnTo>
                    <a:pt x="75" y="503"/>
                  </a:lnTo>
                  <a:lnTo>
                    <a:pt x="119" y="494"/>
                  </a:lnTo>
                  <a:lnTo>
                    <a:pt x="128" y="509"/>
                  </a:lnTo>
                  <a:lnTo>
                    <a:pt x="113" y="527"/>
                  </a:lnTo>
                  <a:lnTo>
                    <a:pt x="93" y="560"/>
                  </a:lnTo>
                  <a:lnTo>
                    <a:pt x="93" y="569"/>
                  </a:lnTo>
                  <a:lnTo>
                    <a:pt x="105" y="578"/>
                  </a:lnTo>
                  <a:lnTo>
                    <a:pt x="194" y="542"/>
                  </a:lnTo>
                  <a:lnTo>
                    <a:pt x="227" y="560"/>
                  </a:lnTo>
                  <a:lnTo>
                    <a:pt x="236" y="551"/>
                  </a:lnTo>
                  <a:lnTo>
                    <a:pt x="227" y="533"/>
                  </a:lnTo>
                  <a:lnTo>
                    <a:pt x="230" y="518"/>
                  </a:lnTo>
                  <a:lnTo>
                    <a:pt x="242" y="437"/>
                  </a:lnTo>
                  <a:lnTo>
                    <a:pt x="257" y="416"/>
                  </a:lnTo>
                  <a:lnTo>
                    <a:pt x="263" y="392"/>
                  </a:lnTo>
                  <a:lnTo>
                    <a:pt x="278" y="359"/>
                  </a:lnTo>
                  <a:lnTo>
                    <a:pt x="272" y="344"/>
                  </a:lnTo>
                  <a:lnTo>
                    <a:pt x="272" y="317"/>
                  </a:lnTo>
                  <a:lnTo>
                    <a:pt x="311" y="272"/>
                  </a:lnTo>
                  <a:lnTo>
                    <a:pt x="308" y="242"/>
                  </a:lnTo>
                  <a:lnTo>
                    <a:pt x="335" y="200"/>
                  </a:lnTo>
                  <a:lnTo>
                    <a:pt x="359" y="206"/>
                  </a:lnTo>
                  <a:lnTo>
                    <a:pt x="410" y="170"/>
                  </a:lnTo>
                  <a:lnTo>
                    <a:pt x="419" y="153"/>
                  </a:lnTo>
                  <a:lnTo>
                    <a:pt x="386" y="93"/>
                  </a:lnTo>
                  <a:lnTo>
                    <a:pt x="365" y="63"/>
                  </a:lnTo>
                  <a:lnTo>
                    <a:pt x="380" y="51"/>
                  </a:lnTo>
                  <a:lnTo>
                    <a:pt x="362" y="33"/>
                  </a:lnTo>
                  <a:lnTo>
                    <a:pt x="314" y="33"/>
                  </a:lnTo>
                  <a:lnTo>
                    <a:pt x="293" y="9"/>
                  </a:lnTo>
                  <a:lnTo>
                    <a:pt x="254" y="48"/>
                  </a:lnTo>
                  <a:lnTo>
                    <a:pt x="239" y="42"/>
                  </a:lnTo>
                  <a:lnTo>
                    <a:pt x="257" y="12"/>
                  </a:lnTo>
                  <a:lnTo>
                    <a:pt x="254" y="3"/>
                  </a:lnTo>
                  <a:lnTo>
                    <a:pt x="239" y="0"/>
                  </a:lnTo>
                  <a:lnTo>
                    <a:pt x="194" y="24"/>
                  </a:lnTo>
                  <a:lnTo>
                    <a:pt x="158" y="36"/>
                  </a:lnTo>
                  <a:lnTo>
                    <a:pt x="131" y="33"/>
                  </a:lnTo>
                  <a:lnTo>
                    <a:pt x="66" y="90"/>
                  </a:lnTo>
                  <a:lnTo>
                    <a:pt x="33" y="102"/>
                  </a:lnTo>
                  <a:lnTo>
                    <a:pt x="9" y="126"/>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1" name="Freeform 85"/>
            <p:cNvSpPr>
              <a:spLocks/>
            </p:cNvSpPr>
            <p:nvPr/>
          </p:nvSpPr>
          <p:spPr bwMode="auto">
            <a:xfrm>
              <a:off x="4315074" y="4557737"/>
              <a:ext cx="677862" cy="747713"/>
            </a:xfrm>
            <a:custGeom>
              <a:avLst/>
              <a:gdLst>
                <a:gd name="T0" fmla="*/ 170 w 483"/>
                <a:gd name="T1" fmla="*/ 21 h 539"/>
                <a:gd name="T2" fmla="*/ 167 w 483"/>
                <a:gd name="T3" fmla="*/ 7 h 539"/>
                <a:gd name="T4" fmla="*/ 153 w 483"/>
                <a:gd name="T5" fmla="*/ 9 h 539"/>
                <a:gd name="T6" fmla="*/ 142 w 483"/>
                <a:gd name="T7" fmla="*/ 15 h 539"/>
                <a:gd name="T8" fmla="*/ 133 w 483"/>
                <a:gd name="T9" fmla="*/ 9 h 539"/>
                <a:gd name="T10" fmla="*/ 113 w 483"/>
                <a:gd name="T11" fmla="*/ 11 h 539"/>
                <a:gd name="T12" fmla="*/ 54 w 483"/>
                <a:gd name="T13" fmla="*/ 0 h 539"/>
                <a:gd name="T14" fmla="*/ 59 w 483"/>
                <a:gd name="T15" fmla="*/ 12 h 539"/>
                <a:gd name="T16" fmla="*/ 32 w 483"/>
                <a:gd name="T17" fmla="*/ 12 h 539"/>
                <a:gd name="T18" fmla="*/ 10 w 483"/>
                <a:gd name="T19" fmla="*/ 34 h 539"/>
                <a:gd name="T20" fmla="*/ 20 w 483"/>
                <a:gd name="T21" fmla="*/ 85 h 539"/>
                <a:gd name="T22" fmla="*/ 5 w 483"/>
                <a:gd name="T23" fmla="*/ 102 h 539"/>
                <a:gd name="T24" fmla="*/ 25 w 483"/>
                <a:gd name="T25" fmla="*/ 105 h 539"/>
                <a:gd name="T26" fmla="*/ 29 w 483"/>
                <a:gd name="T27" fmla="*/ 138 h 539"/>
                <a:gd name="T28" fmla="*/ 49 w 483"/>
                <a:gd name="T29" fmla="*/ 130 h 539"/>
                <a:gd name="T30" fmla="*/ 55 w 483"/>
                <a:gd name="T31" fmla="*/ 136 h 539"/>
                <a:gd name="T32" fmla="*/ 74 w 483"/>
                <a:gd name="T33" fmla="*/ 125 h 539"/>
                <a:gd name="T34" fmla="*/ 94 w 483"/>
                <a:gd name="T35" fmla="*/ 125 h 539"/>
                <a:gd name="T36" fmla="*/ 103 w 483"/>
                <a:gd name="T37" fmla="*/ 139 h 539"/>
                <a:gd name="T38" fmla="*/ 92 w 483"/>
                <a:gd name="T39" fmla="*/ 159 h 539"/>
                <a:gd name="T40" fmla="*/ 92 w 483"/>
                <a:gd name="T41" fmla="*/ 168 h 539"/>
                <a:gd name="T42" fmla="*/ 110 w 483"/>
                <a:gd name="T43" fmla="*/ 176 h 539"/>
                <a:gd name="T44" fmla="*/ 124 w 483"/>
                <a:gd name="T45" fmla="*/ 172 h 539"/>
                <a:gd name="T46" fmla="*/ 133 w 483"/>
                <a:gd name="T47" fmla="*/ 159 h 539"/>
                <a:gd name="T48" fmla="*/ 145 w 483"/>
                <a:gd name="T49" fmla="*/ 156 h 539"/>
                <a:gd name="T50" fmla="*/ 163 w 483"/>
                <a:gd name="T51" fmla="*/ 159 h 539"/>
                <a:gd name="T52" fmla="*/ 161 w 483"/>
                <a:gd name="T53" fmla="*/ 149 h 539"/>
                <a:gd name="T54" fmla="*/ 189 w 483"/>
                <a:gd name="T55" fmla="*/ 148 h 539"/>
                <a:gd name="T56" fmla="*/ 194 w 483"/>
                <a:gd name="T57" fmla="*/ 136 h 539"/>
                <a:gd name="T58" fmla="*/ 199 w 483"/>
                <a:gd name="T59" fmla="*/ 106 h 539"/>
                <a:gd name="T60" fmla="*/ 185 w 483"/>
                <a:gd name="T61" fmla="*/ 91 h 539"/>
                <a:gd name="T62" fmla="*/ 183 w 483"/>
                <a:gd name="T63" fmla="*/ 80 h 539"/>
                <a:gd name="T64" fmla="*/ 176 w 483"/>
                <a:gd name="T65" fmla="*/ 80 h 539"/>
                <a:gd name="T66" fmla="*/ 185 w 483"/>
                <a:gd name="T67" fmla="*/ 57 h 539"/>
                <a:gd name="T68" fmla="*/ 190 w 483"/>
                <a:gd name="T69" fmla="*/ 40 h 5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83" h="539">
                  <a:moveTo>
                    <a:pt x="435" y="72"/>
                  </a:moveTo>
                  <a:lnTo>
                    <a:pt x="414" y="66"/>
                  </a:lnTo>
                  <a:lnTo>
                    <a:pt x="405" y="54"/>
                  </a:lnTo>
                  <a:lnTo>
                    <a:pt x="405" y="21"/>
                  </a:lnTo>
                  <a:lnTo>
                    <a:pt x="396" y="6"/>
                  </a:lnTo>
                  <a:lnTo>
                    <a:pt x="372" y="27"/>
                  </a:lnTo>
                  <a:lnTo>
                    <a:pt x="360" y="45"/>
                  </a:lnTo>
                  <a:lnTo>
                    <a:pt x="345" y="45"/>
                  </a:lnTo>
                  <a:lnTo>
                    <a:pt x="342" y="18"/>
                  </a:lnTo>
                  <a:lnTo>
                    <a:pt x="321" y="27"/>
                  </a:lnTo>
                  <a:lnTo>
                    <a:pt x="291" y="45"/>
                  </a:lnTo>
                  <a:lnTo>
                    <a:pt x="273" y="33"/>
                  </a:lnTo>
                  <a:lnTo>
                    <a:pt x="237" y="9"/>
                  </a:lnTo>
                  <a:lnTo>
                    <a:pt x="132" y="0"/>
                  </a:lnTo>
                  <a:lnTo>
                    <a:pt x="123" y="12"/>
                  </a:lnTo>
                  <a:lnTo>
                    <a:pt x="144" y="36"/>
                  </a:lnTo>
                  <a:lnTo>
                    <a:pt x="117" y="54"/>
                  </a:lnTo>
                  <a:lnTo>
                    <a:pt x="78" y="36"/>
                  </a:lnTo>
                  <a:lnTo>
                    <a:pt x="39" y="72"/>
                  </a:lnTo>
                  <a:lnTo>
                    <a:pt x="24" y="104"/>
                  </a:lnTo>
                  <a:lnTo>
                    <a:pt x="27" y="179"/>
                  </a:lnTo>
                  <a:lnTo>
                    <a:pt x="48" y="257"/>
                  </a:lnTo>
                  <a:lnTo>
                    <a:pt x="0" y="308"/>
                  </a:lnTo>
                  <a:lnTo>
                    <a:pt x="6" y="314"/>
                  </a:lnTo>
                  <a:lnTo>
                    <a:pt x="48" y="302"/>
                  </a:lnTo>
                  <a:lnTo>
                    <a:pt x="60" y="320"/>
                  </a:lnTo>
                  <a:lnTo>
                    <a:pt x="51" y="377"/>
                  </a:lnTo>
                  <a:lnTo>
                    <a:pt x="72" y="419"/>
                  </a:lnTo>
                  <a:lnTo>
                    <a:pt x="96" y="425"/>
                  </a:lnTo>
                  <a:lnTo>
                    <a:pt x="117" y="395"/>
                  </a:lnTo>
                  <a:lnTo>
                    <a:pt x="129" y="419"/>
                  </a:lnTo>
                  <a:lnTo>
                    <a:pt x="135" y="416"/>
                  </a:lnTo>
                  <a:lnTo>
                    <a:pt x="171" y="383"/>
                  </a:lnTo>
                  <a:lnTo>
                    <a:pt x="180" y="383"/>
                  </a:lnTo>
                  <a:lnTo>
                    <a:pt x="198" y="377"/>
                  </a:lnTo>
                  <a:lnTo>
                    <a:pt x="228" y="383"/>
                  </a:lnTo>
                  <a:lnTo>
                    <a:pt x="228" y="416"/>
                  </a:lnTo>
                  <a:lnTo>
                    <a:pt x="249" y="422"/>
                  </a:lnTo>
                  <a:lnTo>
                    <a:pt x="243" y="452"/>
                  </a:lnTo>
                  <a:lnTo>
                    <a:pt x="222" y="485"/>
                  </a:lnTo>
                  <a:lnTo>
                    <a:pt x="213" y="515"/>
                  </a:lnTo>
                  <a:lnTo>
                    <a:pt x="222" y="515"/>
                  </a:lnTo>
                  <a:lnTo>
                    <a:pt x="246" y="494"/>
                  </a:lnTo>
                  <a:lnTo>
                    <a:pt x="267" y="539"/>
                  </a:lnTo>
                  <a:lnTo>
                    <a:pt x="285" y="527"/>
                  </a:lnTo>
                  <a:lnTo>
                    <a:pt x="303" y="527"/>
                  </a:lnTo>
                  <a:lnTo>
                    <a:pt x="321" y="515"/>
                  </a:lnTo>
                  <a:lnTo>
                    <a:pt x="321" y="485"/>
                  </a:lnTo>
                  <a:lnTo>
                    <a:pt x="330" y="479"/>
                  </a:lnTo>
                  <a:lnTo>
                    <a:pt x="351" y="479"/>
                  </a:lnTo>
                  <a:lnTo>
                    <a:pt x="390" y="497"/>
                  </a:lnTo>
                  <a:lnTo>
                    <a:pt x="396" y="485"/>
                  </a:lnTo>
                  <a:lnTo>
                    <a:pt x="387" y="467"/>
                  </a:lnTo>
                  <a:lnTo>
                    <a:pt x="390" y="458"/>
                  </a:lnTo>
                  <a:lnTo>
                    <a:pt x="414" y="437"/>
                  </a:lnTo>
                  <a:lnTo>
                    <a:pt x="459" y="449"/>
                  </a:lnTo>
                  <a:lnTo>
                    <a:pt x="483" y="431"/>
                  </a:lnTo>
                  <a:lnTo>
                    <a:pt x="474" y="416"/>
                  </a:lnTo>
                  <a:lnTo>
                    <a:pt x="483" y="380"/>
                  </a:lnTo>
                  <a:lnTo>
                    <a:pt x="483" y="326"/>
                  </a:lnTo>
                  <a:lnTo>
                    <a:pt x="465" y="320"/>
                  </a:lnTo>
                  <a:lnTo>
                    <a:pt x="450" y="281"/>
                  </a:lnTo>
                  <a:lnTo>
                    <a:pt x="450" y="251"/>
                  </a:lnTo>
                  <a:lnTo>
                    <a:pt x="444" y="245"/>
                  </a:lnTo>
                  <a:lnTo>
                    <a:pt x="432" y="251"/>
                  </a:lnTo>
                  <a:lnTo>
                    <a:pt x="426" y="242"/>
                  </a:lnTo>
                  <a:lnTo>
                    <a:pt x="432" y="194"/>
                  </a:lnTo>
                  <a:lnTo>
                    <a:pt x="450" y="179"/>
                  </a:lnTo>
                  <a:lnTo>
                    <a:pt x="465" y="149"/>
                  </a:lnTo>
                  <a:lnTo>
                    <a:pt x="462" y="122"/>
                  </a:lnTo>
                  <a:lnTo>
                    <a:pt x="435" y="7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2" name="Freeform 86"/>
            <p:cNvSpPr>
              <a:spLocks/>
            </p:cNvSpPr>
            <p:nvPr/>
          </p:nvSpPr>
          <p:spPr bwMode="auto">
            <a:xfrm>
              <a:off x="4315074" y="4557737"/>
              <a:ext cx="677862" cy="747713"/>
            </a:xfrm>
            <a:custGeom>
              <a:avLst/>
              <a:gdLst>
                <a:gd name="T0" fmla="*/ 170 w 483"/>
                <a:gd name="T1" fmla="*/ 21 h 539"/>
                <a:gd name="T2" fmla="*/ 167 w 483"/>
                <a:gd name="T3" fmla="*/ 7 h 539"/>
                <a:gd name="T4" fmla="*/ 153 w 483"/>
                <a:gd name="T5" fmla="*/ 9 h 539"/>
                <a:gd name="T6" fmla="*/ 142 w 483"/>
                <a:gd name="T7" fmla="*/ 15 h 539"/>
                <a:gd name="T8" fmla="*/ 133 w 483"/>
                <a:gd name="T9" fmla="*/ 9 h 539"/>
                <a:gd name="T10" fmla="*/ 113 w 483"/>
                <a:gd name="T11" fmla="*/ 11 h 539"/>
                <a:gd name="T12" fmla="*/ 54 w 483"/>
                <a:gd name="T13" fmla="*/ 0 h 539"/>
                <a:gd name="T14" fmla="*/ 59 w 483"/>
                <a:gd name="T15" fmla="*/ 12 h 539"/>
                <a:gd name="T16" fmla="*/ 32 w 483"/>
                <a:gd name="T17" fmla="*/ 12 h 539"/>
                <a:gd name="T18" fmla="*/ 10 w 483"/>
                <a:gd name="T19" fmla="*/ 34 h 539"/>
                <a:gd name="T20" fmla="*/ 20 w 483"/>
                <a:gd name="T21" fmla="*/ 85 h 539"/>
                <a:gd name="T22" fmla="*/ 5 w 483"/>
                <a:gd name="T23" fmla="*/ 102 h 539"/>
                <a:gd name="T24" fmla="*/ 25 w 483"/>
                <a:gd name="T25" fmla="*/ 105 h 539"/>
                <a:gd name="T26" fmla="*/ 29 w 483"/>
                <a:gd name="T27" fmla="*/ 138 h 539"/>
                <a:gd name="T28" fmla="*/ 49 w 483"/>
                <a:gd name="T29" fmla="*/ 130 h 539"/>
                <a:gd name="T30" fmla="*/ 55 w 483"/>
                <a:gd name="T31" fmla="*/ 136 h 539"/>
                <a:gd name="T32" fmla="*/ 74 w 483"/>
                <a:gd name="T33" fmla="*/ 125 h 539"/>
                <a:gd name="T34" fmla="*/ 94 w 483"/>
                <a:gd name="T35" fmla="*/ 125 h 539"/>
                <a:gd name="T36" fmla="*/ 103 w 483"/>
                <a:gd name="T37" fmla="*/ 139 h 539"/>
                <a:gd name="T38" fmla="*/ 92 w 483"/>
                <a:gd name="T39" fmla="*/ 159 h 539"/>
                <a:gd name="T40" fmla="*/ 92 w 483"/>
                <a:gd name="T41" fmla="*/ 168 h 539"/>
                <a:gd name="T42" fmla="*/ 110 w 483"/>
                <a:gd name="T43" fmla="*/ 176 h 539"/>
                <a:gd name="T44" fmla="*/ 124 w 483"/>
                <a:gd name="T45" fmla="*/ 172 h 539"/>
                <a:gd name="T46" fmla="*/ 133 w 483"/>
                <a:gd name="T47" fmla="*/ 159 h 539"/>
                <a:gd name="T48" fmla="*/ 145 w 483"/>
                <a:gd name="T49" fmla="*/ 156 h 539"/>
                <a:gd name="T50" fmla="*/ 163 w 483"/>
                <a:gd name="T51" fmla="*/ 159 h 539"/>
                <a:gd name="T52" fmla="*/ 161 w 483"/>
                <a:gd name="T53" fmla="*/ 149 h 539"/>
                <a:gd name="T54" fmla="*/ 189 w 483"/>
                <a:gd name="T55" fmla="*/ 148 h 539"/>
                <a:gd name="T56" fmla="*/ 194 w 483"/>
                <a:gd name="T57" fmla="*/ 136 h 539"/>
                <a:gd name="T58" fmla="*/ 199 w 483"/>
                <a:gd name="T59" fmla="*/ 106 h 539"/>
                <a:gd name="T60" fmla="*/ 185 w 483"/>
                <a:gd name="T61" fmla="*/ 91 h 539"/>
                <a:gd name="T62" fmla="*/ 183 w 483"/>
                <a:gd name="T63" fmla="*/ 80 h 539"/>
                <a:gd name="T64" fmla="*/ 176 w 483"/>
                <a:gd name="T65" fmla="*/ 80 h 539"/>
                <a:gd name="T66" fmla="*/ 185 w 483"/>
                <a:gd name="T67" fmla="*/ 57 h 539"/>
                <a:gd name="T68" fmla="*/ 190 w 483"/>
                <a:gd name="T69" fmla="*/ 40 h 5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83" h="539">
                  <a:moveTo>
                    <a:pt x="435" y="72"/>
                  </a:moveTo>
                  <a:lnTo>
                    <a:pt x="414" y="66"/>
                  </a:lnTo>
                  <a:lnTo>
                    <a:pt x="405" y="54"/>
                  </a:lnTo>
                  <a:lnTo>
                    <a:pt x="405" y="21"/>
                  </a:lnTo>
                  <a:lnTo>
                    <a:pt x="396" y="6"/>
                  </a:lnTo>
                  <a:lnTo>
                    <a:pt x="372" y="27"/>
                  </a:lnTo>
                  <a:lnTo>
                    <a:pt x="360" y="45"/>
                  </a:lnTo>
                  <a:lnTo>
                    <a:pt x="345" y="45"/>
                  </a:lnTo>
                  <a:lnTo>
                    <a:pt x="342" y="18"/>
                  </a:lnTo>
                  <a:lnTo>
                    <a:pt x="321" y="27"/>
                  </a:lnTo>
                  <a:lnTo>
                    <a:pt x="291" y="45"/>
                  </a:lnTo>
                  <a:lnTo>
                    <a:pt x="273" y="33"/>
                  </a:lnTo>
                  <a:lnTo>
                    <a:pt x="237" y="9"/>
                  </a:lnTo>
                  <a:lnTo>
                    <a:pt x="132" y="0"/>
                  </a:lnTo>
                  <a:lnTo>
                    <a:pt x="123" y="12"/>
                  </a:lnTo>
                  <a:lnTo>
                    <a:pt x="144" y="36"/>
                  </a:lnTo>
                  <a:lnTo>
                    <a:pt x="117" y="54"/>
                  </a:lnTo>
                  <a:lnTo>
                    <a:pt x="78" y="36"/>
                  </a:lnTo>
                  <a:lnTo>
                    <a:pt x="39" y="72"/>
                  </a:lnTo>
                  <a:lnTo>
                    <a:pt x="24" y="104"/>
                  </a:lnTo>
                  <a:lnTo>
                    <a:pt x="27" y="179"/>
                  </a:lnTo>
                  <a:lnTo>
                    <a:pt x="48" y="257"/>
                  </a:lnTo>
                  <a:lnTo>
                    <a:pt x="0" y="308"/>
                  </a:lnTo>
                  <a:lnTo>
                    <a:pt x="6" y="314"/>
                  </a:lnTo>
                  <a:lnTo>
                    <a:pt x="48" y="302"/>
                  </a:lnTo>
                  <a:lnTo>
                    <a:pt x="60" y="320"/>
                  </a:lnTo>
                  <a:lnTo>
                    <a:pt x="51" y="377"/>
                  </a:lnTo>
                  <a:lnTo>
                    <a:pt x="72" y="419"/>
                  </a:lnTo>
                  <a:lnTo>
                    <a:pt x="96" y="425"/>
                  </a:lnTo>
                  <a:lnTo>
                    <a:pt x="117" y="395"/>
                  </a:lnTo>
                  <a:lnTo>
                    <a:pt x="129" y="419"/>
                  </a:lnTo>
                  <a:lnTo>
                    <a:pt x="135" y="416"/>
                  </a:lnTo>
                  <a:lnTo>
                    <a:pt x="171" y="383"/>
                  </a:lnTo>
                  <a:lnTo>
                    <a:pt x="180" y="383"/>
                  </a:lnTo>
                  <a:lnTo>
                    <a:pt x="198" y="377"/>
                  </a:lnTo>
                  <a:lnTo>
                    <a:pt x="228" y="383"/>
                  </a:lnTo>
                  <a:lnTo>
                    <a:pt x="228" y="416"/>
                  </a:lnTo>
                  <a:lnTo>
                    <a:pt x="249" y="422"/>
                  </a:lnTo>
                  <a:lnTo>
                    <a:pt x="243" y="452"/>
                  </a:lnTo>
                  <a:lnTo>
                    <a:pt x="222" y="485"/>
                  </a:lnTo>
                  <a:lnTo>
                    <a:pt x="213" y="515"/>
                  </a:lnTo>
                  <a:lnTo>
                    <a:pt x="222" y="515"/>
                  </a:lnTo>
                  <a:lnTo>
                    <a:pt x="246" y="494"/>
                  </a:lnTo>
                  <a:lnTo>
                    <a:pt x="267" y="539"/>
                  </a:lnTo>
                  <a:lnTo>
                    <a:pt x="285" y="527"/>
                  </a:lnTo>
                  <a:lnTo>
                    <a:pt x="303" y="527"/>
                  </a:lnTo>
                  <a:lnTo>
                    <a:pt x="321" y="515"/>
                  </a:lnTo>
                  <a:lnTo>
                    <a:pt x="321" y="485"/>
                  </a:lnTo>
                  <a:lnTo>
                    <a:pt x="330" y="479"/>
                  </a:lnTo>
                  <a:lnTo>
                    <a:pt x="351" y="479"/>
                  </a:lnTo>
                  <a:lnTo>
                    <a:pt x="390" y="497"/>
                  </a:lnTo>
                  <a:lnTo>
                    <a:pt x="396" y="485"/>
                  </a:lnTo>
                  <a:lnTo>
                    <a:pt x="387" y="467"/>
                  </a:lnTo>
                  <a:lnTo>
                    <a:pt x="390" y="458"/>
                  </a:lnTo>
                  <a:lnTo>
                    <a:pt x="414" y="437"/>
                  </a:lnTo>
                  <a:lnTo>
                    <a:pt x="459" y="449"/>
                  </a:lnTo>
                  <a:lnTo>
                    <a:pt x="483" y="431"/>
                  </a:lnTo>
                  <a:lnTo>
                    <a:pt x="474" y="416"/>
                  </a:lnTo>
                  <a:lnTo>
                    <a:pt x="483" y="380"/>
                  </a:lnTo>
                  <a:lnTo>
                    <a:pt x="483" y="326"/>
                  </a:lnTo>
                  <a:lnTo>
                    <a:pt x="465" y="320"/>
                  </a:lnTo>
                  <a:lnTo>
                    <a:pt x="450" y="281"/>
                  </a:lnTo>
                  <a:lnTo>
                    <a:pt x="450" y="251"/>
                  </a:lnTo>
                  <a:lnTo>
                    <a:pt x="444" y="245"/>
                  </a:lnTo>
                  <a:lnTo>
                    <a:pt x="432" y="251"/>
                  </a:lnTo>
                  <a:lnTo>
                    <a:pt x="426" y="242"/>
                  </a:lnTo>
                  <a:lnTo>
                    <a:pt x="432" y="194"/>
                  </a:lnTo>
                  <a:lnTo>
                    <a:pt x="450" y="179"/>
                  </a:lnTo>
                  <a:lnTo>
                    <a:pt x="465" y="149"/>
                  </a:lnTo>
                  <a:lnTo>
                    <a:pt x="462" y="122"/>
                  </a:lnTo>
                  <a:lnTo>
                    <a:pt x="435" y="72"/>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3" name="Freeform 87"/>
            <p:cNvSpPr>
              <a:spLocks/>
            </p:cNvSpPr>
            <p:nvPr/>
          </p:nvSpPr>
          <p:spPr bwMode="auto">
            <a:xfrm>
              <a:off x="3659436" y="4702200"/>
              <a:ext cx="755650" cy="652462"/>
            </a:xfrm>
            <a:custGeom>
              <a:avLst/>
              <a:gdLst>
                <a:gd name="T0" fmla="*/ 61 w 539"/>
                <a:gd name="T1" fmla="*/ 51 h 471"/>
                <a:gd name="T2" fmla="*/ 56 w 539"/>
                <a:gd name="T3" fmla="*/ 63 h 471"/>
                <a:gd name="T4" fmla="*/ 47 w 539"/>
                <a:gd name="T5" fmla="*/ 67 h 471"/>
                <a:gd name="T6" fmla="*/ 27 w 539"/>
                <a:gd name="T7" fmla="*/ 63 h 471"/>
                <a:gd name="T8" fmla="*/ 23 w 539"/>
                <a:gd name="T9" fmla="*/ 67 h 471"/>
                <a:gd name="T10" fmla="*/ 12 w 539"/>
                <a:gd name="T11" fmla="*/ 64 h 471"/>
                <a:gd name="T12" fmla="*/ 0 w 539"/>
                <a:gd name="T13" fmla="*/ 76 h 471"/>
                <a:gd name="T14" fmla="*/ 5 w 539"/>
                <a:gd name="T15" fmla="*/ 79 h 471"/>
                <a:gd name="T16" fmla="*/ 5 w 539"/>
                <a:gd name="T17" fmla="*/ 87 h 471"/>
                <a:gd name="T18" fmla="*/ 10 w 539"/>
                <a:gd name="T19" fmla="*/ 94 h 471"/>
                <a:gd name="T20" fmla="*/ 31 w 539"/>
                <a:gd name="T21" fmla="*/ 88 h 471"/>
                <a:gd name="T22" fmla="*/ 37 w 539"/>
                <a:gd name="T23" fmla="*/ 94 h 471"/>
                <a:gd name="T24" fmla="*/ 27 w 539"/>
                <a:gd name="T25" fmla="*/ 124 h 471"/>
                <a:gd name="T26" fmla="*/ 39 w 539"/>
                <a:gd name="T27" fmla="*/ 133 h 471"/>
                <a:gd name="T28" fmla="*/ 36 w 539"/>
                <a:gd name="T29" fmla="*/ 152 h 471"/>
                <a:gd name="T30" fmla="*/ 48 w 539"/>
                <a:gd name="T31" fmla="*/ 153 h 471"/>
                <a:gd name="T32" fmla="*/ 61 w 539"/>
                <a:gd name="T33" fmla="*/ 142 h 471"/>
                <a:gd name="T34" fmla="*/ 66 w 539"/>
                <a:gd name="T35" fmla="*/ 147 h 471"/>
                <a:gd name="T36" fmla="*/ 93 w 539"/>
                <a:gd name="T37" fmla="*/ 154 h 471"/>
                <a:gd name="T38" fmla="*/ 95 w 539"/>
                <a:gd name="T39" fmla="*/ 152 h 471"/>
                <a:gd name="T40" fmla="*/ 97 w 539"/>
                <a:gd name="T41" fmla="*/ 145 h 471"/>
                <a:gd name="T42" fmla="*/ 103 w 539"/>
                <a:gd name="T43" fmla="*/ 140 h 471"/>
                <a:gd name="T44" fmla="*/ 137 w 539"/>
                <a:gd name="T45" fmla="*/ 122 h 471"/>
                <a:gd name="T46" fmla="*/ 144 w 539"/>
                <a:gd name="T47" fmla="*/ 128 h 471"/>
                <a:gd name="T48" fmla="*/ 166 w 539"/>
                <a:gd name="T49" fmla="*/ 133 h 471"/>
                <a:gd name="T50" fmla="*/ 176 w 539"/>
                <a:gd name="T51" fmla="*/ 122 h 471"/>
                <a:gd name="T52" fmla="*/ 183 w 539"/>
                <a:gd name="T53" fmla="*/ 124 h 471"/>
                <a:gd name="T54" fmla="*/ 191 w 539"/>
                <a:gd name="T55" fmla="*/ 124 h 471"/>
                <a:gd name="T56" fmla="*/ 191 w 539"/>
                <a:gd name="T57" fmla="*/ 121 h 471"/>
                <a:gd name="T58" fmla="*/ 201 w 539"/>
                <a:gd name="T59" fmla="*/ 117 h 471"/>
                <a:gd name="T60" fmla="*/ 201 w 539"/>
                <a:gd name="T61" fmla="*/ 114 h 471"/>
                <a:gd name="T62" fmla="*/ 208 w 539"/>
                <a:gd name="T63" fmla="*/ 111 h 471"/>
                <a:gd name="T64" fmla="*/ 209 w 539"/>
                <a:gd name="T65" fmla="*/ 111 h 471"/>
                <a:gd name="T66" fmla="*/ 220 w 539"/>
                <a:gd name="T67" fmla="*/ 103 h 471"/>
                <a:gd name="T68" fmla="*/ 212 w 539"/>
                <a:gd name="T69" fmla="*/ 88 h 471"/>
                <a:gd name="T70" fmla="*/ 217 w 539"/>
                <a:gd name="T71" fmla="*/ 71 h 471"/>
                <a:gd name="T72" fmla="*/ 210 w 539"/>
                <a:gd name="T73" fmla="*/ 64 h 471"/>
                <a:gd name="T74" fmla="*/ 193 w 539"/>
                <a:gd name="T75" fmla="*/ 69 h 471"/>
                <a:gd name="T76" fmla="*/ 191 w 539"/>
                <a:gd name="T77" fmla="*/ 67 h 471"/>
                <a:gd name="T78" fmla="*/ 210 w 539"/>
                <a:gd name="T79" fmla="*/ 50 h 471"/>
                <a:gd name="T80" fmla="*/ 201 w 539"/>
                <a:gd name="T81" fmla="*/ 24 h 471"/>
                <a:gd name="T82" fmla="*/ 191 w 539"/>
                <a:gd name="T83" fmla="*/ 31 h 471"/>
                <a:gd name="T84" fmla="*/ 179 w 539"/>
                <a:gd name="T85" fmla="*/ 22 h 471"/>
                <a:gd name="T86" fmla="*/ 168 w 539"/>
                <a:gd name="T87" fmla="*/ 12 h 471"/>
                <a:gd name="T88" fmla="*/ 168 w 539"/>
                <a:gd name="T89" fmla="*/ 4 h 471"/>
                <a:gd name="T90" fmla="*/ 161 w 539"/>
                <a:gd name="T91" fmla="*/ 4 h 471"/>
                <a:gd name="T92" fmla="*/ 152 w 539"/>
                <a:gd name="T93" fmla="*/ 6 h 471"/>
                <a:gd name="T94" fmla="*/ 139 w 539"/>
                <a:gd name="T95" fmla="*/ 0 h 471"/>
                <a:gd name="T96" fmla="*/ 132 w 539"/>
                <a:gd name="T97" fmla="*/ 13 h 471"/>
                <a:gd name="T98" fmla="*/ 119 w 539"/>
                <a:gd name="T99" fmla="*/ 13 h 471"/>
                <a:gd name="T100" fmla="*/ 111 w 539"/>
                <a:gd name="T101" fmla="*/ 24 h 471"/>
                <a:gd name="T102" fmla="*/ 106 w 539"/>
                <a:gd name="T103" fmla="*/ 21 h 471"/>
                <a:gd name="T104" fmla="*/ 97 w 539"/>
                <a:gd name="T105" fmla="*/ 24 h 471"/>
                <a:gd name="T106" fmla="*/ 85 w 539"/>
                <a:gd name="T107" fmla="*/ 19 h 471"/>
                <a:gd name="T108" fmla="*/ 73 w 539"/>
                <a:gd name="T109" fmla="*/ 27 h 471"/>
                <a:gd name="T110" fmla="*/ 73 w 539"/>
                <a:gd name="T111" fmla="*/ 32 h 471"/>
                <a:gd name="T112" fmla="*/ 94 w 539"/>
                <a:gd name="T113" fmla="*/ 41 h 471"/>
                <a:gd name="T114" fmla="*/ 100 w 539"/>
                <a:gd name="T115" fmla="*/ 48 h 471"/>
                <a:gd name="T116" fmla="*/ 85 w 539"/>
                <a:gd name="T117" fmla="*/ 51 h 471"/>
                <a:gd name="T118" fmla="*/ 61 w 539"/>
                <a:gd name="T119" fmla="*/ 51 h 4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39" h="471">
                  <a:moveTo>
                    <a:pt x="150" y="159"/>
                  </a:moveTo>
                  <a:lnTo>
                    <a:pt x="138" y="195"/>
                  </a:lnTo>
                  <a:lnTo>
                    <a:pt x="114" y="204"/>
                  </a:lnTo>
                  <a:lnTo>
                    <a:pt x="66" y="195"/>
                  </a:lnTo>
                  <a:lnTo>
                    <a:pt x="54" y="207"/>
                  </a:lnTo>
                  <a:lnTo>
                    <a:pt x="27" y="198"/>
                  </a:lnTo>
                  <a:lnTo>
                    <a:pt x="0" y="234"/>
                  </a:lnTo>
                  <a:lnTo>
                    <a:pt x="12" y="243"/>
                  </a:lnTo>
                  <a:lnTo>
                    <a:pt x="12" y="267"/>
                  </a:lnTo>
                  <a:lnTo>
                    <a:pt x="24" y="288"/>
                  </a:lnTo>
                  <a:lnTo>
                    <a:pt x="75" y="273"/>
                  </a:lnTo>
                  <a:lnTo>
                    <a:pt x="90" y="285"/>
                  </a:lnTo>
                  <a:lnTo>
                    <a:pt x="66" y="381"/>
                  </a:lnTo>
                  <a:lnTo>
                    <a:pt x="96" y="411"/>
                  </a:lnTo>
                  <a:lnTo>
                    <a:pt x="87" y="465"/>
                  </a:lnTo>
                  <a:lnTo>
                    <a:pt x="117" y="468"/>
                  </a:lnTo>
                  <a:lnTo>
                    <a:pt x="150" y="438"/>
                  </a:lnTo>
                  <a:lnTo>
                    <a:pt x="162" y="447"/>
                  </a:lnTo>
                  <a:lnTo>
                    <a:pt x="225" y="471"/>
                  </a:lnTo>
                  <a:lnTo>
                    <a:pt x="234" y="465"/>
                  </a:lnTo>
                  <a:lnTo>
                    <a:pt x="237" y="444"/>
                  </a:lnTo>
                  <a:lnTo>
                    <a:pt x="249" y="432"/>
                  </a:lnTo>
                  <a:lnTo>
                    <a:pt x="335" y="375"/>
                  </a:lnTo>
                  <a:lnTo>
                    <a:pt x="350" y="393"/>
                  </a:lnTo>
                  <a:lnTo>
                    <a:pt x="404" y="411"/>
                  </a:lnTo>
                  <a:lnTo>
                    <a:pt x="431" y="372"/>
                  </a:lnTo>
                  <a:lnTo>
                    <a:pt x="446" y="381"/>
                  </a:lnTo>
                  <a:lnTo>
                    <a:pt x="467" y="381"/>
                  </a:lnTo>
                  <a:lnTo>
                    <a:pt x="467" y="369"/>
                  </a:lnTo>
                  <a:lnTo>
                    <a:pt x="494" y="360"/>
                  </a:lnTo>
                  <a:lnTo>
                    <a:pt x="494" y="351"/>
                  </a:lnTo>
                  <a:lnTo>
                    <a:pt x="506" y="339"/>
                  </a:lnTo>
                  <a:lnTo>
                    <a:pt x="512" y="342"/>
                  </a:lnTo>
                  <a:lnTo>
                    <a:pt x="539" y="315"/>
                  </a:lnTo>
                  <a:lnTo>
                    <a:pt x="518" y="273"/>
                  </a:lnTo>
                  <a:lnTo>
                    <a:pt x="527" y="216"/>
                  </a:lnTo>
                  <a:lnTo>
                    <a:pt x="515" y="198"/>
                  </a:lnTo>
                  <a:lnTo>
                    <a:pt x="473" y="210"/>
                  </a:lnTo>
                  <a:lnTo>
                    <a:pt x="467" y="204"/>
                  </a:lnTo>
                  <a:lnTo>
                    <a:pt x="515" y="153"/>
                  </a:lnTo>
                  <a:lnTo>
                    <a:pt x="494" y="75"/>
                  </a:lnTo>
                  <a:lnTo>
                    <a:pt x="464" y="96"/>
                  </a:lnTo>
                  <a:lnTo>
                    <a:pt x="437" y="69"/>
                  </a:lnTo>
                  <a:lnTo>
                    <a:pt x="413" y="36"/>
                  </a:lnTo>
                  <a:lnTo>
                    <a:pt x="410" y="15"/>
                  </a:lnTo>
                  <a:lnTo>
                    <a:pt x="392" y="9"/>
                  </a:lnTo>
                  <a:lnTo>
                    <a:pt x="371" y="18"/>
                  </a:lnTo>
                  <a:lnTo>
                    <a:pt x="338" y="0"/>
                  </a:lnTo>
                  <a:lnTo>
                    <a:pt x="320" y="39"/>
                  </a:lnTo>
                  <a:lnTo>
                    <a:pt x="290" y="42"/>
                  </a:lnTo>
                  <a:lnTo>
                    <a:pt x="269" y="75"/>
                  </a:lnTo>
                  <a:lnTo>
                    <a:pt x="258" y="66"/>
                  </a:lnTo>
                  <a:lnTo>
                    <a:pt x="237" y="75"/>
                  </a:lnTo>
                  <a:lnTo>
                    <a:pt x="207" y="57"/>
                  </a:lnTo>
                  <a:lnTo>
                    <a:pt x="180" y="84"/>
                  </a:lnTo>
                  <a:lnTo>
                    <a:pt x="180" y="99"/>
                  </a:lnTo>
                  <a:lnTo>
                    <a:pt x="231" y="126"/>
                  </a:lnTo>
                  <a:lnTo>
                    <a:pt x="243" y="147"/>
                  </a:lnTo>
                  <a:lnTo>
                    <a:pt x="207" y="159"/>
                  </a:lnTo>
                  <a:lnTo>
                    <a:pt x="150" y="159"/>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4" name="Freeform 88"/>
            <p:cNvSpPr>
              <a:spLocks/>
            </p:cNvSpPr>
            <p:nvPr/>
          </p:nvSpPr>
          <p:spPr bwMode="auto">
            <a:xfrm>
              <a:off x="3659436" y="4702200"/>
              <a:ext cx="755650" cy="652462"/>
            </a:xfrm>
            <a:custGeom>
              <a:avLst/>
              <a:gdLst>
                <a:gd name="T0" fmla="*/ 61 w 539"/>
                <a:gd name="T1" fmla="*/ 51 h 471"/>
                <a:gd name="T2" fmla="*/ 56 w 539"/>
                <a:gd name="T3" fmla="*/ 63 h 471"/>
                <a:gd name="T4" fmla="*/ 47 w 539"/>
                <a:gd name="T5" fmla="*/ 67 h 471"/>
                <a:gd name="T6" fmla="*/ 27 w 539"/>
                <a:gd name="T7" fmla="*/ 63 h 471"/>
                <a:gd name="T8" fmla="*/ 23 w 539"/>
                <a:gd name="T9" fmla="*/ 67 h 471"/>
                <a:gd name="T10" fmla="*/ 12 w 539"/>
                <a:gd name="T11" fmla="*/ 64 h 471"/>
                <a:gd name="T12" fmla="*/ 0 w 539"/>
                <a:gd name="T13" fmla="*/ 76 h 471"/>
                <a:gd name="T14" fmla="*/ 5 w 539"/>
                <a:gd name="T15" fmla="*/ 79 h 471"/>
                <a:gd name="T16" fmla="*/ 5 w 539"/>
                <a:gd name="T17" fmla="*/ 87 h 471"/>
                <a:gd name="T18" fmla="*/ 10 w 539"/>
                <a:gd name="T19" fmla="*/ 94 h 471"/>
                <a:gd name="T20" fmla="*/ 31 w 539"/>
                <a:gd name="T21" fmla="*/ 88 h 471"/>
                <a:gd name="T22" fmla="*/ 37 w 539"/>
                <a:gd name="T23" fmla="*/ 94 h 471"/>
                <a:gd name="T24" fmla="*/ 27 w 539"/>
                <a:gd name="T25" fmla="*/ 124 h 471"/>
                <a:gd name="T26" fmla="*/ 39 w 539"/>
                <a:gd name="T27" fmla="*/ 133 h 471"/>
                <a:gd name="T28" fmla="*/ 36 w 539"/>
                <a:gd name="T29" fmla="*/ 152 h 471"/>
                <a:gd name="T30" fmla="*/ 48 w 539"/>
                <a:gd name="T31" fmla="*/ 153 h 471"/>
                <a:gd name="T32" fmla="*/ 61 w 539"/>
                <a:gd name="T33" fmla="*/ 142 h 471"/>
                <a:gd name="T34" fmla="*/ 66 w 539"/>
                <a:gd name="T35" fmla="*/ 147 h 471"/>
                <a:gd name="T36" fmla="*/ 93 w 539"/>
                <a:gd name="T37" fmla="*/ 154 h 471"/>
                <a:gd name="T38" fmla="*/ 95 w 539"/>
                <a:gd name="T39" fmla="*/ 152 h 471"/>
                <a:gd name="T40" fmla="*/ 97 w 539"/>
                <a:gd name="T41" fmla="*/ 145 h 471"/>
                <a:gd name="T42" fmla="*/ 103 w 539"/>
                <a:gd name="T43" fmla="*/ 140 h 471"/>
                <a:gd name="T44" fmla="*/ 137 w 539"/>
                <a:gd name="T45" fmla="*/ 122 h 471"/>
                <a:gd name="T46" fmla="*/ 144 w 539"/>
                <a:gd name="T47" fmla="*/ 128 h 471"/>
                <a:gd name="T48" fmla="*/ 166 w 539"/>
                <a:gd name="T49" fmla="*/ 133 h 471"/>
                <a:gd name="T50" fmla="*/ 176 w 539"/>
                <a:gd name="T51" fmla="*/ 122 h 471"/>
                <a:gd name="T52" fmla="*/ 183 w 539"/>
                <a:gd name="T53" fmla="*/ 124 h 471"/>
                <a:gd name="T54" fmla="*/ 191 w 539"/>
                <a:gd name="T55" fmla="*/ 124 h 471"/>
                <a:gd name="T56" fmla="*/ 191 w 539"/>
                <a:gd name="T57" fmla="*/ 121 h 471"/>
                <a:gd name="T58" fmla="*/ 201 w 539"/>
                <a:gd name="T59" fmla="*/ 117 h 471"/>
                <a:gd name="T60" fmla="*/ 201 w 539"/>
                <a:gd name="T61" fmla="*/ 114 h 471"/>
                <a:gd name="T62" fmla="*/ 208 w 539"/>
                <a:gd name="T63" fmla="*/ 111 h 471"/>
                <a:gd name="T64" fmla="*/ 209 w 539"/>
                <a:gd name="T65" fmla="*/ 111 h 471"/>
                <a:gd name="T66" fmla="*/ 220 w 539"/>
                <a:gd name="T67" fmla="*/ 103 h 471"/>
                <a:gd name="T68" fmla="*/ 212 w 539"/>
                <a:gd name="T69" fmla="*/ 88 h 471"/>
                <a:gd name="T70" fmla="*/ 217 w 539"/>
                <a:gd name="T71" fmla="*/ 71 h 471"/>
                <a:gd name="T72" fmla="*/ 210 w 539"/>
                <a:gd name="T73" fmla="*/ 64 h 471"/>
                <a:gd name="T74" fmla="*/ 193 w 539"/>
                <a:gd name="T75" fmla="*/ 69 h 471"/>
                <a:gd name="T76" fmla="*/ 191 w 539"/>
                <a:gd name="T77" fmla="*/ 67 h 471"/>
                <a:gd name="T78" fmla="*/ 210 w 539"/>
                <a:gd name="T79" fmla="*/ 50 h 471"/>
                <a:gd name="T80" fmla="*/ 201 w 539"/>
                <a:gd name="T81" fmla="*/ 24 h 471"/>
                <a:gd name="T82" fmla="*/ 191 w 539"/>
                <a:gd name="T83" fmla="*/ 31 h 471"/>
                <a:gd name="T84" fmla="*/ 179 w 539"/>
                <a:gd name="T85" fmla="*/ 22 h 471"/>
                <a:gd name="T86" fmla="*/ 168 w 539"/>
                <a:gd name="T87" fmla="*/ 12 h 471"/>
                <a:gd name="T88" fmla="*/ 168 w 539"/>
                <a:gd name="T89" fmla="*/ 4 h 471"/>
                <a:gd name="T90" fmla="*/ 161 w 539"/>
                <a:gd name="T91" fmla="*/ 4 h 471"/>
                <a:gd name="T92" fmla="*/ 152 w 539"/>
                <a:gd name="T93" fmla="*/ 6 h 471"/>
                <a:gd name="T94" fmla="*/ 139 w 539"/>
                <a:gd name="T95" fmla="*/ 0 h 471"/>
                <a:gd name="T96" fmla="*/ 132 w 539"/>
                <a:gd name="T97" fmla="*/ 13 h 471"/>
                <a:gd name="T98" fmla="*/ 119 w 539"/>
                <a:gd name="T99" fmla="*/ 13 h 471"/>
                <a:gd name="T100" fmla="*/ 111 w 539"/>
                <a:gd name="T101" fmla="*/ 24 h 471"/>
                <a:gd name="T102" fmla="*/ 106 w 539"/>
                <a:gd name="T103" fmla="*/ 21 h 471"/>
                <a:gd name="T104" fmla="*/ 97 w 539"/>
                <a:gd name="T105" fmla="*/ 24 h 471"/>
                <a:gd name="T106" fmla="*/ 85 w 539"/>
                <a:gd name="T107" fmla="*/ 19 h 471"/>
                <a:gd name="T108" fmla="*/ 73 w 539"/>
                <a:gd name="T109" fmla="*/ 27 h 471"/>
                <a:gd name="T110" fmla="*/ 73 w 539"/>
                <a:gd name="T111" fmla="*/ 32 h 471"/>
                <a:gd name="T112" fmla="*/ 94 w 539"/>
                <a:gd name="T113" fmla="*/ 41 h 471"/>
                <a:gd name="T114" fmla="*/ 100 w 539"/>
                <a:gd name="T115" fmla="*/ 48 h 471"/>
                <a:gd name="T116" fmla="*/ 85 w 539"/>
                <a:gd name="T117" fmla="*/ 51 h 471"/>
                <a:gd name="T118" fmla="*/ 61 w 539"/>
                <a:gd name="T119" fmla="*/ 51 h 4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39" h="471">
                  <a:moveTo>
                    <a:pt x="150" y="159"/>
                  </a:moveTo>
                  <a:lnTo>
                    <a:pt x="138" y="195"/>
                  </a:lnTo>
                  <a:lnTo>
                    <a:pt x="114" y="204"/>
                  </a:lnTo>
                  <a:lnTo>
                    <a:pt x="66" y="195"/>
                  </a:lnTo>
                  <a:lnTo>
                    <a:pt x="54" y="207"/>
                  </a:lnTo>
                  <a:lnTo>
                    <a:pt x="27" y="198"/>
                  </a:lnTo>
                  <a:lnTo>
                    <a:pt x="0" y="234"/>
                  </a:lnTo>
                  <a:lnTo>
                    <a:pt x="12" y="243"/>
                  </a:lnTo>
                  <a:lnTo>
                    <a:pt x="12" y="267"/>
                  </a:lnTo>
                  <a:lnTo>
                    <a:pt x="24" y="288"/>
                  </a:lnTo>
                  <a:lnTo>
                    <a:pt x="75" y="273"/>
                  </a:lnTo>
                  <a:lnTo>
                    <a:pt x="90" y="285"/>
                  </a:lnTo>
                  <a:lnTo>
                    <a:pt x="66" y="381"/>
                  </a:lnTo>
                  <a:lnTo>
                    <a:pt x="96" y="411"/>
                  </a:lnTo>
                  <a:lnTo>
                    <a:pt x="87" y="465"/>
                  </a:lnTo>
                  <a:lnTo>
                    <a:pt x="117" y="468"/>
                  </a:lnTo>
                  <a:lnTo>
                    <a:pt x="150" y="438"/>
                  </a:lnTo>
                  <a:lnTo>
                    <a:pt x="162" y="447"/>
                  </a:lnTo>
                  <a:lnTo>
                    <a:pt x="225" y="471"/>
                  </a:lnTo>
                  <a:lnTo>
                    <a:pt x="234" y="465"/>
                  </a:lnTo>
                  <a:lnTo>
                    <a:pt x="237" y="444"/>
                  </a:lnTo>
                  <a:lnTo>
                    <a:pt x="249" y="432"/>
                  </a:lnTo>
                  <a:lnTo>
                    <a:pt x="335" y="375"/>
                  </a:lnTo>
                  <a:lnTo>
                    <a:pt x="350" y="393"/>
                  </a:lnTo>
                  <a:lnTo>
                    <a:pt x="404" y="411"/>
                  </a:lnTo>
                  <a:lnTo>
                    <a:pt x="431" y="372"/>
                  </a:lnTo>
                  <a:lnTo>
                    <a:pt x="446" y="381"/>
                  </a:lnTo>
                  <a:lnTo>
                    <a:pt x="467" y="381"/>
                  </a:lnTo>
                  <a:lnTo>
                    <a:pt x="467" y="369"/>
                  </a:lnTo>
                  <a:lnTo>
                    <a:pt x="494" y="360"/>
                  </a:lnTo>
                  <a:lnTo>
                    <a:pt x="494" y="351"/>
                  </a:lnTo>
                  <a:lnTo>
                    <a:pt x="506" y="339"/>
                  </a:lnTo>
                  <a:lnTo>
                    <a:pt x="512" y="342"/>
                  </a:lnTo>
                  <a:lnTo>
                    <a:pt x="539" y="315"/>
                  </a:lnTo>
                  <a:lnTo>
                    <a:pt x="518" y="273"/>
                  </a:lnTo>
                  <a:lnTo>
                    <a:pt x="527" y="216"/>
                  </a:lnTo>
                  <a:lnTo>
                    <a:pt x="515" y="198"/>
                  </a:lnTo>
                  <a:lnTo>
                    <a:pt x="473" y="210"/>
                  </a:lnTo>
                  <a:lnTo>
                    <a:pt x="467" y="204"/>
                  </a:lnTo>
                  <a:lnTo>
                    <a:pt x="515" y="153"/>
                  </a:lnTo>
                  <a:lnTo>
                    <a:pt x="494" y="75"/>
                  </a:lnTo>
                  <a:lnTo>
                    <a:pt x="464" y="96"/>
                  </a:lnTo>
                  <a:lnTo>
                    <a:pt x="437" y="69"/>
                  </a:lnTo>
                  <a:lnTo>
                    <a:pt x="413" y="36"/>
                  </a:lnTo>
                  <a:lnTo>
                    <a:pt x="410" y="15"/>
                  </a:lnTo>
                  <a:lnTo>
                    <a:pt x="392" y="9"/>
                  </a:lnTo>
                  <a:lnTo>
                    <a:pt x="371" y="18"/>
                  </a:lnTo>
                  <a:lnTo>
                    <a:pt x="338" y="0"/>
                  </a:lnTo>
                  <a:lnTo>
                    <a:pt x="320" y="39"/>
                  </a:lnTo>
                  <a:lnTo>
                    <a:pt x="290" y="42"/>
                  </a:lnTo>
                  <a:lnTo>
                    <a:pt x="269" y="75"/>
                  </a:lnTo>
                  <a:lnTo>
                    <a:pt x="258" y="66"/>
                  </a:lnTo>
                  <a:lnTo>
                    <a:pt x="237" y="75"/>
                  </a:lnTo>
                  <a:lnTo>
                    <a:pt x="207" y="57"/>
                  </a:lnTo>
                  <a:lnTo>
                    <a:pt x="180" y="84"/>
                  </a:lnTo>
                  <a:lnTo>
                    <a:pt x="180" y="99"/>
                  </a:lnTo>
                  <a:lnTo>
                    <a:pt x="231" y="126"/>
                  </a:lnTo>
                  <a:lnTo>
                    <a:pt x="243" y="147"/>
                  </a:lnTo>
                  <a:lnTo>
                    <a:pt x="207" y="159"/>
                  </a:lnTo>
                  <a:lnTo>
                    <a:pt x="150" y="159"/>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5" name="Freeform 89"/>
            <p:cNvSpPr>
              <a:spLocks/>
            </p:cNvSpPr>
            <p:nvPr/>
          </p:nvSpPr>
          <p:spPr bwMode="auto">
            <a:xfrm>
              <a:off x="5424736" y="4257700"/>
              <a:ext cx="476250" cy="542925"/>
            </a:xfrm>
            <a:custGeom>
              <a:avLst/>
              <a:gdLst>
                <a:gd name="T0" fmla="*/ 102 w 339"/>
                <a:gd name="T1" fmla="*/ 121 h 392"/>
                <a:gd name="T2" fmla="*/ 79 w 339"/>
                <a:gd name="T3" fmla="*/ 126 h 392"/>
                <a:gd name="T4" fmla="*/ 67 w 339"/>
                <a:gd name="T5" fmla="*/ 116 h 392"/>
                <a:gd name="T6" fmla="*/ 59 w 339"/>
                <a:gd name="T7" fmla="*/ 124 h 392"/>
                <a:gd name="T8" fmla="*/ 45 w 339"/>
                <a:gd name="T9" fmla="*/ 124 h 392"/>
                <a:gd name="T10" fmla="*/ 40 w 339"/>
                <a:gd name="T11" fmla="*/ 116 h 392"/>
                <a:gd name="T12" fmla="*/ 34 w 339"/>
                <a:gd name="T13" fmla="*/ 104 h 392"/>
                <a:gd name="T14" fmla="*/ 22 w 339"/>
                <a:gd name="T15" fmla="*/ 102 h 392"/>
                <a:gd name="T16" fmla="*/ 9 w 339"/>
                <a:gd name="T17" fmla="*/ 83 h 392"/>
                <a:gd name="T18" fmla="*/ 0 w 339"/>
                <a:gd name="T19" fmla="*/ 72 h 392"/>
                <a:gd name="T20" fmla="*/ 5 w 339"/>
                <a:gd name="T21" fmla="*/ 69 h 392"/>
                <a:gd name="T22" fmla="*/ 9 w 339"/>
                <a:gd name="T23" fmla="*/ 66 h 392"/>
                <a:gd name="T24" fmla="*/ 22 w 339"/>
                <a:gd name="T25" fmla="*/ 50 h 392"/>
                <a:gd name="T26" fmla="*/ 22 w 339"/>
                <a:gd name="T27" fmla="*/ 39 h 392"/>
                <a:gd name="T28" fmla="*/ 27 w 339"/>
                <a:gd name="T29" fmla="*/ 34 h 392"/>
                <a:gd name="T30" fmla="*/ 37 w 339"/>
                <a:gd name="T31" fmla="*/ 32 h 392"/>
                <a:gd name="T32" fmla="*/ 40 w 339"/>
                <a:gd name="T33" fmla="*/ 29 h 392"/>
                <a:gd name="T34" fmla="*/ 37 w 339"/>
                <a:gd name="T35" fmla="*/ 22 h 392"/>
                <a:gd name="T36" fmla="*/ 41 w 339"/>
                <a:gd name="T37" fmla="*/ 17 h 392"/>
                <a:gd name="T38" fmla="*/ 41 w 339"/>
                <a:gd name="T39" fmla="*/ 4 h 392"/>
                <a:gd name="T40" fmla="*/ 49 w 339"/>
                <a:gd name="T41" fmla="*/ 4 h 392"/>
                <a:gd name="T42" fmla="*/ 63 w 339"/>
                <a:gd name="T43" fmla="*/ 8 h 392"/>
                <a:gd name="T44" fmla="*/ 78 w 339"/>
                <a:gd name="T45" fmla="*/ 10 h 392"/>
                <a:gd name="T46" fmla="*/ 89 w 339"/>
                <a:gd name="T47" fmla="*/ 0 h 392"/>
                <a:gd name="T48" fmla="*/ 102 w 339"/>
                <a:gd name="T49" fmla="*/ 9 h 392"/>
                <a:gd name="T50" fmla="*/ 95 w 339"/>
                <a:gd name="T51" fmla="*/ 12 h 392"/>
                <a:gd name="T52" fmla="*/ 90 w 339"/>
                <a:gd name="T53" fmla="*/ 21 h 392"/>
                <a:gd name="T54" fmla="*/ 79 w 339"/>
                <a:gd name="T55" fmla="*/ 22 h 392"/>
                <a:gd name="T56" fmla="*/ 76 w 339"/>
                <a:gd name="T57" fmla="*/ 24 h 392"/>
                <a:gd name="T58" fmla="*/ 85 w 339"/>
                <a:gd name="T59" fmla="*/ 29 h 392"/>
                <a:gd name="T60" fmla="*/ 103 w 339"/>
                <a:gd name="T61" fmla="*/ 22 h 392"/>
                <a:gd name="T62" fmla="*/ 134 w 339"/>
                <a:gd name="T63" fmla="*/ 33 h 392"/>
                <a:gd name="T64" fmla="*/ 139 w 339"/>
                <a:gd name="T65" fmla="*/ 53 h 392"/>
                <a:gd name="T66" fmla="*/ 125 w 339"/>
                <a:gd name="T67" fmla="*/ 53 h 392"/>
                <a:gd name="T68" fmla="*/ 125 w 339"/>
                <a:gd name="T69" fmla="*/ 59 h 392"/>
                <a:gd name="T70" fmla="*/ 132 w 339"/>
                <a:gd name="T71" fmla="*/ 69 h 392"/>
                <a:gd name="T72" fmla="*/ 125 w 339"/>
                <a:gd name="T73" fmla="*/ 72 h 392"/>
                <a:gd name="T74" fmla="*/ 133 w 339"/>
                <a:gd name="T75" fmla="*/ 81 h 392"/>
                <a:gd name="T76" fmla="*/ 123 w 339"/>
                <a:gd name="T77" fmla="*/ 91 h 392"/>
                <a:gd name="T78" fmla="*/ 118 w 339"/>
                <a:gd name="T79" fmla="*/ 86 h 392"/>
                <a:gd name="T80" fmla="*/ 102 w 339"/>
                <a:gd name="T81" fmla="*/ 116 h 392"/>
                <a:gd name="T82" fmla="*/ 102 w 339"/>
                <a:gd name="T83" fmla="*/ 121 h 3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39" h="392">
                  <a:moveTo>
                    <a:pt x="246" y="374"/>
                  </a:moveTo>
                  <a:lnTo>
                    <a:pt x="195" y="392"/>
                  </a:lnTo>
                  <a:lnTo>
                    <a:pt x="165" y="362"/>
                  </a:lnTo>
                  <a:lnTo>
                    <a:pt x="144" y="386"/>
                  </a:lnTo>
                  <a:lnTo>
                    <a:pt x="111" y="386"/>
                  </a:lnTo>
                  <a:lnTo>
                    <a:pt x="99" y="359"/>
                  </a:lnTo>
                  <a:lnTo>
                    <a:pt x="84" y="320"/>
                  </a:lnTo>
                  <a:lnTo>
                    <a:pt x="54" y="315"/>
                  </a:lnTo>
                  <a:lnTo>
                    <a:pt x="21" y="255"/>
                  </a:lnTo>
                  <a:lnTo>
                    <a:pt x="0" y="225"/>
                  </a:lnTo>
                  <a:lnTo>
                    <a:pt x="15" y="213"/>
                  </a:lnTo>
                  <a:lnTo>
                    <a:pt x="21" y="207"/>
                  </a:lnTo>
                  <a:lnTo>
                    <a:pt x="54" y="159"/>
                  </a:lnTo>
                  <a:lnTo>
                    <a:pt x="54" y="120"/>
                  </a:lnTo>
                  <a:lnTo>
                    <a:pt x="66" y="105"/>
                  </a:lnTo>
                  <a:lnTo>
                    <a:pt x="90" y="99"/>
                  </a:lnTo>
                  <a:lnTo>
                    <a:pt x="99" y="87"/>
                  </a:lnTo>
                  <a:lnTo>
                    <a:pt x="90" y="69"/>
                  </a:lnTo>
                  <a:lnTo>
                    <a:pt x="102" y="51"/>
                  </a:lnTo>
                  <a:lnTo>
                    <a:pt x="102" y="15"/>
                  </a:lnTo>
                  <a:lnTo>
                    <a:pt x="123" y="6"/>
                  </a:lnTo>
                  <a:lnTo>
                    <a:pt x="153" y="24"/>
                  </a:lnTo>
                  <a:lnTo>
                    <a:pt x="192" y="30"/>
                  </a:lnTo>
                  <a:lnTo>
                    <a:pt x="216" y="0"/>
                  </a:lnTo>
                  <a:lnTo>
                    <a:pt x="249" y="27"/>
                  </a:lnTo>
                  <a:lnTo>
                    <a:pt x="234" y="36"/>
                  </a:lnTo>
                  <a:lnTo>
                    <a:pt x="219" y="63"/>
                  </a:lnTo>
                  <a:lnTo>
                    <a:pt x="195" y="69"/>
                  </a:lnTo>
                  <a:lnTo>
                    <a:pt x="186" y="75"/>
                  </a:lnTo>
                  <a:lnTo>
                    <a:pt x="210" y="90"/>
                  </a:lnTo>
                  <a:lnTo>
                    <a:pt x="255" y="69"/>
                  </a:lnTo>
                  <a:lnTo>
                    <a:pt x="330" y="102"/>
                  </a:lnTo>
                  <a:lnTo>
                    <a:pt x="339" y="165"/>
                  </a:lnTo>
                  <a:lnTo>
                    <a:pt x="306" y="165"/>
                  </a:lnTo>
                  <a:lnTo>
                    <a:pt x="306" y="183"/>
                  </a:lnTo>
                  <a:lnTo>
                    <a:pt x="321" y="210"/>
                  </a:lnTo>
                  <a:lnTo>
                    <a:pt x="306" y="225"/>
                  </a:lnTo>
                  <a:lnTo>
                    <a:pt x="324" y="252"/>
                  </a:lnTo>
                  <a:lnTo>
                    <a:pt x="300" y="282"/>
                  </a:lnTo>
                  <a:lnTo>
                    <a:pt x="288" y="267"/>
                  </a:lnTo>
                  <a:lnTo>
                    <a:pt x="252" y="359"/>
                  </a:lnTo>
                  <a:lnTo>
                    <a:pt x="246" y="374"/>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6" name="Freeform 90"/>
            <p:cNvSpPr>
              <a:spLocks/>
            </p:cNvSpPr>
            <p:nvPr/>
          </p:nvSpPr>
          <p:spPr bwMode="auto">
            <a:xfrm>
              <a:off x="5424736" y="4257700"/>
              <a:ext cx="476250" cy="542925"/>
            </a:xfrm>
            <a:custGeom>
              <a:avLst/>
              <a:gdLst>
                <a:gd name="T0" fmla="*/ 102 w 339"/>
                <a:gd name="T1" fmla="*/ 121 h 392"/>
                <a:gd name="T2" fmla="*/ 79 w 339"/>
                <a:gd name="T3" fmla="*/ 126 h 392"/>
                <a:gd name="T4" fmla="*/ 67 w 339"/>
                <a:gd name="T5" fmla="*/ 116 h 392"/>
                <a:gd name="T6" fmla="*/ 59 w 339"/>
                <a:gd name="T7" fmla="*/ 124 h 392"/>
                <a:gd name="T8" fmla="*/ 45 w 339"/>
                <a:gd name="T9" fmla="*/ 124 h 392"/>
                <a:gd name="T10" fmla="*/ 40 w 339"/>
                <a:gd name="T11" fmla="*/ 116 h 392"/>
                <a:gd name="T12" fmla="*/ 34 w 339"/>
                <a:gd name="T13" fmla="*/ 104 h 392"/>
                <a:gd name="T14" fmla="*/ 22 w 339"/>
                <a:gd name="T15" fmla="*/ 102 h 392"/>
                <a:gd name="T16" fmla="*/ 9 w 339"/>
                <a:gd name="T17" fmla="*/ 83 h 392"/>
                <a:gd name="T18" fmla="*/ 0 w 339"/>
                <a:gd name="T19" fmla="*/ 72 h 392"/>
                <a:gd name="T20" fmla="*/ 5 w 339"/>
                <a:gd name="T21" fmla="*/ 69 h 392"/>
                <a:gd name="T22" fmla="*/ 9 w 339"/>
                <a:gd name="T23" fmla="*/ 66 h 392"/>
                <a:gd name="T24" fmla="*/ 22 w 339"/>
                <a:gd name="T25" fmla="*/ 50 h 392"/>
                <a:gd name="T26" fmla="*/ 22 w 339"/>
                <a:gd name="T27" fmla="*/ 39 h 392"/>
                <a:gd name="T28" fmla="*/ 27 w 339"/>
                <a:gd name="T29" fmla="*/ 34 h 392"/>
                <a:gd name="T30" fmla="*/ 37 w 339"/>
                <a:gd name="T31" fmla="*/ 32 h 392"/>
                <a:gd name="T32" fmla="*/ 40 w 339"/>
                <a:gd name="T33" fmla="*/ 29 h 392"/>
                <a:gd name="T34" fmla="*/ 37 w 339"/>
                <a:gd name="T35" fmla="*/ 22 h 392"/>
                <a:gd name="T36" fmla="*/ 41 w 339"/>
                <a:gd name="T37" fmla="*/ 17 h 392"/>
                <a:gd name="T38" fmla="*/ 41 w 339"/>
                <a:gd name="T39" fmla="*/ 4 h 392"/>
                <a:gd name="T40" fmla="*/ 49 w 339"/>
                <a:gd name="T41" fmla="*/ 4 h 392"/>
                <a:gd name="T42" fmla="*/ 63 w 339"/>
                <a:gd name="T43" fmla="*/ 8 h 392"/>
                <a:gd name="T44" fmla="*/ 78 w 339"/>
                <a:gd name="T45" fmla="*/ 10 h 392"/>
                <a:gd name="T46" fmla="*/ 89 w 339"/>
                <a:gd name="T47" fmla="*/ 0 h 392"/>
                <a:gd name="T48" fmla="*/ 102 w 339"/>
                <a:gd name="T49" fmla="*/ 9 h 392"/>
                <a:gd name="T50" fmla="*/ 95 w 339"/>
                <a:gd name="T51" fmla="*/ 12 h 392"/>
                <a:gd name="T52" fmla="*/ 90 w 339"/>
                <a:gd name="T53" fmla="*/ 21 h 392"/>
                <a:gd name="T54" fmla="*/ 79 w 339"/>
                <a:gd name="T55" fmla="*/ 22 h 392"/>
                <a:gd name="T56" fmla="*/ 76 w 339"/>
                <a:gd name="T57" fmla="*/ 24 h 392"/>
                <a:gd name="T58" fmla="*/ 85 w 339"/>
                <a:gd name="T59" fmla="*/ 29 h 392"/>
                <a:gd name="T60" fmla="*/ 103 w 339"/>
                <a:gd name="T61" fmla="*/ 22 h 392"/>
                <a:gd name="T62" fmla="*/ 134 w 339"/>
                <a:gd name="T63" fmla="*/ 33 h 392"/>
                <a:gd name="T64" fmla="*/ 139 w 339"/>
                <a:gd name="T65" fmla="*/ 53 h 392"/>
                <a:gd name="T66" fmla="*/ 125 w 339"/>
                <a:gd name="T67" fmla="*/ 53 h 392"/>
                <a:gd name="T68" fmla="*/ 125 w 339"/>
                <a:gd name="T69" fmla="*/ 59 h 392"/>
                <a:gd name="T70" fmla="*/ 132 w 339"/>
                <a:gd name="T71" fmla="*/ 69 h 392"/>
                <a:gd name="T72" fmla="*/ 125 w 339"/>
                <a:gd name="T73" fmla="*/ 72 h 392"/>
                <a:gd name="T74" fmla="*/ 133 w 339"/>
                <a:gd name="T75" fmla="*/ 81 h 392"/>
                <a:gd name="T76" fmla="*/ 123 w 339"/>
                <a:gd name="T77" fmla="*/ 91 h 392"/>
                <a:gd name="T78" fmla="*/ 118 w 339"/>
                <a:gd name="T79" fmla="*/ 86 h 392"/>
                <a:gd name="T80" fmla="*/ 102 w 339"/>
                <a:gd name="T81" fmla="*/ 116 h 392"/>
                <a:gd name="T82" fmla="*/ 102 w 339"/>
                <a:gd name="T83" fmla="*/ 121 h 3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39" h="392">
                  <a:moveTo>
                    <a:pt x="246" y="374"/>
                  </a:moveTo>
                  <a:lnTo>
                    <a:pt x="195" y="392"/>
                  </a:lnTo>
                  <a:lnTo>
                    <a:pt x="165" y="362"/>
                  </a:lnTo>
                  <a:lnTo>
                    <a:pt x="144" y="386"/>
                  </a:lnTo>
                  <a:lnTo>
                    <a:pt x="111" y="386"/>
                  </a:lnTo>
                  <a:lnTo>
                    <a:pt x="99" y="359"/>
                  </a:lnTo>
                  <a:lnTo>
                    <a:pt x="84" y="320"/>
                  </a:lnTo>
                  <a:lnTo>
                    <a:pt x="54" y="315"/>
                  </a:lnTo>
                  <a:lnTo>
                    <a:pt x="21" y="255"/>
                  </a:lnTo>
                  <a:lnTo>
                    <a:pt x="0" y="225"/>
                  </a:lnTo>
                  <a:lnTo>
                    <a:pt x="15" y="213"/>
                  </a:lnTo>
                  <a:lnTo>
                    <a:pt x="21" y="207"/>
                  </a:lnTo>
                  <a:lnTo>
                    <a:pt x="54" y="159"/>
                  </a:lnTo>
                  <a:lnTo>
                    <a:pt x="54" y="120"/>
                  </a:lnTo>
                  <a:lnTo>
                    <a:pt x="66" y="105"/>
                  </a:lnTo>
                  <a:lnTo>
                    <a:pt x="90" y="99"/>
                  </a:lnTo>
                  <a:lnTo>
                    <a:pt x="99" y="87"/>
                  </a:lnTo>
                  <a:lnTo>
                    <a:pt x="90" y="69"/>
                  </a:lnTo>
                  <a:lnTo>
                    <a:pt x="102" y="51"/>
                  </a:lnTo>
                  <a:lnTo>
                    <a:pt x="102" y="15"/>
                  </a:lnTo>
                  <a:lnTo>
                    <a:pt x="123" y="6"/>
                  </a:lnTo>
                  <a:lnTo>
                    <a:pt x="153" y="24"/>
                  </a:lnTo>
                  <a:lnTo>
                    <a:pt x="192" y="30"/>
                  </a:lnTo>
                  <a:lnTo>
                    <a:pt x="216" y="0"/>
                  </a:lnTo>
                  <a:lnTo>
                    <a:pt x="249" y="27"/>
                  </a:lnTo>
                  <a:lnTo>
                    <a:pt x="234" y="36"/>
                  </a:lnTo>
                  <a:lnTo>
                    <a:pt x="219" y="63"/>
                  </a:lnTo>
                  <a:lnTo>
                    <a:pt x="195" y="69"/>
                  </a:lnTo>
                  <a:lnTo>
                    <a:pt x="186" y="75"/>
                  </a:lnTo>
                  <a:lnTo>
                    <a:pt x="210" y="90"/>
                  </a:lnTo>
                  <a:lnTo>
                    <a:pt x="255" y="69"/>
                  </a:lnTo>
                  <a:lnTo>
                    <a:pt x="330" y="102"/>
                  </a:lnTo>
                  <a:lnTo>
                    <a:pt x="339" y="165"/>
                  </a:lnTo>
                  <a:lnTo>
                    <a:pt x="306" y="165"/>
                  </a:lnTo>
                  <a:lnTo>
                    <a:pt x="306" y="183"/>
                  </a:lnTo>
                  <a:lnTo>
                    <a:pt x="321" y="210"/>
                  </a:lnTo>
                  <a:lnTo>
                    <a:pt x="306" y="225"/>
                  </a:lnTo>
                  <a:lnTo>
                    <a:pt x="324" y="252"/>
                  </a:lnTo>
                  <a:lnTo>
                    <a:pt x="300" y="282"/>
                  </a:lnTo>
                  <a:lnTo>
                    <a:pt x="288" y="267"/>
                  </a:lnTo>
                  <a:lnTo>
                    <a:pt x="252" y="359"/>
                  </a:lnTo>
                  <a:lnTo>
                    <a:pt x="246" y="374"/>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7" name="Freeform 91"/>
            <p:cNvSpPr>
              <a:spLocks/>
            </p:cNvSpPr>
            <p:nvPr/>
          </p:nvSpPr>
          <p:spPr bwMode="auto">
            <a:xfrm>
              <a:off x="4980236" y="3852887"/>
              <a:ext cx="587375" cy="700088"/>
            </a:xfrm>
            <a:custGeom>
              <a:avLst/>
              <a:gdLst>
                <a:gd name="T0" fmla="*/ 41 w 419"/>
                <a:gd name="T1" fmla="*/ 0 h 504"/>
                <a:gd name="T2" fmla="*/ 70 w 419"/>
                <a:gd name="T3" fmla="*/ 15 h 504"/>
                <a:gd name="T4" fmla="*/ 93 w 419"/>
                <a:gd name="T5" fmla="*/ 22 h 504"/>
                <a:gd name="T6" fmla="*/ 105 w 419"/>
                <a:gd name="T7" fmla="*/ 24 h 504"/>
                <a:gd name="T8" fmla="*/ 112 w 419"/>
                <a:gd name="T9" fmla="*/ 45 h 504"/>
                <a:gd name="T10" fmla="*/ 129 w 419"/>
                <a:gd name="T11" fmla="*/ 51 h 504"/>
                <a:gd name="T12" fmla="*/ 143 w 419"/>
                <a:gd name="T13" fmla="*/ 46 h 504"/>
                <a:gd name="T14" fmla="*/ 147 w 419"/>
                <a:gd name="T15" fmla="*/ 57 h 504"/>
                <a:gd name="T16" fmla="*/ 131 w 419"/>
                <a:gd name="T17" fmla="*/ 64 h 504"/>
                <a:gd name="T18" fmla="*/ 124 w 419"/>
                <a:gd name="T19" fmla="*/ 76 h 504"/>
                <a:gd name="T20" fmla="*/ 143 w 419"/>
                <a:gd name="T21" fmla="*/ 89 h 504"/>
                <a:gd name="T22" fmla="*/ 171 w 419"/>
                <a:gd name="T23" fmla="*/ 100 h 504"/>
                <a:gd name="T24" fmla="*/ 166 w 419"/>
                <a:gd name="T25" fmla="*/ 119 h 504"/>
                <a:gd name="T26" fmla="*/ 166 w 419"/>
                <a:gd name="T27" fmla="*/ 128 h 504"/>
                <a:gd name="T28" fmla="*/ 151 w 419"/>
                <a:gd name="T29" fmla="*/ 134 h 504"/>
                <a:gd name="T30" fmla="*/ 138 w 419"/>
                <a:gd name="T31" fmla="*/ 164 h 504"/>
                <a:gd name="T32" fmla="*/ 127 w 419"/>
                <a:gd name="T33" fmla="*/ 160 h 504"/>
                <a:gd name="T34" fmla="*/ 101 w 419"/>
                <a:gd name="T35" fmla="*/ 152 h 504"/>
                <a:gd name="T36" fmla="*/ 78 w 419"/>
                <a:gd name="T37" fmla="*/ 163 h 504"/>
                <a:gd name="T38" fmla="*/ 84 w 419"/>
                <a:gd name="T39" fmla="*/ 149 h 504"/>
                <a:gd name="T40" fmla="*/ 59 w 419"/>
                <a:gd name="T41" fmla="*/ 157 h 504"/>
                <a:gd name="T42" fmla="*/ 48 w 419"/>
                <a:gd name="T43" fmla="*/ 121 h 504"/>
                <a:gd name="T44" fmla="*/ 37 w 419"/>
                <a:gd name="T45" fmla="*/ 117 h 504"/>
                <a:gd name="T46" fmla="*/ 28 w 419"/>
                <a:gd name="T47" fmla="*/ 98 h 504"/>
                <a:gd name="T48" fmla="*/ 39 w 419"/>
                <a:gd name="T49" fmla="*/ 85 h 504"/>
                <a:gd name="T50" fmla="*/ 34 w 419"/>
                <a:gd name="T51" fmla="*/ 71 h 504"/>
                <a:gd name="T52" fmla="*/ 12 w 419"/>
                <a:gd name="T53" fmla="*/ 68 h 504"/>
                <a:gd name="T54" fmla="*/ 12 w 419"/>
                <a:gd name="T55" fmla="*/ 51 h 504"/>
                <a:gd name="T56" fmla="*/ 20 w 419"/>
                <a:gd name="T57" fmla="*/ 37 h 504"/>
                <a:gd name="T58" fmla="*/ 24 w 419"/>
                <a:gd name="T59" fmla="*/ 21 h 504"/>
                <a:gd name="T60" fmla="*/ 37 w 419"/>
                <a:gd name="T61" fmla="*/ 30 h 504"/>
                <a:gd name="T62" fmla="*/ 53 w 419"/>
                <a:gd name="T63" fmla="*/ 21 h 504"/>
                <a:gd name="T64" fmla="*/ 37 w 419"/>
                <a:gd name="T65" fmla="*/ 9 h 5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9" h="504">
                  <a:moveTo>
                    <a:pt x="83" y="6"/>
                  </a:moveTo>
                  <a:lnTo>
                    <a:pt x="101" y="0"/>
                  </a:lnTo>
                  <a:lnTo>
                    <a:pt x="149" y="21"/>
                  </a:lnTo>
                  <a:lnTo>
                    <a:pt x="173" y="45"/>
                  </a:lnTo>
                  <a:lnTo>
                    <a:pt x="212" y="57"/>
                  </a:lnTo>
                  <a:lnTo>
                    <a:pt x="230" y="69"/>
                  </a:lnTo>
                  <a:lnTo>
                    <a:pt x="251" y="66"/>
                  </a:lnTo>
                  <a:lnTo>
                    <a:pt x="257" y="75"/>
                  </a:lnTo>
                  <a:lnTo>
                    <a:pt x="248" y="123"/>
                  </a:lnTo>
                  <a:lnTo>
                    <a:pt x="272" y="135"/>
                  </a:lnTo>
                  <a:lnTo>
                    <a:pt x="281" y="153"/>
                  </a:lnTo>
                  <a:lnTo>
                    <a:pt x="317" y="159"/>
                  </a:lnTo>
                  <a:lnTo>
                    <a:pt x="329" y="138"/>
                  </a:lnTo>
                  <a:lnTo>
                    <a:pt x="350" y="141"/>
                  </a:lnTo>
                  <a:lnTo>
                    <a:pt x="362" y="159"/>
                  </a:lnTo>
                  <a:lnTo>
                    <a:pt x="362" y="174"/>
                  </a:lnTo>
                  <a:lnTo>
                    <a:pt x="320" y="180"/>
                  </a:lnTo>
                  <a:lnTo>
                    <a:pt x="320" y="198"/>
                  </a:lnTo>
                  <a:lnTo>
                    <a:pt x="320" y="210"/>
                  </a:lnTo>
                  <a:lnTo>
                    <a:pt x="305" y="228"/>
                  </a:lnTo>
                  <a:lnTo>
                    <a:pt x="317" y="249"/>
                  </a:lnTo>
                  <a:lnTo>
                    <a:pt x="350" y="273"/>
                  </a:lnTo>
                  <a:lnTo>
                    <a:pt x="353" y="300"/>
                  </a:lnTo>
                  <a:lnTo>
                    <a:pt x="419" y="306"/>
                  </a:lnTo>
                  <a:lnTo>
                    <a:pt x="419" y="342"/>
                  </a:lnTo>
                  <a:lnTo>
                    <a:pt x="407" y="360"/>
                  </a:lnTo>
                  <a:lnTo>
                    <a:pt x="416" y="378"/>
                  </a:lnTo>
                  <a:lnTo>
                    <a:pt x="407" y="390"/>
                  </a:lnTo>
                  <a:lnTo>
                    <a:pt x="383" y="396"/>
                  </a:lnTo>
                  <a:lnTo>
                    <a:pt x="371" y="411"/>
                  </a:lnTo>
                  <a:lnTo>
                    <a:pt x="371" y="450"/>
                  </a:lnTo>
                  <a:lnTo>
                    <a:pt x="338" y="498"/>
                  </a:lnTo>
                  <a:lnTo>
                    <a:pt x="332" y="504"/>
                  </a:lnTo>
                  <a:lnTo>
                    <a:pt x="314" y="486"/>
                  </a:lnTo>
                  <a:lnTo>
                    <a:pt x="266" y="486"/>
                  </a:lnTo>
                  <a:lnTo>
                    <a:pt x="245" y="462"/>
                  </a:lnTo>
                  <a:lnTo>
                    <a:pt x="206" y="501"/>
                  </a:lnTo>
                  <a:lnTo>
                    <a:pt x="191" y="495"/>
                  </a:lnTo>
                  <a:lnTo>
                    <a:pt x="209" y="465"/>
                  </a:lnTo>
                  <a:lnTo>
                    <a:pt x="206" y="456"/>
                  </a:lnTo>
                  <a:lnTo>
                    <a:pt x="191" y="453"/>
                  </a:lnTo>
                  <a:lnTo>
                    <a:pt x="146" y="477"/>
                  </a:lnTo>
                  <a:lnTo>
                    <a:pt x="104" y="396"/>
                  </a:lnTo>
                  <a:lnTo>
                    <a:pt x="119" y="369"/>
                  </a:lnTo>
                  <a:lnTo>
                    <a:pt x="113" y="360"/>
                  </a:lnTo>
                  <a:lnTo>
                    <a:pt x="89" y="354"/>
                  </a:lnTo>
                  <a:lnTo>
                    <a:pt x="54" y="330"/>
                  </a:lnTo>
                  <a:lnTo>
                    <a:pt x="68" y="300"/>
                  </a:lnTo>
                  <a:lnTo>
                    <a:pt x="89" y="288"/>
                  </a:lnTo>
                  <a:lnTo>
                    <a:pt x="95" y="261"/>
                  </a:lnTo>
                  <a:lnTo>
                    <a:pt x="86" y="216"/>
                  </a:lnTo>
                  <a:lnTo>
                    <a:pt x="83" y="213"/>
                  </a:lnTo>
                  <a:lnTo>
                    <a:pt x="60" y="237"/>
                  </a:lnTo>
                  <a:lnTo>
                    <a:pt x="27" y="207"/>
                  </a:lnTo>
                  <a:lnTo>
                    <a:pt x="0" y="177"/>
                  </a:lnTo>
                  <a:lnTo>
                    <a:pt x="27" y="159"/>
                  </a:lnTo>
                  <a:lnTo>
                    <a:pt x="33" y="126"/>
                  </a:lnTo>
                  <a:lnTo>
                    <a:pt x="48" y="114"/>
                  </a:lnTo>
                  <a:lnTo>
                    <a:pt x="45" y="72"/>
                  </a:lnTo>
                  <a:lnTo>
                    <a:pt x="57" y="63"/>
                  </a:lnTo>
                  <a:lnTo>
                    <a:pt x="77" y="75"/>
                  </a:lnTo>
                  <a:lnTo>
                    <a:pt x="89" y="93"/>
                  </a:lnTo>
                  <a:lnTo>
                    <a:pt x="119" y="75"/>
                  </a:lnTo>
                  <a:lnTo>
                    <a:pt x="128" y="66"/>
                  </a:lnTo>
                  <a:lnTo>
                    <a:pt x="122" y="45"/>
                  </a:lnTo>
                  <a:lnTo>
                    <a:pt x="89" y="27"/>
                  </a:lnTo>
                  <a:lnTo>
                    <a:pt x="83" y="6"/>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8" name="Freeform 92"/>
            <p:cNvSpPr>
              <a:spLocks/>
            </p:cNvSpPr>
            <p:nvPr/>
          </p:nvSpPr>
          <p:spPr bwMode="auto">
            <a:xfrm>
              <a:off x="4980236" y="3852887"/>
              <a:ext cx="587375" cy="700088"/>
            </a:xfrm>
            <a:custGeom>
              <a:avLst/>
              <a:gdLst>
                <a:gd name="T0" fmla="*/ 41 w 419"/>
                <a:gd name="T1" fmla="*/ 0 h 504"/>
                <a:gd name="T2" fmla="*/ 70 w 419"/>
                <a:gd name="T3" fmla="*/ 15 h 504"/>
                <a:gd name="T4" fmla="*/ 93 w 419"/>
                <a:gd name="T5" fmla="*/ 22 h 504"/>
                <a:gd name="T6" fmla="*/ 105 w 419"/>
                <a:gd name="T7" fmla="*/ 24 h 504"/>
                <a:gd name="T8" fmla="*/ 112 w 419"/>
                <a:gd name="T9" fmla="*/ 45 h 504"/>
                <a:gd name="T10" fmla="*/ 129 w 419"/>
                <a:gd name="T11" fmla="*/ 51 h 504"/>
                <a:gd name="T12" fmla="*/ 143 w 419"/>
                <a:gd name="T13" fmla="*/ 46 h 504"/>
                <a:gd name="T14" fmla="*/ 147 w 419"/>
                <a:gd name="T15" fmla="*/ 57 h 504"/>
                <a:gd name="T16" fmla="*/ 131 w 419"/>
                <a:gd name="T17" fmla="*/ 64 h 504"/>
                <a:gd name="T18" fmla="*/ 124 w 419"/>
                <a:gd name="T19" fmla="*/ 76 h 504"/>
                <a:gd name="T20" fmla="*/ 143 w 419"/>
                <a:gd name="T21" fmla="*/ 89 h 504"/>
                <a:gd name="T22" fmla="*/ 171 w 419"/>
                <a:gd name="T23" fmla="*/ 100 h 504"/>
                <a:gd name="T24" fmla="*/ 166 w 419"/>
                <a:gd name="T25" fmla="*/ 119 h 504"/>
                <a:gd name="T26" fmla="*/ 166 w 419"/>
                <a:gd name="T27" fmla="*/ 128 h 504"/>
                <a:gd name="T28" fmla="*/ 151 w 419"/>
                <a:gd name="T29" fmla="*/ 134 h 504"/>
                <a:gd name="T30" fmla="*/ 138 w 419"/>
                <a:gd name="T31" fmla="*/ 164 h 504"/>
                <a:gd name="T32" fmla="*/ 127 w 419"/>
                <a:gd name="T33" fmla="*/ 160 h 504"/>
                <a:gd name="T34" fmla="*/ 101 w 419"/>
                <a:gd name="T35" fmla="*/ 152 h 504"/>
                <a:gd name="T36" fmla="*/ 78 w 419"/>
                <a:gd name="T37" fmla="*/ 163 h 504"/>
                <a:gd name="T38" fmla="*/ 84 w 419"/>
                <a:gd name="T39" fmla="*/ 149 h 504"/>
                <a:gd name="T40" fmla="*/ 59 w 419"/>
                <a:gd name="T41" fmla="*/ 157 h 504"/>
                <a:gd name="T42" fmla="*/ 48 w 419"/>
                <a:gd name="T43" fmla="*/ 121 h 504"/>
                <a:gd name="T44" fmla="*/ 37 w 419"/>
                <a:gd name="T45" fmla="*/ 117 h 504"/>
                <a:gd name="T46" fmla="*/ 28 w 419"/>
                <a:gd name="T47" fmla="*/ 98 h 504"/>
                <a:gd name="T48" fmla="*/ 39 w 419"/>
                <a:gd name="T49" fmla="*/ 85 h 504"/>
                <a:gd name="T50" fmla="*/ 34 w 419"/>
                <a:gd name="T51" fmla="*/ 71 h 504"/>
                <a:gd name="T52" fmla="*/ 12 w 419"/>
                <a:gd name="T53" fmla="*/ 68 h 504"/>
                <a:gd name="T54" fmla="*/ 12 w 419"/>
                <a:gd name="T55" fmla="*/ 51 h 504"/>
                <a:gd name="T56" fmla="*/ 20 w 419"/>
                <a:gd name="T57" fmla="*/ 37 h 504"/>
                <a:gd name="T58" fmla="*/ 24 w 419"/>
                <a:gd name="T59" fmla="*/ 21 h 504"/>
                <a:gd name="T60" fmla="*/ 37 w 419"/>
                <a:gd name="T61" fmla="*/ 30 h 504"/>
                <a:gd name="T62" fmla="*/ 53 w 419"/>
                <a:gd name="T63" fmla="*/ 21 h 504"/>
                <a:gd name="T64" fmla="*/ 37 w 419"/>
                <a:gd name="T65" fmla="*/ 9 h 5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9" h="504">
                  <a:moveTo>
                    <a:pt x="83" y="6"/>
                  </a:moveTo>
                  <a:lnTo>
                    <a:pt x="101" y="0"/>
                  </a:lnTo>
                  <a:lnTo>
                    <a:pt x="149" y="21"/>
                  </a:lnTo>
                  <a:lnTo>
                    <a:pt x="173" y="45"/>
                  </a:lnTo>
                  <a:lnTo>
                    <a:pt x="212" y="57"/>
                  </a:lnTo>
                  <a:lnTo>
                    <a:pt x="230" y="69"/>
                  </a:lnTo>
                  <a:lnTo>
                    <a:pt x="251" y="66"/>
                  </a:lnTo>
                  <a:lnTo>
                    <a:pt x="257" y="75"/>
                  </a:lnTo>
                  <a:lnTo>
                    <a:pt x="248" y="123"/>
                  </a:lnTo>
                  <a:lnTo>
                    <a:pt x="272" y="135"/>
                  </a:lnTo>
                  <a:lnTo>
                    <a:pt x="281" y="153"/>
                  </a:lnTo>
                  <a:lnTo>
                    <a:pt x="317" y="159"/>
                  </a:lnTo>
                  <a:lnTo>
                    <a:pt x="329" y="138"/>
                  </a:lnTo>
                  <a:lnTo>
                    <a:pt x="350" y="141"/>
                  </a:lnTo>
                  <a:lnTo>
                    <a:pt x="362" y="159"/>
                  </a:lnTo>
                  <a:lnTo>
                    <a:pt x="362" y="174"/>
                  </a:lnTo>
                  <a:lnTo>
                    <a:pt x="320" y="180"/>
                  </a:lnTo>
                  <a:lnTo>
                    <a:pt x="320" y="198"/>
                  </a:lnTo>
                  <a:lnTo>
                    <a:pt x="320" y="210"/>
                  </a:lnTo>
                  <a:lnTo>
                    <a:pt x="305" y="228"/>
                  </a:lnTo>
                  <a:lnTo>
                    <a:pt x="317" y="249"/>
                  </a:lnTo>
                  <a:lnTo>
                    <a:pt x="350" y="273"/>
                  </a:lnTo>
                  <a:lnTo>
                    <a:pt x="353" y="300"/>
                  </a:lnTo>
                  <a:lnTo>
                    <a:pt x="419" y="306"/>
                  </a:lnTo>
                  <a:lnTo>
                    <a:pt x="419" y="342"/>
                  </a:lnTo>
                  <a:lnTo>
                    <a:pt x="407" y="360"/>
                  </a:lnTo>
                  <a:lnTo>
                    <a:pt x="416" y="378"/>
                  </a:lnTo>
                  <a:lnTo>
                    <a:pt x="407" y="390"/>
                  </a:lnTo>
                  <a:lnTo>
                    <a:pt x="383" y="396"/>
                  </a:lnTo>
                  <a:lnTo>
                    <a:pt x="371" y="411"/>
                  </a:lnTo>
                  <a:lnTo>
                    <a:pt x="371" y="450"/>
                  </a:lnTo>
                  <a:lnTo>
                    <a:pt x="338" y="498"/>
                  </a:lnTo>
                  <a:lnTo>
                    <a:pt x="332" y="504"/>
                  </a:lnTo>
                  <a:lnTo>
                    <a:pt x="314" y="486"/>
                  </a:lnTo>
                  <a:lnTo>
                    <a:pt x="266" y="486"/>
                  </a:lnTo>
                  <a:lnTo>
                    <a:pt x="245" y="462"/>
                  </a:lnTo>
                  <a:lnTo>
                    <a:pt x="206" y="501"/>
                  </a:lnTo>
                  <a:lnTo>
                    <a:pt x="191" y="495"/>
                  </a:lnTo>
                  <a:lnTo>
                    <a:pt x="209" y="465"/>
                  </a:lnTo>
                  <a:lnTo>
                    <a:pt x="206" y="456"/>
                  </a:lnTo>
                  <a:lnTo>
                    <a:pt x="191" y="453"/>
                  </a:lnTo>
                  <a:lnTo>
                    <a:pt x="146" y="477"/>
                  </a:lnTo>
                  <a:lnTo>
                    <a:pt x="104" y="396"/>
                  </a:lnTo>
                  <a:lnTo>
                    <a:pt x="119" y="369"/>
                  </a:lnTo>
                  <a:lnTo>
                    <a:pt x="113" y="360"/>
                  </a:lnTo>
                  <a:lnTo>
                    <a:pt x="89" y="354"/>
                  </a:lnTo>
                  <a:lnTo>
                    <a:pt x="54" y="330"/>
                  </a:lnTo>
                  <a:lnTo>
                    <a:pt x="68" y="300"/>
                  </a:lnTo>
                  <a:lnTo>
                    <a:pt x="89" y="288"/>
                  </a:lnTo>
                  <a:lnTo>
                    <a:pt x="95" y="261"/>
                  </a:lnTo>
                  <a:lnTo>
                    <a:pt x="86" y="216"/>
                  </a:lnTo>
                  <a:lnTo>
                    <a:pt x="83" y="213"/>
                  </a:lnTo>
                  <a:lnTo>
                    <a:pt x="60" y="237"/>
                  </a:lnTo>
                  <a:lnTo>
                    <a:pt x="27" y="207"/>
                  </a:lnTo>
                  <a:lnTo>
                    <a:pt x="0" y="177"/>
                  </a:lnTo>
                  <a:lnTo>
                    <a:pt x="27" y="159"/>
                  </a:lnTo>
                  <a:lnTo>
                    <a:pt x="33" y="126"/>
                  </a:lnTo>
                  <a:lnTo>
                    <a:pt x="48" y="114"/>
                  </a:lnTo>
                  <a:lnTo>
                    <a:pt x="45" y="72"/>
                  </a:lnTo>
                  <a:lnTo>
                    <a:pt x="57" y="63"/>
                  </a:lnTo>
                  <a:lnTo>
                    <a:pt x="77" y="75"/>
                  </a:lnTo>
                  <a:lnTo>
                    <a:pt x="89" y="93"/>
                  </a:lnTo>
                  <a:lnTo>
                    <a:pt x="119" y="75"/>
                  </a:lnTo>
                  <a:lnTo>
                    <a:pt x="128" y="66"/>
                  </a:lnTo>
                  <a:lnTo>
                    <a:pt x="122" y="45"/>
                  </a:lnTo>
                  <a:lnTo>
                    <a:pt x="89" y="27"/>
                  </a:lnTo>
                  <a:lnTo>
                    <a:pt x="83" y="6"/>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99" name="Freeform 93"/>
            <p:cNvSpPr>
              <a:spLocks/>
            </p:cNvSpPr>
            <p:nvPr/>
          </p:nvSpPr>
          <p:spPr bwMode="auto">
            <a:xfrm>
              <a:off x="5726361" y="4186262"/>
              <a:ext cx="111125" cy="109538"/>
            </a:xfrm>
            <a:custGeom>
              <a:avLst/>
              <a:gdLst>
                <a:gd name="T0" fmla="*/ 15 w 78"/>
                <a:gd name="T1" fmla="*/ 27 h 78"/>
                <a:gd name="T2" fmla="*/ 0 w 78"/>
                <a:gd name="T3" fmla="*/ 18 h 78"/>
                <a:gd name="T4" fmla="*/ 8 w 78"/>
                <a:gd name="T5" fmla="*/ 12 h 78"/>
                <a:gd name="T6" fmla="*/ 13 w 78"/>
                <a:gd name="T7" fmla="*/ 0 h 78"/>
                <a:gd name="T8" fmla="*/ 28 w 78"/>
                <a:gd name="T9" fmla="*/ 4 h 78"/>
                <a:gd name="T10" fmla="*/ 35 w 78"/>
                <a:gd name="T11" fmla="*/ 12 h 78"/>
                <a:gd name="T12" fmla="*/ 30 w 78"/>
                <a:gd name="T13" fmla="*/ 18 h 78"/>
                <a:gd name="T14" fmla="*/ 15 w 78"/>
                <a:gd name="T15" fmla="*/ 27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8" h="78">
                  <a:moveTo>
                    <a:pt x="33" y="78"/>
                  </a:moveTo>
                  <a:lnTo>
                    <a:pt x="0" y="51"/>
                  </a:lnTo>
                  <a:lnTo>
                    <a:pt x="18" y="33"/>
                  </a:lnTo>
                  <a:lnTo>
                    <a:pt x="27" y="0"/>
                  </a:lnTo>
                  <a:lnTo>
                    <a:pt x="63" y="15"/>
                  </a:lnTo>
                  <a:lnTo>
                    <a:pt x="78" y="36"/>
                  </a:lnTo>
                  <a:lnTo>
                    <a:pt x="66" y="51"/>
                  </a:lnTo>
                  <a:lnTo>
                    <a:pt x="33" y="78"/>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0" name="Freeform 94"/>
            <p:cNvSpPr>
              <a:spLocks/>
            </p:cNvSpPr>
            <p:nvPr/>
          </p:nvSpPr>
          <p:spPr bwMode="auto">
            <a:xfrm>
              <a:off x="5726361" y="4186262"/>
              <a:ext cx="111125" cy="109538"/>
            </a:xfrm>
            <a:custGeom>
              <a:avLst/>
              <a:gdLst>
                <a:gd name="T0" fmla="*/ 15 w 78"/>
                <a:gd name="T1" fmla="*/ 27 h 78"/>
                <a:gd name="T2" fmla="*/ 0 w 78"/>
                <a:gd name="T3" fmla="*/ 18 h 78"/>
                <a:gd name="T4" fmla="*/ 8 w 78"/>
                <a:gd name="T5" fmla="*/ 12 h 78"/>
                <a:gd name="T6" fmla="*/ 13 w 78"/>
                <a:gd name="T7" fmla="*/ 0 h 78"/>
                <a:gd name="T8" fmla="*/ 28 w 78"/>
                <a:gd name="T9" fmla="*/ 4 h 78"/>
                <a:gd name="T10" fmla="*/ 35 w 78"/>
                <a:gd name="T11" fmla="*/ 12 h 78"/>
                <a:gd name="T12" fmla="*/ 30 w 78"/>
                <a:gd name="T13" fmla="*/ 18 h 78"/>
                <a:gd name="T14" fmla="*/ 15 w 78"/>
                <a:gd name="T15" fmla="*/ 27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8" h="78">
                  <a:moveTo>
                    <a:pt x="33" y="78"/>
                  </a:moveTo>
                  <a:lnTo>
                    <a:pt x="0" y="51"/>
                  </a:lnTo>
                  <a:lnTo>
                    <a:pt x="18" y="33"/>
                  </a:lnTo>
                  <a:lnTo>
                    <a:pt x="27" y="0"/>
                  </a:lnTo>
                  <a:lnTo>
                    <a:pt x="63" y="15"/>
                  </a:lnTo>
                  <a:lnTo>
                    <a:pt x="78" y="36"/>
                  </a:lnTo>
                  <a:lnTo>
                    <a:pt x="66" y="51"/>
                  </a:lnTo>
                  <a:lnTo>
                    <a:pt x="33" y="78"/>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1" name="Freeform 95"/>
            <p:cNvSpPr>
              <a:spLocks/>
            </p:cNvSpPr>
            <p:nvPr/>
          </p:nvSpPr>
          <p:spPr bwMode="auto">
            <a:xfrm>
              <a:off x="5121524" y="3748112"/>
              <a:ext cx="695325" cy="549275"/>
            </a:xfrm>
            <a:custGeom>
              <a:avLst/>
              <a:gdLst>
                <a:gd name="T0" fmla="*/ 189 w 495"/>
                <a:gd name="T1" fmla="*/ 103 h 396"/>
                <a:gd name="T2" fmla="*/ 185 w 495"/>
                <a:gd name="T3" fmla="*/ 114 h 396"/>
                <a:gd name="T4" fmla="*/ 178 w 495"/>
                <a:gd name="T5" fmla="*/ 118 h 396"/>
                <a:gd name="T6" fmla="*/ 168 w 495"/>
                <a:gd name="T7" fmla="*/ 129 h 396"/>
                <a:gd name="T8" fmla="*/ 153 w 495"/>
                <a:gd name="T9" fmla="*/ 127 h 396"/>
                <a:gd name="T10" fmla="*/ 140 w 495"/>
                <a:gd name="T11" fmla="*/ 122 h 396"/>
                <a:gd name="T12" fmla="*/ 131 w 495"/>
                <a:gd name="T13" fmla="*/ 124 h 396"/>
                <a:gd name="T14" fmla="*/ 103 w 495"/>
                <a:gd name="T15" fmla="*/ 122 h 396"/>
                <a:gd name="T16" fmla="*/ 103 w 495"/>
                <a:gd name="T17" fmla="*/ 114 h 396"/>
                <a:gd name="T18" fmla="*/ 89 w 495"/>
                <a:gd name="T19" fmla="*/ 105 h 396"/>
                <a:gd name="T20" fmla="*/ 84 w 495"/>
                <a:gd name="T21" fmla="*/ 99 h 396"/>
                <a:gd name="T22" fmla="*/ 90 w 495"/>
                <a:gd name="T23" fmla="*/ 94 h 396"/>
                <a:gd name="T24" fmla="*/ 90 w 495"/>
                <a:gd name="T25" fmla="*/ 89 h 396"/>
                <a:gd name="T26" fmla="*/ 90 w 495"/>
                <a:gd name="T27" fmla="*/ 84 h 396"/>
                <a:gd name="T28" fmla="*/ 107 w 495"/>
                <a:gd name="T29" fmla="*/ 81 h 396"/>
                <a:gd name="T30" fmla="*/ 107 w 495"/>
                <a:gd name="T31" fmla="*/ 76 h 396"/>
                <a:gd name="T32" fmla="*/ 103 w 495"/>
                <a:gd name="T33" fmla="*/ 72 h 396"/>
                <a:gd name="T34" fmla="*/ 94 w 495"/>
                <a:gd name="T35" fmla="*/ 70 h 396"/>
                <a:gd name="T36" fmla="*/ 89 w 495"/>
                <a:gd name="T37" fmla="*/ 76 h 396"/>
                <a:gd name="T38" fmla="*/ 74 w 495"/>
                <a:gd name="T39" fmla="*/ 75 h 396"/>
                <a:gd name="T40" fmla="*/ 70 w 495"/>
                <a:gd name="T41" fmla="*/ 69 h 396"/>
                <a:gd name="T42" fmla="*/ 60 w 495"/>
                <a:gd name="T43" fmla="*/ 64 h 396"/>
                <a:gd name="T44" fmla="*/ 64 w 495"/>
                <a:gd name="T45" fmla="*/ 49 h 396"/>
                <a:gd name="T46" fmla="*/ 61 w 495"/>
                <a:gd name="T47" fmla="*/ 46 h 396"/>
                <a:gd name="T48" fmla="*/ 54 w 495"/>
                <a:gd name="T49" fmla="*/ 46 h 396"/>
                <a:gd name="T50" fmla="*/ 45 w 495"/>
                <a:gd name="T51" fmla="*/ 43 h 396"/>
                <a:gd name="T52" fmla="*/ 29 w 495"/>
                <a:gd name="T53" fmla="*/ 39 h 396"/>
                <a:gd name="T54" fmla="*/ 20 w 495"/>
                <a:gd name="T55" fmla="*/ 31 h 396"/>
                <a:gd name="T56" fmla="*/ 0 w 495"/>
                <a:gd name="T57" fmla="*/ 24 h 396"/>
                <a:gd name="T58" fmla="*/ 3 w 495"/>
                <a:gd name="T59" fmla="*/ 17 h 396"/>
                <a:gd name="T60" fmla="*/ 10 w 495"/>
                <a:gd name="T61" fmla="*/ 15 h 396"/>
                <a:gd name="T62" fmla="*/ 25 w 495"/>
                <a:gd name="T63" fmla="*/ 24 h 396"/>
                <a:gd name="T64" fmla="*/ 29 w 495"/>
                <a:gd name="T65" fmla="*/ 24 h 396"/>
                <a:gd name="T66" fmla="*/ 44 w 495"/>
                <a:gd name="T67" fmla="*/ 24 h 396"/>
                <a:gd name="T68" fmla="*/ 52 w 495"/>
                <a:gd name="T69" fmla="*/ 19 h 396"/>
                <a:gd name="T70" fmla="*/ 63 w 495"/>
                <a:gd name="T71" fmla="*/ 26 h 396"/>
                <a:gd name="T72" fmla="*/ 68 w 495"/>
                <a:gd name="T73" fmla="*/ 19 h 396"/>
                <a:gd name="T74" fmla="*/ 70 w 495"/>
                <a:gd name="T75" fmla="*/ 15 h 396"/>
                <a:gd name="T76" fmla="*/ 78 w 495"/>
                <a:gd name="T77" fmla="*/ 11 h 396"/>
                <a:gd name="T78" fmla="*/ 81 w 495"/>
                <a:gd name="T79" fmla="*/ 4 h 396"/>
                <a:gd name="T80" fmla="*/ 90 w 495"/>
                <a:gd name="T81" fmla="*/ 0 h 396"/>
                <a:gd name="T82" fmla="*/ 113 w 495"/>
                <a:gd name="T83" fmla="*/ 13 h 396"/>
                <a:gd name="T84" fmla="*/ 131 w 495"/>
                <a:gd name="T85" fmla="*/ 19 h 396"/>
                <a:gd name="T86" fmla="*/ 163 w 495"/>
                <a:gd name="T87" fmla="*/ 60 h 396"/>
                <a:gd name="T88" fmla="*/ 162 w 495"/>
                <a:gd name="T89" fmla="*/ 64 h 396"/>
                <a:gd name="T90" fmla="*/ 183 w 495"/>
                <a:gd name="T91" fmla="*/ 72 h 396"/>
                <a:gd name="T92" fmla="*/ 189 w 495"/>
                <a:gd name="T93" fmla="*/ 80 h 396"/>
                <a:gd name="T94" fmla="*/ 200 w 495"/>
                <a:gd name="T95" fmla="*/ 84 h 396"/>
                <a:gd name="T96" fmla="*/ 203 w 495"/>
                <a:gd name="T97" fmla="*/ 91 h 396"/>
                <a:gd name="T98" fmla="*/ 197 w 495"/>
                <a:gd name="T99" fmla="*/ 94 h 396"/>
                <a:gd name="T100" fmla="*/ 185 w 495"/>
                <a:gd name="T101" fmla="*/ 91 h 396"/>
                <a:gd name="T102" fmla="*/ 170 w 495"/>
                <a:gd name="T103" fmla="*/ 91 h 396"/>
                <a:gd name="T104" fmla="*/ 156 w 495"/>
                <a:gd name="T105" fmla="*/ 87 h 396"/>
                <a:gd name="T106" fmla="*/ 151 w 495"/>
                <a:gd name="T107" fmla="*/ 91 h 396"/>
                <a:gd name="T108" fmla="*/ 164 w 495"/>
                <a:gd name="T109" fmla="*/ 94 h 396"/>
                <a:gd name="T110" fmla="*/ 177 w 495"/>
                <a:gd name="T111" fmla="*/ 98 h 396"/>
                <a:gd name="T112" fmla="*/ 189 w 495"/>
                <a:gd name="T113" fmla="*/ 103 h 3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95" h="396">
                  <a:moveTo>
                    <a:pt x="459" y="315"/>
                  </a:moveTo>
                  <a:lnTo>
                    <a:pt x="450" y="348"/>
                  </a:lnTo>
                  <a:lnTo>
                    <a:pt x="432" y="366"/>
                  </a:lnTo>
                  <a:lnTo>
                    <a:pt x="408" y="396"/>
                  </a:lnTo>
                  <a:lnTo>
                    <a:pt x="369" y="390"/>
                  </a:lnTo>
                  <a:lnTo>
                    <a:pt x="339" y="372"/>
                  </a:lnTo>
                  <a:lnTo>
                    <a:pt x="318" y="381"/>
                  </a:lnTo>
                  <a:lnTo>
                    <a:pt x="252" y="375"/>
                  </a:lnTo>
                  <a:lnTo>
                    <a:pt x="249" y="348"/>
                  </a:lnTo>
                  <a:lnTo>
                    <a:pt x="216" y="324"/>
                  </a:lnTo>
                  <a:lnTo>
                    <a:pt x="204" y="303"/>
                  </a:lnTo>
                  <a:lnTo>
                    <a:pt x="219" y="285"/>
                  </a:lnTo>
                  <a:lnTo>
                    <a:pt x="219" y="273"/>
                  </a:lnTo>
                  <a:lnTo>
                    <a:pt x="219" y="255"/>
                  </a:lnTo>
                  <a:lnTo>
                    <a:pt x="261" y="249"/>
                  </a:lnTo>
                  <a:lnTo>
                    <a:pt x="261" y="234"/>
                  </a:lnTo>
                  <a:lnTo>
                    <a:pt x="249" y="216"/>
                  </a:lnTo>
                  <a:lnTo>
                    <a:pt x="228" y="213"/>
                  </a:lnTo>
                  <a:lnTo>
                    <a:pt x="216" y="234"/>
                  </a:lnTo>
                  <a:lnTo>
                    <a:pt x="180" y="228"/>
                  </a:lnTo>
                  <a:lnTo>
                    <a:pt x="171" y="210"/>
                  </a:lnTo>
                  <a:lnTo>
                    <a:pt x="147" y="198"/>
                  </a:lnTo>
                  <a:lnTo>
                    <a:pt x="156" y="150"/>
                  </a:lnTo>
                  <a:lnTo>
                    <a:pt x="150" y="141"/>
                  </a:lnTo>
                  <a:lnTo>
                    <a:pt x="129" y="144"/>
                  </a:lnTo>
                  <a:lnTo>
                    <a:pt x="111" y="132"/>
                  </a:lnTo>
                  <a:lnTo>
                    <a:pt x="72" y="120"/>
                  </a:lnTo>
                  <a:lnTo>
                    <a:pt x="48" y="96"/>
                  </a:lnTo>
                  <a:lnTo>
                    <a:pt x="0" y="75"/>
                  </a:lnTo>
                  <a:lnTo>
                    <a:pt x="3" y="54"/>
                  </a:lnTo>
                  <a:lnTo>
                    <a:pt x="24" y="45"/>
                  </a:lnTo>
                  <a:lnTo>
                    <a:pt x="60" y="75"/>
                  </a:lnTo>
                  <a:lnTo>
                    <a:pt x="72" y="75"/>
                  </a:lnTo>
                  <a:lnTo>
                    <a:pt x="105" y="72"/>
                  </a:lnTo>
                  <a:lnTo>
                    <a:pt x="126" y="57"/>
                  </a:lnTo>
                  <a:lnTo>
                    <a:pt x="153" y="78"/>
                  </a:lnTo>
                  <a:lnTo>
                    <a:pt x="165" y="57"/>
                  </a:lnTo>
                  <a:lnTo>
                    <a:pt x="168" y="45"/>
                  </a:lnTo>
                  <a:lnTo>
                    <a:pt x="189" y="33"/>
                  </a:lnTo>
                  <a:lnTo>
                    <a:pt x="198" y="6"/>
                  </a:lnTo>
                  <a:lnTo>
                    <a:pt x="219" y="0"/>
                  </a:lnTo>
                  <a:lnTo>
                    <a:pt x="276" y="39"/>
                  </a:lnTo>
                  <a:lnTo>
                    <a:pt x="318" y="57"/>
                  </a:lnTo>
                  <a:lnTo>
                    <a:pt x="396" y="186"/>
                  </a:lnTo>
                  <a:lnTo>
                    <a:pt x="393" y="198"/>
                  </a:lnTo>
                  <a:lnTo>
                    <a:pt x="444" y="222"/>
                  </a:lnTo>
                  <a:lnTo>
                    <a:pt x="459" y="246"/>
                  </a:lnTo>
                  <a:lnTo>
                    <a:pt x="483" y="258"/>
                  </a:lnTo>
                  <a:lnTo>
                    <a:pt x="495" y="279"/>
                  </a:lnTo>
                  <a:lnTo>
                    <a:pt x="477" y="288"/>
                  </a:lnTo>
                  <a:lnTo>
                    <a:pt x="450" y="279"/>
                  </a:lnTo>
                  <a:lnTo>
                    <a:pt x="414" y="279"/>
                  </a:lnTo>
                  <a:lnTo>
                    <a:pt x="381" y="267"/>
                  </a:lnTo>
                  <a:lnTo>
                    <a:pt x="366" y="279"/>
                  </a:lnTo>
                  <a:lnTo>
                    <a:pt x="399" y="288"/>
                  </a:lnTo>
                  <a:lnTo>
                    <a:pt x="429" y="300"/>
                  </a:lnTo>
                  <a:lnTo>
                    <a:pt x="459" y="315"/>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2" name="Freeform 96"/>
            <p:cNvSpPr>
              <a:spLocks/>
            </p:cNvSpPr>
            <p:nvPr/>
          </p:nvSpPr>
          <p:spPr bwMode="auto">
            <a:xfrm>
              <a:off x="5121524" y="3748112"/>
              <a:ext cx="695325" cy="549275"/>
            </a:xfrm>
            <a:custGeom>
              <a:avLst/>
              <a:gdLst>
                <a:gd name="T0" fmla="*/ 189 w 495"/>
                <a:gd name="T1" fmla="*/ 103 h 396"/>
                <a:gd name="T2" fmla="*/ 185 w 495"/>
                <a:gd name="T3" fmla="*/ 114 h 396"/>
                <a:gd name="T4" fmla="*/ 178 w 495"/>
                <a:gd name="T5" fmla="*/ 118 h 396"/>
                <a:gd name="T6" fmla="*/ 168 w 495"/>
                <a:gd name="T7" fmla="*/ 129 h 396"/>
                <a:gd name="T8" fmla="*/ 153 w 495"/>
                <a:gd name="T9" fmla="*/ 127 h 396"/>
                <a:gd name="T10" fmla="*/ 140 w 495"/>
                <a:gd name="T11" fmla="*/ 122 h 396"/>
                <a:gd name="T12" fmla="*/ 131 w 495"/>
                <a:gd name="T13" fmla="*/ 124 h 396"/>
                <a:gd name="T14" fmla="*/ 103 w 495"/>
                <a:gd name="T15" fmla="*/ 122 h 396"/>
                <a:gd name="T16" fmla="*/ 103 w 495"/>
                <a:gd name="T17" fmla="*/ 114 h 396"/>
                <a:gd name="T18" fmla="*/ 89 w 495"/>
                <a:gd name="T19" fmla="*/ 105 h 396"/>
                <a:gd name="T20" fmla="*/ 84 w 495"/>
                <a:gd name="T21" fmla="*/ 99 h 396"/>
                <a:gd name="T22" fmla="*/ 90 w 495"/>
                <a:gd name="T23" fmla="*/ 94 h 396"/>
                <a:gd name="T24" fmla="*/ 90 w 495"/>
                <a:gd name="T25" fmla="*/ 89 h 396"/>
                <a:gd name="T26" fmla="*/ 90 w 495"/>
                <a:gd name="T27" fmla="*/ 84 h 396"/>
                <a:gd name="T28" fmla="*/ 107 w 495"/>
                <a:gd name="T29" fmla="*/ 81 h 396"/>
                <a:gd name="T30" fmla="*/ 107 w 495"/>
                <a:gd name="T31" fmla="*/ 76 h 396"/>
                <a:gd name="T32" fmla="*/ 103 w 495"/>
                <a:gd name="T33" fmla="*/ 72 h 396"/>
                <a:gd name="T34" fmla="*/ 94 w 495"/>
                <a:gd name="T35" fmla="*/ 70 h 396"/>
                <a:gd name="T36" fmla="*/ 89 w 495"/>
                <a:gd name="T37" fmla="*/ 76 h 396"/>
                <a:gd name="T38" fmla="*/ 74 w 495"/>
                <a:gd name="T39" fmla="*/ 75 h 396"/>
                <a:gd name="T40" fmla="*/ 70 w 495"/>
                <a:gd name="T41" fmla="*/ 69 h 396"/>
                <a:gd name="T42" fmla="*/ 60 w 495"/>
                <a:gd name="T43" fmla="*/ 64 h 396"/>
                <a:gd name="T44" fmla="*/ 64 w 495"/>
                <a:gd name="T45" fmla="*/ 49 h 396"/>
                <a:gd name="T46" fmla="*/ 61 w 495"/>
                <a:gd name="T47" fmla="*/ 46 h 396"/>
                <a:gd name="T48" fmla="*/ 54 w 495"/>
                <a:gd name="T49" fmla="*/ 46 h 396"/>
                <a:gd name="T50" fmla="*/ 45 w 495"/>
                <a:gd name="T51" fmla="*/ 43 h 396"/>
                <a:gd name="T52" fmla="*/ 29 w 495"/>
                <a:gd name="T53" fmla="*/ 39 h 396"/>
                <a:gd name="T54" fmla="*/ 20 w 495"/>
                <a:gd name="T55" fmla="*/ 31 h 396"/>
                <a:gd name="T56" fmla="*/ 0 w 495"/>
                <a:gd name="T57" fmla="*/ 24 h 396"/>
                <a:gd name="T58" fmla="*/ 3 w 495"/>
                <a:gd name="T59" fmla="*/ 17 h 396"/>
                <a:gd name="T60" fmla="*/ 10 w 495"/>
                <a:gd name="T61" fmla="*/ 15 h 396"/>
                <a:gd name="T62" fmla="*/ 25 w 495"/>
                <a:gd name="T63" fmla="*/ 24 h 396"/>
                <a:gd name="T64" fmla="*/ 29 w 495"/>
                <a:gd name="T65" fmla="*/ 24 h 396"/>
                <a:gd name="T66" fmla="*/ 44 w 495"/>
                <a:gd name="T67" fmla="*/ 24 h 396"/>
                <a:gd name="T68" fmla="*/ 52 w 495"/>
                <a:gd name="T69" fmla="*/ 19 h 396"/>
                <a:gd name="T70" fmla="*/ 63 w 495"/>
                <a:gd name="T71" fmla="*/ 26 h 396"/>
                <a:gd name="T72" fmla="*/ 68 w 495"/>
                <a:gd name="T73" fmla="*/ 19 h 396"/>
                <a:gd name="T74" fmla="*/ 70 w 495"/>
                <a:gd name="T75" fmla="*/ 15 h 396"/>
                <a:gd name="T76" fmla="*/ 78 w 495"/>
                <a:gd name="T77" fmla="*/ 11 h 396"/>
                <a:gd name="T78" fmla="*/ 81 w 495"/>
                <a:gd name="T79" fmla="*/ 4 h 396"/>
                <a:gd name="T80" fmla="*/ 90 w 495"/>
                <a:gd name="T81" fmla="*/ 0 h 396"/>
                <a:gd name="T82" fmla="*/ 113 w 495"/>
                <a:gd name="T83" fmla="*/ 13 h 396"/>
                <a:gd name="T84" fmla="*/ 131 w 495"/>
                <a:gd name="T85" fmla="*/ 19 h 396"/>
                <a:gd name="T86" fmla="*/ 163 w 495"/>
                <a:gd name="T87" fmla="*/ 60 h 396"/>
                <a:gd name="T88" fmla="*/ 162 w 495"/>
                <a:gd name="T89" fmla="*/ 64 h 396"/>
                <a:gd name="T90" fmla="*/ 183 w 495"/>
                <a:gd name="T91" fmla="*/ 72 h 396"/>
                <a:gd name="T92" fmla="*/ 189 w 495"/>
                <a:gd name="T93" fmla="*/ 80 h 396"/>
                <a:gd name="T94" fmla="*/ 200 w 495"/>
                <a:gd name="T95" fmla="*/ 84 h 396"/>
                <a:gd name="T96" fmla="*/ 203 w 495"/>
                <a:gd name="T97" fmla="*/ 91 h 396"/>
                <a:gd name="T98" fmla="*/ 197 w 495"/>
                <a:gd name="T99" fmla="*/ 94 h 396"/>
                <a:gd name="T100" fmla="*/ 185 w 495"/>
                <a:gd name="T101" fmla="*/ 91 h 396"/>
                <a:gd name="T102" fmla="*/ 170 w 495"/>
                <a:gd name="T103" fmla="*/ 91 h 396"/>
                <a:gd name="T104" fmla="*/ 156 w 495"/>
                <a:gd name="T105" fmla="*/ 87 h 396"/>
                <a:gd name="T106" fmla="*/ 151 w 495"/>
                <a:gd name="T107" fmla="*/ 91 h 396"/>
                <a:gd name="T108" fmla="*/ 164 w 495"/>
                <a:gd name="T109" fmla="*/ 94 h 396"/>
                <a:gd name="T110" fmla="*/ 177 w 495"/>
                <a:gd name="T111" fmla="*/ 98 h 396"/>
                <a:gd name="T112" fmla="*/ 189 w 495"/>
                <a:gd name="T113" fmla="*/ 103 h 3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95" h="396">
                  <a:moveTo>
                    <a:pt x="459" y="315"/>
                  </a:moveTo>
                  <a:lnTo>
                    <a:pt x="450" y="348"/>
                  </a:lnTo>
                  <a:lnTo>
                    <a:pt x="432" y="366"/>
                  </a:lnTo>
                  <a:lnTo>
                    <a:pt x="408" y="396"/>
                  </a:lnTo>
                  <a:lnTo>
                    <a:pt x="369" y="390"/>
                  </a:lnTo>
                  <a:lnTo>
                    <a:pt x="339" y="372"/>
                  </a:lnTo>
                  <a:lnTo>
                    <a:pt x="318" y="381"/>
                  </a:lnTo>
                  <a:lnTo>
                    <a:pt x="252" y="375"/>
                  </a:lnTo>
                  <a:lnTo>
                    <a:pt x="249" y="348"/>
                  </a:lnTo>
                  <a:lnTo>
                    <a:pt x="216" y="324"/>
                  </a:lnTo>
                  <a:lnTo>
                    <a:pt x="204" y="303"/>
                  </a:lnTo>
                  <a:lnTo>
                    <a:pt x="219" y="285"/>
                  </a:lnTo>
                  <a:lnTo>
                    <a:pt x="219" y="273"/>
                  </a:lnTo>
                  <a:lnTo>
                    <a:pt x="219" y="255"/>
                  </a:lnTo>
                  <a:lnTo>
                    <a:pt x="261" y="249"/>
                  </a:lnTo>
                  <a:lnTo>
                    <a:pt x="261" y="234"/>
                  </a:lnTo>
                  <a:lnTo>
                    <a:pt x="249" y="216"/>
                  </a:lnTo>
                  <a:lnTo>
                    <a:pt x="228" y="213"/>
                  </a:lnTo>
                  <a:lnTo>
                    <a:pt x="216" y="234"/>
                  </a:lnTo>
                  <a:lnTo>
                    <a:pt x="180" y="228"/>
                  </a:lnTo>
                  <a:lnTo>
                    <a:pt x="171" y="210"/>
                  </a:lnTo>
                  <a:lnTo>
                    <a:pt x="147" y="198"/>
                  </a:lnTo>
                  <a:lnTo>
                    <a:pt x="156" y="150"/>
                  </a:lnTo>
                  <a:lnTo>
                    <a:pt x="150" y="141"/>
                  </a:lnTo>
                  <a:lnTo>
                    <a:pt x="129" y="144"/>
                  </a:lnTo>
                  <a:lnTo>
                    <a:pt x="111" y="132"/>
                  </a:lnTo>
                  <a:lnTo>
                    <a:pt x="72" y="120"/>
                  </a:lnTo>
                  <a:lnTo>
                    <a:pt x="48" y="96"/>
                  </a:lnTo>
                  <a:lnTo>
                    <a:pt x="0" y="75"/>
                  </a:lnTo>
                  <a:lnTo>
                    <a:pt x="3" y="54"/>
                  </a:lnTo>
                  <a:lnTo>
                    <a:pt x="24" y="45"/>
                  </a:lnTo>
                  <a:lnTo>
                    <a:pt x="60" y="75"/>
                  </a:lnTo>
                  <a:lnTo>
                    <a:pt x="72" y="75"/>
                  </a:lnTo>
                  <a:lnTo>
                    <a:pt x="105" y="72"/>
                  </a:lnTo>
                  <a:lnTo>
                    <a:pt x="126" y="57"/>
                  </a:lnTo>
                  <a:lnTo>
                    <a:pt x="153" y="78"/>
                  </a:lnTo>
                  <a:lnTo>
                    <a:pt x="165" y="57"/>
                  </a:lnTo>
                  <a:lnTo>
                    <a:pt x="168" y="45"/>
                  </a:lnTo>
                  <a:lnTo>
                    <a:pt x="189" y="33"/>
                  </a:lnTo>
                  <a:lnTo>
                    <a:pt x="198" y="6"/>
                  </a:lnTo>
                  <a:lnTo>
                    <a:pt x="219" y="0"/>
                  </a:lnTo>
                  <a:lnTo>
                    <a:pt x="276" y="39"/>
                  </a:lnTo>
                  <a:lnTo>
                    <a:pt x="318" y="57"/>
                  </a:lnTo>
                  <a:lnTo>
                    <a:pt x="396" y="186"/>
                  </a:lnTo>
                  <a:lnTo>
                    <a:pt x="393" y="198"/>
                  </a:lnTo>
                  <a:lnTo>
                    <a:pt x="444" y="222"/>
                  </a:lnTo>
                  <a:lnTo>
                    <a:pt x="459" y="246"/>
                  </a:lnTo>
                  <a:lnTo>
                    <a:pt x="483" y="258"/>
                  </a:lnTo>
                  <a:lnTo>
                    <a:pt x="495" y="279"/>
                  </a:lnTo>
                  <a:lnTo>
                    <a:pt x="477" y="288"/>
                  </a:lnTo>
                  <a:lnTo>
                    <a:pt x="450" y="279"/>
                  </a:lnTo>
                  <a:lnTo>
                    <a:pt x="414" y="279"/>
                  </a:lnTo>
                  <a:lnTo>
                    <a:pt x="381" y="267"/>
                  </a:lnTo>
                  <a:lnTo>
                    <a:pt x="366" y="279"/>
                  </a:lnTo>
                  <a:lnTo>
                    <a:pt x="399" y="288"/>
                  </a:lnTo>
                  <a:lnTo>
                    <a:pt x="429" y="300"/>
                  </a:lnTo>
                  <a:lnTo>
                    <a:pt x="459" y="315"/>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3" name="Freeform 97"/>
            <p:cNvSpPr>
              <a:spLocks/>
            </p:cNvSpPr>
            <p:nvPr/>
          </p:nvSpPr>
          <p:spPr bwMode="auto">
            <a:xfrm>
              <a:off x="4237286" y="4111650"/>
              <a:ext cx="946150" cy="590550"/>
            </a:xfrm>
            <a:custGeom>
              <a:avLst/>
              <a:gdLst>
                <a:gd name="T0" fmla="*/ 38 w 674"/>
                <a:gd name="T1" fmla="*/ 128 h 425"/>
                <a:gd name="T2" fmla="*/ 71 w 674"/>
                <a:gd name="T3" fmla="*/ 123 h 425"/>
                <a:gd name="T4" fmla="*/ 73 w 674"/>
                <a:gd name="T5" fmla="*/ 109 h 425"/>
                <a:gd name="T6" fmla="*/ 121 w 674"/>
                <a:gd name="T7" fmla="*/ 108 h 425"/>
                <a:gd name="T8" fmla="*/ 143 w 674"/>
                <a:gd name="T9" fmla="*/ 118 h 425"/>
                <a:gd name="T10" fmla="*/ 164 w 674"/>
                <a:gd name="T11" fmla="*/ 111 h 425"/>
                <a:gd name="T12" fmla="*/ 171 w 674"/>
                <a:gd name="T13" fmla="*/ 118 h 425"/>
                <a:gd name="T14" fmla="*/ 186 w 674"/>
                <a:gd name="T15" fmla="*/ 106 h 425"/>
                <a:gd name="T16" fmla="*/ 189 w 674"/>
                <a:gd name="T17" fmla="*/ 123 h 425"/>
                <a:gd name="T18" fmla="*/ 202 w 674"/>
                <a:gd name="T19" fmla="*/ 128 h 425"/>
                <a:gd name="T20" fmla="*/ 226 w 674"/>
                <a:gd name="T21" fmla="*/ 117 h 425"/>
                <a:gd name="T22" fmla="*/ 264 w 674"/>
                <a:gd name="T23" fmla="*/ 99 h 425"/>
                <a:gd name="T24" fmla="*/ 262 w 674"/>
                <a:gd name="T25" fmla="*/ 69 h 425"/>
                <a:gd name="T26" fmla="*/ 265 w 674"/>
                <a:gd name="T27" fmla="*/ 57 h 425"/>
                <a:gd name="T28" fmla="*/ 241 w 674"/>
                <a:gd name="T29" fmla="*/ 46 h 425"/>
                <a:gd name="T30" fmla="*/ 222 w 674"/>
                <a:gd name="T31" fmla="*/ 46 h 425"/>
                <a:gd name="T32" fmla="*/ 195 w 674"/>
                <a:gd name="T33" fmla="*/ 40 h 425"/>
                <a:gd name="T34" fmla="*/ 183 w 674"/>
                <a:gd name="T35" fmla="*/ 27 h 425"/>
                <a:gd name="T36" fmla="*/ 168 w 674"/>
                <a:gd name="T37" fmla="*/ 27 h 425"/>
                <a:gd name="T38" fmla="*/ 136 w 674"/>
                <a:gd name="T39" fmla="*/ 27 h 425"/>
                <a:gd name="T40" fmla="*/ 80 w 674"/>
                <a:gd name="T41" fmla="*/ 0 h 425"/>
                <a:gd name="T42" fmla="*/ 68 w 674"/>
                <a:gd name="T43" fmla="*/ 4 h 425"/>
                <a:gd name="T44" fmla="*/ 34 w 674"/>
                <a:gd name="T45" fmla="*/ 4 h 425"/>
                <a:gd name="T46" fmla="*/ 38 w 674"/>
                <a:gd name="T47" fmla="*/ 13 h 425"/>
                <a:gd name="T48" fmla="*/ 54 w 674"/>
                <a:gd name="T49" fmla="*/ 17 h 425"/>
                <a:gd name="T50" fmla="*/ 36 w 674"/>
                <a:gd name="T51" fmla="*/ 27 h 425"/>
                <a:gd name="T52" fmla="*/ 36 w 674"/>
                <a:gd name="T53" fmla="*/ 38 h 425"/>
                <a:gd name="T54" fmla="*/ 46 w 674"/>
                <a:gd name="T55" fmla="*/ 50 h 425"/>
                <a:gd name="T56" fmla="*/ 59 w 674"/>
                <a:gd name="T57" fmla="*/ 76 h 425"/>
                <a:gd name="T58" fmla="*/ 50 w 674"/>
                <a:gd name="T59" fmla="*/ 80 h 425"/>
                <a:gd name="T60" fmla="*/ 7 w 674"/>
                <a:gd name="T61" fmla="*/ 95 h 425"/>
                <a:gd name="T62" fmla="*/ 5 w 674"/>
                <a:gd name="T63" fmla="*/ 106 h 425"/>
                <a:gd name="T64" fmla="*/ 14 w 674"/>
                <a:gd name="T65" fmla="*/ 121 h 4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74" h="425">
                  <a:moveTo>
                    <a:pt x="78" y="425"/>
                  </a:moveTo>
                  <a:lnTo>
                    <a:pt x="93" y="393"/>
                  </a:lnTo>
                  <a:lnTo>
                    <a:pt x="132" y="357"/>
                  </a:lnTo>
                  <a:lnTo>
                    <a:pt x="171" y="375"/>
                  </a:lnTo>
                  <a:lnTo>
                    <a:pt x="198" y="357"/>
                  </a:lnTo>
                  <a:lnTo>
                    <a:pt x="177" y="333"/>
                  </a:lnTo>
                  <a:lnTo>
                    <a:pt x="186" y="321"/>
                  </a:lnTo>
                  <a:lnTo>
                    <a:pt x="291" y="330"/>
                  </a:lnTo>
                  <a:lnTo>
                    <a:pt x="327" y="354"/>
                  </a:lnTo>
                  <a:lnTo>
                    <a:pt x="345" y="366"/>
                  </a:lnTo>
                  <a:lnTo>
                    <a:pt x="375" y="348"/>
                  </a:lnTo>
                  <a:lnTo>
                    <a:pt x="396" y="339"/>
                  </a:lnTo>
                  <a:lnTo>
                    <a:pt x="399" y="366"/>
                  </a:lnTo>
                  <a:lnTo>
                    <a:pt x="414" y="366"/>
                  </a:lnTo>
                  <a:lnTo>
                    <a:pt x="426" y="348"/>
                  </a:lnTo>
                  <a:lnTo>
                    <a:pt x="450" y="327"/>
                  </a:lnTo>
                  <a:lnTo>
                    <a:pt x="459" y="342"/>
                  </a:lnTo>
                  <a:lnTo>
                    <a:pt x="459" y="375"/>
                  </a:lnTo>
                  <a:lnTo>
                    <a:pt x="468" y="387"/>
                  </a:lnTo>
                  <a:lnTo>
                    <a:pt x="489" y="393"/>
                  </a:lnTo>
                  <a:lnTo>
                    <a:pt x="513" y="369"/>
                  </a:lnTo>
                  <a:lnTo>
                    <a:pt x="546" y="357"/>
                  </a:lnTo>
                  <a:lnTo>
                    <a:pt x="611" y="300"/>
                  </a:lnTo>
                  <a:lnTo>
                    <a:pt x="638" y="303"/>
                  </a:lnTo>
                  <a:lnTo>
                    <a:pt x="674" y="291"/>
                  </a:lnTo>
                  <a:lnTo>
                    <a:pt x="632" y="210"/>
                  </a:lnTo>
                  <a:lnTo>
                    <a:pt x="647" y="183"/>
                  </a:lnTo>
                  <a:lnTo>
                    <a:pt x="641" y="174"/>
                  </a:lnTo>
                  <a:lnTo>
                    <a:pt x="617" y="168"/>
                  </a:lnTo>
                  <a:lnTo>
                    <a:pt x="582" y="144"/>
                  </a:lnTo>
                  <a:lnTo>
                    <a:pt x="561" y="132"/>
                  </a:lnTo>
                  <a:lnTo>
                    <a:pt x="537" y="144"/>
                  </a:lnTo>
                  <a:lnTo>
                    <a:pt x="510" y="123"/>
                  </a:lnTo>
                  <a:lnTo>
                    <a:pt x="474" y="123"/>
                  </a:lnTo>
                  <a:lnTo>
                    <a:pt x="447" y="105"/>
                  </a:lnTo>
                  <a:lnTo>
                    <a:pt x="441" y="84"/>
                  </a:lnTo>
                  <a:lnTo>
                    <a:pt x="426" y="69"/>
                  </a:lnTo>
                  <a:lnTo>
                    <a:pt x="405" y="81"/>
                  </a:lnTo>
                  <a:lnTo>
                    <a:pt x="387" y="72"/>
                  </a:lnTo>
                  <a:lnTo>
                    <a:pt x="330" y="81"/>
                  </a:lnTo>
                  <a:lnTo>
                    <a:pt x="270" y="69"/>
                  </a:lnTo>
                  <a:lnTo>
                    <a:pt x="195" y="0"/>
                  </a:lnTo>
                  <a:lnTo>
                    <a:pt x="174" y="18"/>
                  </a:lnTo>
                  <a:lnTo>
                    <a:pt x="165" y="12"/>
                  </a:lnTo>
                  <a:lnTo>
                    <a:pt x="150" y="12"/>
                  </a:lnTo>
                  <a:lnTo>
                    <a:pt x="81" y="12"/>
                  </a:lnTo>
                  <a:lnTo>
                    <a:pt x="72" y="18"/>
                  </a:lnTo>
                  <a:lnTo>
                    <a:pt x="93" y="39"/>
                  </a:lnTo>
                  <a:lnTo>
                    <a:pt x="111" y="45"/>
                  </a:lnTo>
                  <a:lnTo>
                    <a:pt x="129" y="51"/>
                  </a:lnTo>
                  <a:lnTo>
                    <a:pt x="123" y="66"/>
                  </a:lnTo>
                  <a:lnTo>
                    <a:pt x="87" y="81"/>
                  </a:lnTo>
                  <a:lnTo>
                    <a:pt x="81" y="108"/>
                  </a:lnTo>
                  <a:lnTo>
                    <a:pt x="87" y="117"/>
                  </a:lnTo>
                  <a:lnTo>
                    <a:pt x="93" y="153"/>
                  </a:lnTo>
                  <a:lnTo>
                    <a:pt x="111" y="153"/>
                  </a:lnTo>
                  <a:lnTo>
                    <a:pt x="132" y="180"/>
                  </a:lnTo>
                  <a:lnTo>
                    <a:pt x="141" y="234"/>
                  </a:lnTo>
                  <a:lnTo>
                    <a:pt x="135" y="252"/>
                  </a:lnTo>
                  <a:lnTo>
                    <a:pt x="123" y="246"/>
                  </a:lnTo>
                  <a:lnTo>
                    <a:pt x="84" y="276"/>
                  </a:lnTo>
                  <a:lnTo>
                    <a:pt x="18" y="288"/>
                  </a:lnTo>
                  <a:lnTo>
                    <a:pt x="0" y="306"/>
                  </a:lnTo>
                  <a:lnTo>
                    <a:pt x="12" y="324"/>
                  </a:lnTo>
                  <a:lnTo>
                    <a:pt x="15" y="363"/>
                  </a:lnTo>
                  <a:lnTo>
                    <a:pt x="33" y="369"/>
                  </a:lnTo>
                  <a:lnTo>
                    <a:pt x="78" y="425"/>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4" name="Freeform 98"/>
            <p:cNvSpPr>
              <a:spLocks/>
            </p:cNvSpPr>
            <p:nvPr/>
          </p:nvSpPr>
          <p:spPr bwMode="auto">
            <a:xfrm>
              <a:off x="4237286" y="4111650"/>
              <a:ext cx="946150" cy="590550"/>
            </a:xfrm>
            <a:custGeom>
              <a:avLst/>
              <a:gdLst>
                <a:gd name="T0" fmla="*/ 38 w 674"/>
                <a:gd name="T1" fmla="*/ 128 h 425"/>
                <a:gd name="T2" fmla="*/ 71 w 674"/>
                <a:gd name="T3" fmla="*/ 123 h 425"/>
                <a:gd name="T4" fmla="*/ 73 w 674"/>
                <a:gd name="T5" fmla="*/ 109 h 425"/>
                <a:gd name="T6" fmla="*/ 121 w 674"/>
                <a:gd name="T7" fmla="*/ 108 h 425"/>
                <a:gd name="T8" fmla="*/ 143 w 674"/>
                <a:gd name="T9" fmla="*/ 118 h 425"/>
                <a:gd name="T10" fmla="*/ 164 w 674"/>
                <a:gd name="T11" fmla="*/ 111 h 425"/>
                <a:gd name="T12" fmla="*/ 171 w 674"/>
                <a:gd name="T13" fmla="*/ 118 h 425"/>
                <a:gd name="T14" fmla="*/ 186 w 674"/>
                <a:gd name="T15" fmla="*/ 106 h 425"/>
                <a:gd name="T16" fmla="*/ 189 w 674"/>
                <a:gd name="T17" fmla="*/ 123 h 425"/>
                <a:gd name="T18" fmla="*/ 202 w 674"/>
                <a:gd name="T19" fmla="*/ 128 h 425"/>
                <a:gd name="T20" fmla="*/ 226 w 674"/>
                <a:gd name="T21" fmla="*/ 117 h 425"/>
                <a:gd name="T22" fmla="*/ 264 w 674"/>
                <a:gd name="T23" fmla="*/ 99 h 425"/>
                <a:gd name="T24" fmla="*/ 262 w 674"/>
                <a:gd name="T25" fmla="*/ 69 h 425"/>
                <a:gd name="T26" fmla="*/ 265 w 674"/>
                <a:gd name="T27" fmla="*/ 57 h 425"/>
                <a:gd name="T28" fmla="*/ 241 w 674"/>
                <a:gd name="T29" fmla="*/ 46 h 425"/>
                <a:gd name="T30" fmla="*/ 222 w 674"/>
                <a:gd name="T31" fmla="*/ 46 h 425"/>
                <a:gd name="T32" fmla="*/ 195 w 674"/>
                <a:gd name="T33" fmla="*/ 40 h 425"/>
                <a:gd name="T34" fmla="*/ 183 w 674"/>
                <a:gd name="T35" fmla="*/ 27 h 425"/>
                <a:gd name="T36" fmla="*/ 168 w 674"/>
                <a:gd name="T37" fmla="*/ 27 h 425"/>
                <a:gd name="T38" fmla="*/ 136 w 674"/>
                <a:gd name="T39" fmla="*/ 27 h 425"/>
                <a:gd name="T40" fmla="*/ 80 w 674"/>
                <a:gd name="T41" fmla="*/ 0 h 425"/>
                <a:gd name="T42" fmla="*/ 68 w 674"/>
                <a:gd name="T43" fmla="*/ 4 h 425"/>
                <a:gd name="T44" fmla="*/ 34 w 674"/>
                <a:gd name="T45" fmla="*/ 4 h 425"/>
                <a:gd name="T46" fmla="*/ 38 w 674"/>
                <a:gd name="T47" fmla="*/ 13 h 425"/>
                <a:gd name="T48" fmla="*/ 54 w 674"/>
                <a:gd name="T49" fmla="*/ 17 h 425"/>
                <a:gd name="T50" fmla="*/ 36 w 674"/>
                <a:gd name="T51" fmla="*/ 27 h 425"/>
                <a:gd name="T52" fmla="*/ 36 w 674"/>
                <a:gd name="T53" fmla="*/ 38 h 425"/>
                <a:gd name="T54" fmla="*/ 46 w 674"/>
                <a:gd name="T55" fmla="*/ 50 h 425"/>
                <a:gd name="T56" fmla="*/ 59 w 674"/>
                <a:gd name="T57" fmla="*/ 76 h 425"/>
                <a:gd name="T58" fmla="*/ 50 w 674"/>
                <a:gd name="T59" fmla="*/ 80 h 425"/>
                <a:gd name="T60" fmla="*/ 7 w 674"/>
                <a:gd name="T61" fmla="*/ 95 h 425"/>
                <a:gd name="T62" fmla="*/ 5 w 674"/>
                <a:gd name="T63" fmla="*/ 106 h 425"/>
                <a:gd name="T64" fmla="*/ 14 w 674"/>
                <a:gd name="T65" fmla="*/ 121 h 4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74" h="425">
                  <a:moveTo>
                    <a:pt x="78" y="425"/>
                  </a:moveTo>
                  <a:lnTo>
                    <a:pt x="93" y="393"/>
                  </a:lnTo>
                  <a:lnTo>
                    <a:pt x="132" y="357"/>
                  </a:lnTo>
                  <a:lnTo>
                    <a:pt x="171" y="375"/>
                  </a:lnTo>
                  <a:lnTo>
                    <a:pt x="198" y="357"/>
                  </a:lnTo>
                  <a:lnTo>
                    <a:pt x="177" y="333"/>
                  </a:lnTo>
                  <a:lnTo>
                    <a:pt x="186" y="321"/>
                  </a:lnTo>
                  <a:lnTo>
                    <a:pt x="291" y="330"/>
                  </a:lnTo>
                  <a:lnTo>
                    <a:pt x="327" y="354"/>
                  </a:lnTo>
                  <a:lnTo>
                    <a:pt x="345" y="366"/>
                  </a:lnTo>
                  <a:lnTo>
                    <a:pt x="375" y="348"/>
                  </a:lnTo>
                  <a:lnTo>
                    <a:pt x="396" y="339"/>
                  </a:lnTo>
                  <a:lnTo>
                    <a:pt x="399" y="366"/>
                  </a:lnTo>
                  <a:lnTo>
                    <a:pt x="414" y="366"/>
                  </a:lnTo>
                  <a:lnTo>
                    <a:pt x="426" y="348"/>
                  </a:lnTo>
                  <a:lnTo>
                    <a:pt x="450" y="327"/>
                  </a:lnTo>
                  <a:lnTo>
                    <a:pt x="459" y="342"/>
                  </a:lnTo>
                  <a:lnTo>
                    <a:pt x="459" y="375"/>
                  </a:lnTo>
                  <a:lnTo>
                    <a:pt x="468" y="387"/>
                  </a:lnTo>
                  <a:lnTo>
                    <a:pt x="489" y="393"/>
                  </a:lnTo>
                  <a:lnTo>
                    <a:pt x="513" y="369"/>
                  </a:lnTo>
                  <a:lnTo>
                    <a:pt x="546" y="357"/>
                  </a:lnTo>
                  <a:lnTo>
                    <a:pt x="611" y="300"/>
                  </a:lnTo>
                  <a:lnTo>
                    <a:pt x="638" y="303"/>
                  </a:lnTo>
                  <a:lnTo>
                    <a:pt x="674" y="291"/>
                  </a:lnTo>
                  <a:lnTo>
                    <a:pt x="632" y="210"/>
                  </a:lnTo>
                  <a:lnTo>
                    <a:pt x="647" y="183"/>
                  </a:lnTo>
                  <a:lnTo>
                    <a:pt x="641" y="174"/>
                  </a:lnTo>
                  <a:lnTo>
                    <a:pt x="617" y="168"/>
                  </a:lnTo>
                  <a:lnTo>
                    <a:pt x="582" y="144"/>
                  </a:lnTo>
                  <a:lnTo>
                    <a:pt x="561" y="132"/>
                  </a:lnTo>
                  <a:lnTo>
                    <a:pt x="537" y="144"/>
                  </a:lnTo>
                  <a:lnTo>
                    <a:pt x="510" y="123"/>
                  </a:lnTo>
                  <a:lnTo>
                    <a:pt x="474" y="123"/>
                  </a:lnTo>
                  <a:lnTo>
                    <a:pt x="447" y="105"/>
                  </a:lnTo>
                  <a:lnTo>
                    <a:pt x="441" y="84"/>
                  </a:lnTo>
                  <a:lnTo>
                    <a:pt x="426" y="69"/>
                  </a:lnTo>
                  <a:lnTo>
                    <a:pt x="405" y="81"/>
                  </a:lnTo>
                  <a:lnTo>
                    <a:pt x="387" y="72"/>
                  </a:lnTo>
                  <a:lnTo>
                    <a:pt x="330" y="81"/>
                  </a:lnTo>
                  <a:lnTo>
                    <a:pt x="270" y="69"/>
                  </a:lnTo>
                  <a:lnTo>
                    <a:pt x="195" y="0"/>
                  </a:lnTo>
                  <a:lnTo>
                    <a:pt x="174" y="18"/>
                  </a:lnTo>
                  <a:lnTo>
                    <a:pt x="165" y="12"/>
                  </a:lnTo>
                  <a:lnTo>
                    <a:pt x="150" y="12"/>
                  </a:lnTo>
                  <a:lnTo>
                    <a:pt x="81" y="12"/>
                  </a:lnTo>
                  <a:lnTo>
                    <a:pt x="72" y="18"/>
                  </a:lnTo>
                  <a:lnTo>
                    <a:pt x="93" y="39"/>
                  </a:lnTo>
                  <a:lnTo>
                    <a:pt x="111" y="45"/>
                  </a:lnTo>
                  <a:lnTo>
                    <a:pt x="129" y="51"/>
                  </a:lnTo>
                  <a:lnTo>
                    <a:pt x="123" y="66"/>
                  </a:lnTo>
                  <a:lnTo>
                    <a:pt x="87" y="81"/>
                  </a:lnTo>
                  <a:lnTo>
                    <a:pt x="81" y="108"/>
                  </a:lnTo>
                  <a:lnTo>
                    <a:pt x="87" y="117"/>
                  </a:lnTo>
                  <a:lnTo>
                    <a:pt x="93" y="153"/>
                  </a:lnTo>
                  <a:lnTo>
                    <a:pt x="111" y="153"/>
                  </a:lnTo>
                  <a:lnTo>
                    <a:pt x="132" y="180"/>
                  </a:lnTo>
                  <a:lnTo>
                    <a:pt x="141" y="234"/>
                  </a:lnTo>
                  <a:lnTo>
                    <a:pt x="135" y="252"/>
                  </a:lnTo>
                  <a:lnTo>
                    <a:pt x="123" y="246"/>
                  </a:lnTo>
                  <a:lnTo>
                    <a:pt x="84" y="276"/>
                  </a:lnTo>
                  <a:lnTo>
                    <a:pt x="18" y="288"/>
                  </a:lnTo>
                  <a:lnTo>
                    <a:pt x="0" y="306"/>
                  </a:lnTo>
                  <a:lnTo>
                    <a:pt x="12" y="324"/>
                  </a:lnTo>
                  <a:lnTo>
                    <a:pt x="15" y="363"/>
                  </a:lnTo>
                  <a:lnTo>
                    <a:pt x="33" y="369"/>
                  </a:lnTo>
                  <a:lnTo>
                    <a:pt x="78" y="425"/>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5" name="Freeform 99"/>
            <p:cNvSpPr>
              <a:spLocks/>
            </p:cNvSpPr>
            <p:nvPr/>
          </p:nvSpPr>
          <p:spPr bwMode="auto">
            <a:xfrm>
              <a:off x="2911724" y="4022750"/>
              <a:ext cx="1524000" cy="1144587"/>
            </a:xfrm>
            <a:custGeom>
              <a:avLst/>
              <a:gdLst>
                <a:gd name="T0" fmla="*/ 175 w 1087"/>
                <a:gd name="T1" fmla="*/ 24 h 824"/>
                <a:gd name="T2" fmla="*/ 166 w 1087"/>
                <a:gd name="T3" fmla="*/ 8 h 824"/>
                <a:gd name="T4" fmla="*/ 195 w 1087"/>
                <a:gd name="T5" fmla="*/ 0 h 824"/>
                <a:gd name="T6" fmla="*/ 200 w 1087"/>
                <a:gd name="T7" fmla="*/ 15 h 824"/>
                <a:gd name="T8" fmla="*/ 226 w 1087"/>
                <a:gd name="T9" fmla="*/ 33 h 824"/>
                <a:gd name="T10" fmla="*/ 240 w 1087"/>
                <a:gd name="T11" fmla="*/ 33 h 824"/>
                <a:gd name="T12" fmla="*/ 250 w 1087"/>
                <a:gd name="T13" fmla="*/ 51 h 824"/>
                <a:gd name="T14" fmla="*/ 280 w 1087"/>
                <a:gd name="T15" fmla="*/ 49 h 824"/>
                <a:gd name="T16" fmla="*/ 290 w 1087"/>
                <a:gd name="T17" fmla="*/ 41 h 824"/>
                <a:gd name="T18" fmla="*/ 299 w 1087"/>
                <a:gd name="T19" fmla="*/ 49 h 824"/>
                <a:gd name="T20" fmla="*/ 331 w 1087"/>
                <a:gd name="T21" fmla="*/ 46 h 824"/>
                <a:gd name="T22" fmla="*/ 337 w 1087"/>
                <a:gd name="T23" fmla="*/ 51 h 824"/>
                <a:gd name="T24" fmla="*/ 367 w 1087"/>
                <a:gd name="T25" fmla="*/ 64 h 824"/>
                <a:gd name="T26" fmla="*/ 406 w 1087"/>
                <a:gd name="T27" fmla="*/ 67 h 824"/>
                <a:gd name="T28" fmla="*/ 425 w 1087"/>
                <a:gd name="T29" fmla="*/ 72 h 824"/>
                <a:gd name="T30" fmla="*/ 441 w 1087"/>
                <a:gd name="T31" fmla="*/ 80 h 824"/>
                <a:gd name="T32" fmla="*/ 443 w 1087"/>
                <a:gd name="T33" fmla="*/ 103 h 824"/>
                <a:gd name="T34" fmla="*/ 421 w 1087"/>
                <a:gd name="T35" fmla="*/ 111 h 824"/>
                <a:gd name="T36" fmla="*/ 386 w 1087"/>
                <a:gd name="T37" fmla="*/ 121 h 824"/>
                <a:gd name="T38" fmla="*/ 393 w 1087"/>
                <a:gd name="T39" fmla="*/ 140 h 824"/>
                <a:gd name="T40" fmla="*/ 419 w 1087"/>
                <a:gd name="T41" fmla="*/ 160 h 824"/>
                <a:gd name="T42" fmla="*/ 407 w 1087"/>
                <a:gd name="T43" fmla="*/ 192 h 824"/>
                <a:gd name="T44" fmla="*/ 386 w 1087"/>
                <a:gd name="T45" fmla="*/ 172 h 824"/>
                <a:gd name="T46" fmla="*/ 379 w 1087"/>
                <a:gd name="T47" fmla="*/ 163 h 824"/>
                <a:gd name="T48" fmla="*/ 356 w 1087"/>
                <a:gd name="T49" fmla="*/ 160 h 824"/>
                <a:gd name="T50" fmla="*/ 337 w 1087"/>
                <a:gd name="T51" fmla="*/ 173 h 824"/>
                <a:gd name="T52" fmla="*/ 323 w 1087"/>
                <a:gd name="T53" fmla="*/ 182 h 824"/>
                <a:gd name="T54" fmla="*/ 303 w 1087"/>
                <a:gd name="T55" fmla="*/ 179 h 824"/>
                <a:gd name="T56" fmla="*/ 290 w 1087"/>
                <a:gd name="T57" fmla="*/ 193 h 824"/>
                <a:gd name="T58" fmla="*/ 317 w 1087"/>
                <a:gd name="T59" fmla="*/ 208 h 824"/>
                <a:gd name="T60" fmla="*/ 280 w 1087"/>
                <a:gd name="T61" fmla="*/ 212 h 824"/>
                <a:gd name="T62" fmla="*/ 269 w 1087"/>
                <a:gd name="T63" fmla="*/ 202 h 824"/>
                <a:gd name="T64" fmla="*/ 245 w 1087"/>
                <a:gd name="T65" fmla="*/ 206 h 824"/>
                <a:gd name="T66" fmla="*/ 240 w 1087"/>
                <a:gd name="T67" fmla="*/ 191 h 824"/>
                <a:gd name="T68" fmla="*/ 228 w 1087"/>
                <a:gd name="T69" fmla="*/ 184 h 824"/>
                <a:gd name="T70" fmla="*/ 226 w 1087"/>
                <a:gd name="T71" fmla="*/ 193 h 824"/>
                <a:gd name="T72" fmla="*/ 211 w 1087"/>
                <a:gd name="T73" fmla="*/ 202 h 824"/>
                <a:gd name="T74" fmla="*/ 191 w 1087"/>
                <a:gd name="T75" fmla="*/ 231 h 824"/>
                <a:gd name="T76" fmla="*/ 183 w 1087"/>
                <a:gd name="T77" fmla="*/ 264 h 824"/>
                <a:gd name="T78" fmla="*/ 156 w 1087"/>
                <a:gd name="T79" fmla="*/ 269 h 824"/>
                <a:gd name="T80" fmla="*/ 115 w 1087"/>
                <a:gd name="T81" fmla="*/ 216 h 824"/>
                <a:gd name="T82" fmla="*/ 92 w 1087"/>
                <a:gd name="T83" fmla="*/ 207 h 824"/>
                <a:gd name="T84" fmla="*/ 93 w 1087"/>
                <a:gd name="T85" fmla="*/ 193 h 824"/>
                <a:gd name="T86" fmla="*/ 71 w 1087"/>
                <a:gd name="T87" fmla="*/ 193 h 824"/>
                <a:gd name="T88" fmla="*/ 54 w 1087"/>
                <a:gd name="T89" fmla="*/ 167 h 824"/>
                <a:gd name="T90" fmla="*/ 49 w 1087"/>
                <a:gd name="T91" fmla="*/ 118 h 824"/>
                <a:gd name="T92" fmla="*/ 48 w 1087"/>
                <a:gd name="T93" fmla="*/ 92 h 824"/>
                <a:gd name="T94" fmla="*/ 0 w 1087"/>
                <a:gd name="T95" fmla="*/ 46 h 824"/>
                <a:gd name="T96" fmla="*/ 7 w 1087"/>
                <a:gd name="T97" fmla="*/ 33 h 824"/>
                <a:gd name="T98" fmla="*/ 69 w 1087"/>
                <a:gd name="T99" fmla="*/ 33 h 824"/>
                <a:gd name="T100" fmla="*/ 91 w 1087"/>
                <a:gd name="T101" fmla="*/ 37 h 824"/>
                <a:gd name="T102" fmla="*/ 123 w 1087"/>
                <a:gd name="T103" fmla="*/ 51 h 824"/>
                <a:gd name="T104" fmla="*/ 127 w 1087"/>
                <a:gd name="T105" fmla="*/ 36 h 824"/>
                <a:gd name="T106" fmla="*/ 147 w 1087"/>
                <a:gd name="T107" fmla="*/ 38 h 824"/>
                <a:gd name="T108" fmla="*/ 167 w 1087"/>
                <a:gd name="T109" fmla="*/ 34 h 8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7" h="824">
                  <a:moveTo>
                    <a:pt x="410" y="102"/>
                  </a:moveTo>
                  <a:lnTo>
                    <a:pt x="425" y="72"/>
                  </a:lnTo>
                  <a:lnTo>
                    <a:pt x="410" y="54"/>
                  </a:lnTo>
                  <a:lnTo>
                    <a:pt x="407" y="24"/>
                  </a:lnTo>
                  <a:lnTo>
                    <a:pt x="464" y="0"/>
                  </a:lnTo>
                  <a:lnTo>
                    <a:pt x="476" y="0"/>
                  </a:lnTo>
                  <a:lnTo>
                    <a:pt x="485" y="21"/>
                  </a:lnTo>
                  <a:lnTo>
                    <a:pt x="488" y="48"/>
                  </a:lnTo>
                  <a:lnTo>
                    <a:pt x="515" y="66"/>
                  </a:lnTo>
                  <a:lnTo>
                    <a:pt x="551" y="102"/>
                  </a:lnTo>
                  <a:lnTo>
                    <a:pt x="572" y="90"/>
                  </a:lnTo>
                  <a:lnTo>
                    <a:pt x="587" y="102"/>
                  </a:lnTo>
                  <a:lnTo>
                    <a:pt x="590" y="138"/>
                  </a:lnTo>
                  <a:lnTo>
                    <a:pt x="614" y="156"/>
                  </a:lnTo>
                  <a:lnTo>
                    <a:pt x="674" y="159"/>
                  </a:lnTo>
                  <a:lnTo>
                    <a:pt x="683" y="150"/>
                  </a:lnTo>
                  <a:lnTo>
                    <a:pt x="680" y="132"/>
                  </a:lnTo>
                  <a:lnTo>
                    <a:pt x="713" y="123"/>
                  </a:lnTo>
                  <a:lnTo>
                    <a:pt x="731" y="129"/>
                  </a:lnTo>
                  <a:lnTo>
                    <a:pt x="734" y="150"/>
                  </a:lnTo>
                  <a:lnTo>
                    <a:pt x="749" y="150"/>
                  </a:lnTo>
                  <a:lnTo>
                    <a:pt x="808" y="138"/>
                  </a:lnTo>
                  <a:lnTo>
                    <a:pt x="820" y="144"/>
                  </a:lnTo>
                  <a:lnTo>
                    <a:pt x="823" y="159"/>
                  </a:lnTo>
                  <a:lnTo>
                    <a:pt x="847" y="168"/>
                  </a:lnTo>
                  <a:lnTo>
                    <a:pt x="898" y="192"/>
                  </a:lnTo>
                  <a:lnTo>
                    <a:pt x="928" y="180"/>
                  </a:lnTo>
                  <a:lnTo>
                    <a:pt x="994" y="204"/>
                  </a:lnTo>
                  <a:lnTo>
                    <a:pt x="1006" y="222"/>
                  </a:lnTo>
                  <a:lnTo>
                    <a:pt x="1039" y="216"/>
                  </a:lnTo>
                  <a:lnTo>
                    <a:pt x="1057" y="216"/>
                  </a:lnTo>
                  <a:lnTo>
                    <a:pt x="1078" y="243"/>
                  </a:lnTo>
                  <a:lnTo>
                    <a:pt x="1087" y="297"/>
                  </a:lnTo>
                  <a:lnTo>
                    <a:pt x="1081" y="315"/>
                  </a:lnTo>
                  <a:lnTo>
                    <a:pt x="1069" y="309"/>
                  </a:lnTo>
                  <a:lnTo>
                    <a:pt x="1030" y="339"/>
                  </a:lnTo>
                  <a:lnTo>
                    <a:pt x="964" y="351"/>
                  </a:lnTo>
                  <a:lnTo>
                    <a:pt x="946" y="369"/>
                  </a:lnTo>
                  <a:lnTo>
                    <a:pt x="958" y="387"/>
                  </a:lnTo>
                  <a:lnTo>
                    <a:pt x="961" y="426"/>
                  </a:lnTo>
                  <a:lnTo>
                    <a:pt x="979" y="432"/>
                  </a:lnTo>
                  <a:lnTo>
                    <a:pt x="1024" y="488"/>
                  </a:lnTo>
                  <a:lnTo>
                    <a:pt x="1027" y="563"/>
                  </a:lnTo>
                  <a:lnTo>
                    <a:pt x="997" y="584"/>
                  </a:lnTo>
                  <a:lnTo>
                    <a:pt x="970" y="557"/>
                  </a:lnTo>
                  <a:lnTo>
                    <a:pt x="946" y="524"/>
                  </a:lnTo>
                  <a:lnTo>
                    <a:pt x="943" y="503"/>
                  </a:lnTo>
                  <a:lnTo>
                    <a:pt x="925" y="497"/>
                  </a:lnTo>
                  <a:lnTo>
                    <a:pt x="904" y="506"/>
                  </a:lnTo>
                  <a:lnTo>
                    <a:pt x="871" y="488"/>
                  </a:lnTo>
                  <a:lnTo>
                    <a:pt x="853" y="527"/>
                  </a:lnTo>
                  <a:lnTo>
                    <a:pt x="823" y="530"/>
                  </a:lnTo>
                  <a:lnTo>
                    <a:pt x="802" y="563"/>
                  </a:lnTo>
                  <a:lnTo>
                    <a:pt x="791" y="554"/>
                  </a:lnTo>
                  <a:lnTo>
                    <a:pt x="770" y="563"/>
                  </a:lnTo>
                  <a:lnTo>
                    <a:pt x="740" y="545"/>
                  </a:lnTo>
                  <a:lnTo>
                    <a:pt x="713" y="572"/>
                  </a:lnTo>
                  <a:lnTo>
                    <a:pt x="713" y="587"/>
                  </a:lnTo>
                  <a:lnTo>
                    <a:pt x="764" y="614"/>
                  </a:lnTo>
                  <a:lnTo>
                    <a:pt x="776" y="635"/>
                  </a:lnTo>
                  <a:lnTo>
                    <a:pt x="740" y="647"/>
                  </a:lnTo>
                  <a:lnTo>
                    <a:pt x="683" y="647"/>
                  </a:lnTo>
                  <a:lnTo>
                    <a:pt x="677" y="623"/>
                  </a:lnTo>
                  <a:lnTo>
                    <a:pt x="656" y="617"/>
                  </a:lnTo>
                  <a:lnTo>
                    <a:pt x="623" y="635"/>
                  </a:lnTo>
                  <a:lnTo>
                    <a:pt x="599" y="626"/>
                  </a:lnTo>
                  <a:lnTo>
                    <a:pt x="599" y="596"/>
                  </a:lnTo>
                  <a:lnTo>
                    <a:pt x="587" y="581"/>
                  </a:lnTo>
                  <a:lnTo>
                    <a:pt x="587" y="566"/>
                  </a:lnTo>
                  <a:lnTo>
                    <a:pt x="554" y="560"/>
                  </a:lnTo>
                  <a:lnTo>
                    <a:pt x="545" y="569"/>
                  </a:lnTo>
                  <a:lnTo>
                    <a:pt x="551" y="590"/>
                  </a:lnTo>
                  <a:lnTo>
                    <a:pt x="524" y="602"/>
                  </a:lnTo>
                  <a:lnTo>
                    <a:pt x="518" y="617"/>
                  </a:lnTo>
                  <a:lnTo>
                    <a:pt x="524" y="638"/>
                  </a:lnTo>
                  <a:lnTo>
                    <a:pt x="467" y="704"/>
                  </a:lnTo>
                  <a:lnTo>
                    <a:pt x="476" y="782"/>
                  </a:lnTo>
                  <a:lnTo>
                    <a:pt x="449" y="806"/>
                  </a:lnTo>
                  <a:lnTo>
                    <a:pt x="437" y="791"/>
                  </a:lnTo>
                  <a:lnTo>
                    <a:pt x="383" y="824"/>
                  </a:lnTo>
                  <a:lnTo>
                    <a:pt x="362" y="812"/>
                  </a:lnTo>
                  <a:lnTo>
                    <a:pt x="281" y="659"/>
                  </a:lnTo>
                  <a:lnTo>
                    <a:pt x="251" y="635"/>
                  </a:lnTo>
                  <a:lnTo>
                    <a:pt x="224" y="629"/>
                  </a:lnTo>
                  <a:lnTo>
                    <a:pt x="212" y="608"/>
                  </a:lnTo>
                  <a:lnTo>
                    <a:pt x="227" y="587"/>
                  </a:lnTo>
                  <a:lnTo>
                    <a:pt x="206" y="569"/>
                  </a:lnTo>
                  <a:lnTo>
                    <a:pt x="176" y="590"/>
                  </a:lnTo>
                  <a:lnTo>
                    <a:pt x="149" y="596"/>
                  </a:lnTo>
                  <a:lnTo>
                    <a:pt x="131" y="512"/>
                  </a:lnTo>
                  <a:lnTo>
                    <a:pt x="128" y="494"/>
                  </a:lnTo>
                  <a:lnTo>
                    <a:pt x="122" y="363"/>
                  </a:lnTo>
                  <a:lnTo>
                    <a:pt x="98" y="297"/>
                  </a:lnTo>
                  <a:lnTo>
                    <a:pt x="116" y="282"/>
                  </a:lnTo>
                  <a:lnTo>
                    <a:pt x="65" y="186"/>
                  </a:lnTo>
                  <a:lnTo>
                    <a:pt x="0" y="138"/>
                  </a:lnTo>
                  <a:lnTo>
                    <a:pt x="9" y="108"/>
                  </a:lnTo>
                  <a:lnTo>
                    <a:pt x="18" y="99"/>
                  </a:lnTo>
                  <a:lnTo>
                    <a:pt x="110" y="84"/>
                  </a:lnTo>
                  <a:lnTo>
                    <a:pt x="170" y="102"/>
                  </a:lnTo>
                  <a:lnTo>
                    <a:pt x="206" y="93"/>
                  </a:lnTo>
                  <a:lnTo>
                    <a:pt x="221" y="114"/>
                  </a:lnTo>
                  <a:lnTo>
                    <a:pt x="266" y="159"/>
                  </a:lnTo>
                  <a:lnTo>
                    <a:pt x="302" y="153"/>
                  </a:lnTo>
                  <a:lnTo>
                    <a:pt x="302" y="126"/>
                  </a:lnTo>
                  <a:lnTo>
                    <a:pt x="311" y="108"/>
                  </a:lnTo>
                  <a:lnTo>
                    <a:pt x="347" y="93"/>
                  </a:lnTo>
                  <a:lnTo>
                    <a:pt x="362" y="117"/>
                  </a:lnTo>
                  <a:lnTo>
                    <a:pt x="383" y="102"/>
                  </a:lnTo>
                  <a:lnTo>
                    <a:pt x="410" y="105"/>
                  </a:lnTo>
                  <a:lnTo>
                    <a:pt x="410" y="10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6" name="Freeform 100"/>
            <p:cNvSpPr>
              <a:spLocks/>
            </p:cNvSpPr>
            <p:nvPr/>
          </p:nvSpPr>
          <p:spPr bwMode="auto">
            <a:xfrm>
              <a:off x="2911724" y="4022750"/>
              <a:ext cx="1524000" cy="1144587"/>
            </a:xfrm>
            <a:custGeom>
              <a:avLst/>
              <a:gdLst>
                <a:gd name="T0" fmla="*/ 175 w 1087"/>
                <a:gd name="T1" fmla="*/ 24 h 824"/>
                <a:gd name="T2" fmla="*/ 166 w 1087"/>
                <a:gd name="T3" fmla="*/ 8 h 824"/>
                <a:gd name="T4" fmla="*/ 195 w 1087"/>
                <a:gd name="T5" fmla="*/ 0 h 824"/>
                <a:gd name="T6" fmla="*/ 200 w 1087"/>
                <a:gd name="T7" fmla="*/ 15 h 824"/>
                <a:gd name="T8" fmla="*/ 226 w 1087"/>
                <a:gd name="T9" fmla="*/ 33 h 824"/>
                <a:gd name="T10" fmla="*/ 240 w 1087"/>
                <a:gd name="T11" fmla="*/ 33 h 824"/>
                <a:gd name="T12" fmla="*/ 250 w 1087"/>
                <a:gd name="T13" fmla="*/ 51 h 824"/>
                <a:gd name="T14" fmla="*/ 280 w 1087"/>
                <a:gd name="T15" fmla="*/ 49 h 824"/>
                <a:gd name="T16" fmla="*/ 290 w 1087"/>
                <a:gd name="T17" fmla="*/ 41 h 824"/>
                <a:gd name="T18" fmla="*/ 299 w 1087"/>
                <a:gd name="T19" fmla="*/ 49 h 824"/>
                <a:gd name="T20" fmla="*/ 331 w 1087"/>
                <a:gd name="T21" fmla="*/ 46 h 824"/>
                <a:gd name="T22" fmla="*/ 337 w 1087"/>
                <a:gd name="T23" fmla="*/ 51 h 824"/>
                <a:gd name="T24" fmla="*/ 367 w 1087"/>
                <a:gd name="T25" fmla="*/ 64 h 824"/>
                <a:gd name="T26" fmla="*/ 406 w 1087"/>
                <a:gd name="T27" fmla="*/ 67 h 824"/>
                <a:gd name="T28" fmla="*/ 425 w 1087"/>
                <a:gd name="T29" fmla="*/ 72 h 824"/>
                <a:gd name="T30" fmla="*/ 441 w 1087"/>
                <a:gd name="T31" fmla="*/ 80 h 824"/>
                <a:gd name="T32" fmla="*/ 443 w 1087"/>
                <a:gd name="T33" fmla="*/ 103 h 824"/>
                <a:gd name="T34" fmla="*/ 421 w 1087"/>
                <a:gd name="T35" fmla="*/ 111 h 824"/>
                <a:gd name="T36" fmla="*/ 386 w 1087"/>
                <a:gd name="T37" fmla="*/ 121 h 824"/>
                <a:gd name="T38" fmla="*/ 393 w 1087"/>
                <a:gd name="T39" fmla="*/ 140 h 824"/>
                <a:gd name="T40" fmla="*/ 419 w 1087"/>
                <a:gd name="T41" fmla="*/ 160 h 824"/>
                <a:gd name="T42" fmla="*/ 407 w 1087"/>
                <a:gd name="T43" fmla="*/ 192 h 824"/>
                <a:gd name="T44" fmla="*/ 386 w 1087"/>
                <a:gd name="T45" fmla="*/ 172 h 824"/>
                <a:gd name="T46" fmla="*/ 379 w 1087"/>
                <a:gd name="T47" fmla="*/ 163 h 824"/>
                <a:gd name="T48" fmla="*/ 356 w 1087"/>
                <a:gd name="T49" fmla="*/ 160 h 824"/>
                <a:gd name="T50" fmla="*/ 337 w 1087"/>
                <a:gd name="T51" fmla="*/ 173 h 824"/>
                <a:gd name="T52" fmla="*/ 323 w 1087"/>
                <a:gd name="T53" fmla="*/ 182 h 824"/>
                <a:gd name="T54" fmla="*/ 303 w 1087"/>
                <a:gd name="T55" fmla="*/ 179 h 824"/>
                <a:gd name="T56" fmla="*/ 290 w 1087"/>
                <a:gd name="T57" fmla="*/ 193 h 824"/>
                <a:gd name="T58" fmla="*/ 317 w 1087"/>
                <a:gd name="T59" fmla="*/ 208 h 824"/>
                <a:gd name="T60" fmla="*/ 280 w 1087"/>
                <a:gd name="T61" fmla="*/ 212 h 824"/>
                <a:gd name="T62" fmla="*/ 269 w 1087"/>
                <a:gd name="T63" fmla="*/ 202 h 824"/>
                <a:gd name="T64" fmla="*/ 245 w 1087"/>
                <a:gd name="T65" fmla="*/ 206 h 824"/>
                <a:gd name="T66" fmla="*/ 240 w 1087"/>
                <a:gd name="T67" fmla="*/ 191 h 824"/>
                <a:gd name="T68" fmla="*/ 228 w 1087"/>
                <a:gd name="T69" fmla="*/ 184 h 824"/>
                <a:gd name="T70" fmla="*/ 226 w 1087"/>
                <a:gd name="T71" fmla="*/ 193 h 824"/>
                <a:gd name="T72" fmla="*/ 211 w 1087"/>
                <a:gd name="T73" fmla="*/ 202 h 824"/>
                <a:gd name="T74" fmla="*/ 191 w 1087"/>
                <a:gd name="T75" fmla="*/ 231 h 824"/>
                <a:gd name="T76" fmla="*/ 183 w 1087"/>
                <a:gd name="T77" fmla="*/ 264 h 824"/>
                <a:gd name="T78" fmla="*/ 156 w 1087"/>
                <a:gd name="T79" fmla="*/ 269 h 824"/>
                <a:gd name="T80" fmla="*/ 115 w 1087"/>
                <a:gd name="T81" fmla="*/ 216 h 824"/>
                <a:gd name="T82" fmla="*/ 92 w 1087"/>
                <a:gd name="T83" fmla="*/ 207 h 824"/>
                <a:gd name="T84" fmla="*/ 93 w 1087"/>
                <a:gd name="T85" fmla="*/ 193 h 824"/>
                <a:gd name="T86" fmla="*/ 71 w 1087"/>
                <a:gd name="T87" fmla="*/ 193 h 824"/>
                <a:gd name="T88" fmla="*/ 54 w 1087"/>
                <a:gd name="T89" fmla="*/ 167 h 824"/>
                <a:gd name="T90" fmla="*/ 49 w 1087"/>
                <a:gd name="T91" fmla="*/ 118 h 824"/>
                <a:gd name="T92" fmla="*/ 48 w 1087"/>
                <a:gd name="T93" fmla="*/ 92 h 824"/>
                <a:gd name="T94" fmla="*/ 0 w 1087"/>
                <a:gd name="T95" fmla="*/ 46 h 824"/>
                <a:gd name="T96" fmla="*/ 7 w 1087"/>
                <a:gd name="T97" fmla="*/ 33 h 824"/>
                <a:gd name="T98" fmla="*/ 69 w 1087"/>
                <a:gd name="T99" fmla="*/ 33 h 824"/>
                <a:gd name="T100" fmla="*/ 91 w 1087"/>
                <a:gd name="T101" fmla="*/ 37 h 824"/>
                <a:gd name="T102" fmla="*/ 123 w 1087"/>
                <a:gd name="T103" fmla="*/ 51 h 824"/>
                <a:gd name="T104" fmla="*/ 127 w 1087"/>
                <a:gd name="T105" fmla="*/ 36 h 824"/>
                <a:gd name="T106" fmla="*/ 147 w 1087"/>
                <a:gd name="T107" fmla="*/ 38 h 824"/>
                <a:gd name="T108" fmla="*/ 167 w 1087"/>
                <a:gd name="T109" fmla="*/ 34 h 8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7" h="824">
                  <a:moveTo>
                    <a:pt x="410" y="102"/>
                  </a:moveTo>
                  <a:lnTo>
                    <a:pt x="425" y="72"/>
                  </a:lnTo>
                  <a:lnTo>
                    <a:pt x="410" y="54"/>
                  </a:lnTo>
                  <a:lnTo>
                    <a:pt x="407" y="24"/>
                  </a:lnTo>
                  <a:lnTo>
                    <a:pt x="464" y="0"/>
                  </a:lnTo>
                  <a:lnTo>
                    <a:pt x="476" y="0"/>
                  </a:lnTo>
                  <a:lnTo>
                    <a:pt x="485" y="21"/>
                  </a:lnTo>
                  <a:lnTo>
                    <a:pt x="488" y="48"/>
                  </a:lnTo>
                  <a:lnTo>
                    <a:pt x="515" y="66"/>
                  </a:lnTo>
                  <a:lnTo>
                    <a:pt x="551" y="102"/>
                  </a:lnTo>
                  <a:lnTo>
                    <a:pt x="572" y="90"/>
                  </a:lnTo>
                  <a:lnTo>
                    <a:pt x="587" y="102"/>
                  </a:lnTo>
                  <a:lnTo>
                    <a:pt x="590" y="138"/>
                  </a:lnTo>
                  <a:lnTo>
                    <a:pt x="614" y="156"/>
                  </a:lnTo>
                  <a:lnTo>
                    <a:pt x="674" y="159"/>
                  </a:lnTo>
                  <a:lnTo>
                    <a:pt x="683" y="150"/>
                  </a:lnTo>
                  <a:lnTo>
                    <a:pt x="680" y="132"/>
                  </a:lnTo>
                  <a:lnTo>
                    <a:pt x="713" y="123"/>
                  </a:lnTo>
                  <a:lnTo>
                    <a:pt x="731" y="129"/>
                  </a:lnTo>
                  <a:lnTo>
                    <a:pt x="734" y="150"/>
                  </a:lnTo>
                  <a:lnTo>
                    <a:pt x="749" y="150"/>
                  </a:lnTo>
                  <a:lnTo>
                    <a:pt x="808" y="138"/>
                  </a:lnTo>
                  <a:lnTo>
                    <a:pt x="820" y="144"/>
                  </a:lnTo>
                  <a:lnTo>
                    <a:pt x="823" y="159"/>
                  </a:lnTo>
                  <a:lnTo>
                    <a:pt x="847" y="168"/>
                  </a:lnTo>
                  <a:lnTo>
                    <a:pt x="898" y="192"/>
                  </a:lnTo>
                  <a:lnTo>
                    <a:pt x="928" y="180"/>
                  </a:lnTo>
                  <a:lnTo>
                    <a:pt x="994" y="204"/>
                  </a:lnTo>
                  <a:lnTo>
                    <a:pt x="1006" y="222"/>
                  </a:lnTo>
                  <a:lnTo>
                    <a:pt x="1039" y="216"/>
                  </a:lnTo>
                  <a:lnTo>
                    <a:pt x="1057" y="216"/>
                  </a:lnTo>
                  <a:lnTo>
                    <a:pt x="1078" y="243"/>
                  </a:lnTo>
                  <a:lnTo>
                    <a:pt x="1087" y="297"/>
                  </a:lnTo>
                  <a:lnTo>
                    <a:pt x="1081" y="315"/>
                  </a:lnTo>
                  <a:lnTo>
                    <a:pt x="1069" y="309"/>
                  </a:lnTo>
                  <a:lnTo>
                    <a:pt x="1030" y="339"/>
                  </a:lnTo>
                  <a:lnTo>
                    <a:pt x="964" y="351"/>
                  </a:lnTo>
                  <a:lnTo>
                    <a:pt x="946" y="369"/>
                  </a:lnTo>
                  <a:lnTo>
                    <a:pt x="958" y="387"/>
                  </a:lnTo>
                  <a:lnTo>
                    <a:pt x="961" y="426"/>
                  </a:lnTo>
                  <a:lnTo>
                    <a:pt x="979" y="432"/>
                  </a:lnTo>
                  <a:lnTo>
                    <a:pt x="1024" y="488"/>
                  </a:lnTo>
                  <a:lnTo>
                    <a:pt x="1027" y="563"/>
                  </a:lnTo>
                  <a:lnTo>
                    <a:pt x="997" y="584"/>
                  </a:lnTo>
                  <a:lnTo>
                    <a:pt x="970" y="557"/>
                  </a:lnTo>
                  <a:lnTo>
                    <a:pt x="946" y="524"/>
                  </a:lnTo>
                  <a:lnTo>
                    <a:pt x="943" y="503"/>
                  </a:lnTo>
                  <a:lnTo>
                    <a:pt x="925" y="497"/>
                  </a:lnTo>
                  <a:lnTo>
                    <a:pt x="904" y="506"/>
                  </a:lnTo>
                  <a:lnTo>
                    <a:pt x="871" y="488"/>
                  </a:lnTo>
                  <a:lnTo>
                    <a:pt x="853" y="527"/>
                  </a:lnTo>
                  <a:lnTo>
                    <a:pt x="823" y="530"/>
                  </a:lnTo>
                  <a:lnTo>
                    <a:pt x="802" y="563"/>
                  </a:lnTo>
                  <a:lnTo>
                    <a:pt x="791" y="554"/>
                  </a:lnTo>
                  <a:lnTo>
                    <a:pt x="770" y="563"/>
                  </a:lnTo>
                  <a:lnTo>
                    <a:pt x="740" y="545"/>
                  </a:lnTo>
                  <a:lnTo>
                    <a:pt x="713" y="572"/>
                  </a:lnTo>
                  <a:lnTo>
                    <a:pt x="713" y="587"/>
                  </a:lnTo>
                  <a:lnTo>
                    <a:pt x="764" y="614"/>
                  </a:lnTo>
                  <a:lnTo>
                    <a:pt x="776" y="635"/>
                  </a:lnTo>
                  <a:lnTo>
                    <a:pt x="740" y="647"/>
                  </a:lnTo>
                  <a:lnTo>
                    <a:pt x="683" y="647"/>
                  </a:lnTo>
                  <a:lnTo>
                    <a:pt x="677" y="623"/>
                  </a:lnTo>
                  <a:lnTo>
                    <a:pt x="656" y="617"/>
                  </a:lnTo>
                  <a:lnTo>
                    <a:pt x="623" y="635"/>
                  </a:lnTo>
                  <a:lnTo>
                    <a:pt x="599" y="626"/>
                  </a:lnTo>
                  <a:lnTo>
                    <a:pt x="599" y="596"/>
                  </a:lnTo>
                  <a:lnTo>
                    <a:pt x="587" y="581"/>
                  </a:lnTo>
                  <a:lnTo>
                    <a:pt x="587" y="566"/>
                  </a:lnTo>
                  <a:lnTo>
                    <a:pt x="554" y="560"/>
                  </a:lnTo>
                  <a:lnTo>
                    <a:pt x="545" y="569"/>
                  </a:lnTo>
                  <a:lnTo>
                    <a:pt x="551" y="590"/>
                  </a:lnTo>
                  <a:lnTo>
                    <a:pt x="524" y="602"/>
                  </a:lnTo>
                  <a:lnTo>
                    <a:pt x="518" y="617"/>
                  </a:lnTo>
                  <a:lnTo>
                    <a:pt x="524" y="638"/>
                  </a:lnTo>
                  <a:lnTo>
                    <a:pt x="467" y="704"/>
                  </a:lnTo>
                  <a:lnTo>
                    <a:pt x="476" y="782"/>
                  </a:lnTo>
                  <a:lnTo>
                    <a:pt x="449" y="806"/>
                  </a:lnTo>
                  <a:lnTo>
                    <a:pt x="437" y="791"/>
                  </a:lnTo>
                  <a:lnTo>
                    <a:pt x="383" y="824"/>
                  </a:lnTo>
                  <a:lnTo>
                    <a:pt x="362" y="812"/>
                  </a:lnTo>
                  <a:lnTo>
                    <a:pt x="281" y="659"/>
                  </a:lnTo>
                  <a:lnTo>
                    <a:pt x="251" y="635"/>
                  </a:lnTo>
                  <a:lnTo>
                    <a:pt x="224" y="629"/>
                  </a:lnTo>
                  <a:lnTo>
                    <a:pt x="212" y="608"/>
                  </a:lnTo>
                  <a:lnTo>
                    <a:pt x="227" y="587"/>
                  </a:lnTo>
                  <a:lnTo>
                    <a:pt x="206" y="569"/>
                  </a:lnTo>
                  <a:lnTo>
                    <a:pt x="176" y="590"/>
                  </a:lnTo>
                  <a:lnTo>
                    <a:pt x="149" y="596"/>
                  </a:lnTo>
                  <a:lnTo>
                    <a:pt x="131" y="512"/>
                  </a:lnTo>
                  <a:lnTo>
                    <a:pt x="128" y="494"/>
                  </a:lnTo>
                  <a:lnTo>
                    <a:pt x="122" y="363"/>
                  </a:lnTo>
                  <a:lnTo>
                    <a:pt x="98" y="297"/>
                  </a:lnTo>
                  <a:lnTo>
                    <a:pt x="116" y="282"/>
                  </a:lnTo>
                  <a:lnTo>
                    <a:pt x="65" y="186"/>
                  </a:lnTo>
                  <a:lnTo>
                    <a:pt x="0" y="138"/>
                  </a:lnTo>
                  <a:lnTo>
                    <a:pt x="9" y="108"/>
                  </a:lnTo>
                  <a:lnTo>
                    <a:pt x="18" y="99"/>
                  </a:lnTo>
                  <a:lnTo>
                    <a:pt x="110" y="84"/>
                  </a:lnTo>
                  <a:lnTo>
                    <a:pt x="170" y="102"/>
                  </a:lnTo>
                  <a:lnTo>
                    <a:pt x="206" y="93"/>
                  </a:lnTo>
                  <a:lnTo>
                    <a:pt x="221" y="114"/>
                  </a:lnTo>
                  <a:lnTo>
                    <a:pt x="266" y="159"/>
                  </a:lnTo>
                  <a:lnTo>
                    <a:pt x="302" y="153"/>
                  </a:lnTo>
                  <a:lnTo>
                    <a:pt x="302" y="126"/>
                  </a:lnTo>
                  <a:lnTo>
                    <a:pt x="311" y="108"/>
                  </a:lnTo>
                  <a:lnTo>
                    <a:pt x="347" y="93"/>
                  </a:lnTo>
                  <a:lnTo>
                    <a:pt x="362" y="117"/>
                  </a:lnTo>
                  <a:lnTo>
                    <a:pt x="383" y="102"/>
                  </a:lnTo>
                  <a:lnTo>
                    <a:pt x="410" y="105"/>
                  </a:lnTo>
                  <a:lnTo>
                    <a:pt x="410" y="102"/>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7" name="Freeform 101"/>
            <p:cNvSpPr>
              <a:spLocks/>
            </p:cNvSpPr>
            <p:nvPr/>
          </p:nvSpPr>
          <p:spPr bwMode="auto">
            <a:xfrm>
              <a:off x="687636" y="3590950"/>
              <a:ext cx="2403475" cy="1289050"/>
            </a:xfrm>
            <a:custGeom>
              <a:avLst/>
              <a:gdLst>
                <a:gd name="T0" fmla="*/ 427 w 1713"/>
                <a:gd name="T1" fmla="*/ 290 h 928"/>
                <a:gd name="T2" fmla="*/ 439 w 1713"/>
                <a:gd name="T3" fmla="*/ 301 h 928"/>
                <a:gd name="T4" fmla="*/ 475 w 1713"/>
                <a:gd name="T5" fmla="*/ 290 h 928"/>
                <a:gd name="T6" fmla="*/ 497 w 1713"/>
                <a:gd name="T7" fmla="*/ 276 h 928"/>
                <a:gd name="T8" fmla="*/ 524 w 1713"/>
                <a:gd name="T9" fmla="*/ 269 h 928"/>
                <a:gd name="T10" fmla="*/ 553 w 1713"/>
                <a:gd name="T11" fmla="*/ 262 h 928"/>
                <a:gd name="T12" fmla="*/ 597 w 1713"/>
                <a:gd name="T13" fmla="*/ 254 h 928"/>
                <a:gd name="T14" fmla="*/ 598 w 1713"/>
                <a:gd name="T15" fmla="*/ 269 h 928"/>
                <a:gd name="T16" fmla="*/ 613 w 1713"/>
                <a:gd name="T17" fmla="*/ 270 h 928"/>
                <a:gd name="T18" fmla="*/ 604 w 1713"/>
                <a:gd name="T19" fmla="*/ 288 h 928"/>
                <a:gd name="T20" fmla="*/ 613 w 1713"/>
                <a:gd name="T21" fmla="*/ 290 h 928"/>
                <a:gd name="T22" fmla="*/ 651 w 1713"/>
                <a:gd name="T23" fmla="*/ 288 h 928"/>
                <a:gd name="T24" fmla="*/ 675 w 1713"/>
                <a:gd name="T25" fmla="*/ 294 h 928"/>
                <a:gd name="T26" fmla="*/ 684 w 1713"/>
                <a:gd name="T27" fmla="*/ 299 h 928"/>
                <a:gd name="T28" fmla="*/ 687 w 1713"/>
                <a:gd name="T29" fmla="*/ 276 h 928"/>
                <a:gd name="T30" fmla="*/ 703 w 1713"/>
                <a:gd name="T31" fmla="*/ 263 h 928"/>
                <a:gd name="T32" fmla="*/ 692 w 1713"/>
                <a:gd name="T33" fmla="*/ 200 h 928"/>
                <a:gd name="T34" fmla="*/ 677 w 1713"/>
                <a:gd name="T35" fmla="*/ 163 h 928"/>
                <a:gd name="T36" fmla="*/ 643 w 1713"/>
                <a:gd name="T37" fmla="*/ 150 h 928"/>
                <a:gd name="T38" fmla="*/ 622 w 1713"/>
                <a:gd name="T39" fmla="*/ 184 h 928"/>
                <a:gd name="T40" fmla="*/ 582 w 1713"/>
                <a:gd name="T41" fmla="*/ 166 h 928"/>
                <a:gd name="T42" fmla="*/ 506 w 1713"/>
                <a:gd name="T43" fmla="*/ 146 h 928"/>
                <a:gd name="T44" fmla="*/ 477 w 1713"/>
                <a:gd name="T45" fmla="*/ 140 h 928"/>
                <a:gd name="T46" fmla="*/ 417 w 1713"/>
                <a:gd name="T47" fmla="*/ 120 h 928"/>
                <a:gd name="T48" fmla="*/ 388 w 1713"/>
                <a:gd name="T49" fmla="*/ 64 h 928"/>
                <a:gd name="T50" fmla="*/ 400 w 1713"/>
                <a:gd name="T51" fmla="*/ 48 h 928"/>
                <a:gd name="T52" fmla="*/ 398 w 1713"/>
                <a:gd name="T53" fmla="*/ 24 h 928"/>
                <a:gd name="T54" fmla="*/ 402 w 1713"/>
                <a:gd name="T55" fmla="*/ 13 h 928"/>
                <a:gd name="T56" fmla="*/ 349 w 1713"/>
                <a:gd name="T57" fmla="*/ 0 h 928"/>
                <a:gd name="T58" fmla="*/ 312 w 1713"/>
                <a:gd name="T59" fmla="*/ 4 h 928"/>
                <a:gd name="T60" fmla="*/ 265 w 1713"/>
                <a:gd name="T61" fmla="*/ 17 h 928"/>
                <a:gd name="T62" fmla="*/ 219 w 1713"/>
                <a:gd name="T63" fmla="*/ 21 h 928"/>
                <a:gd name="T64" fmla="*/ 187 w 1713"/>
                <a:gd name="T65" fmla="*/ 8 h 928"/>
                <a:gd name="T66" fmla="*/ 135 w 1713"/>
                <a:gd name="T67" fmla="*/ 15 h 928"/>
                <a:gd name="T68" fmla="*/ 115 w 1713"/>
                <a:gd name="T69" fmla="*/ 6 h 928"/>
                <a:gd name="T70" fmla="*/ 76 w 1713"/>
                <a:gd name="T71" fmla="*/ 10 h 928"/>
                <a:gd name="T72" fmla="*/ 59 w 1713"/>
                <a:gd name="T73" fmla="*/ 30 h 928"/>
                <a:gd name="T74" fmla="*/ 47 w 1713"/>
                <a:gd name="T75" fmla="*/ 39 h 928"/>
                <a:gd name="T76" fmla="*/ 35 w 1713"/>
                <a:gd name="T77" fmla="*/ 46 h 928"/>
                <a:gd name="T78" fmla="*/ 28 w 1713"/>
                <a:gd name="T79" fmla="*/ 52 h 928"/>
                <a:gd name="T80" fmla="*/ 38 w 1713"/>
                <a:gd name="T81" fmla="*/ 71 h 928"/>
                <a:gd name="T82" fmla="*/ 36 w 1713"/>
                <a:gd name="T83" fmla="*/ 89 h 928"/>
                <a:gd name="T84" fmla="*/ 12 w 1713"/>
                <a:gd name="T85" fmla="*/ 81 h 928"/>
                <a:gd name="T86" fmla="*/ 0 w 1713"/>
                <a:gd name="T87" fmla="*/ 89 h 928"/>
                <a:gd name="T88" fmla="*/ 5 w 1713"/>
                <a:gd name="T89" fmla="*/ 105 h 928"/>
                <a:gd name="T90" fmla="*/ 5 w 1713"/>
                <a:gd name="T91" fmla="*/ 120 h 928"/>
                <a:gd name="T92" fmla="*/ 16 w 1713"/>
                <a:gd name="T93" fmla="*/ 126 h 928"/>
                <a:gd name="T94" fmla="*/ 47 w 1713"/>
                <a:gd name="T95" fmla="*/ 149 h 928"/>
                <a:gd name="T96" fmla="*/ 65 w 1713"/>
                <a:gd name="T97" fmla="*/ 172 h 928"/>
                <a:gd name="T98" fmla="*/ 78 w 1713"/>
                <a:gd name="T99" fmla="*/ 179 h 928"/>
                <a:gd name="T100" fmla="*/ 100 w 1713"/>
                <a:gd name="T101" fmla="*/ 178 h 928"/>
                <a:gd name="T102" fmla="*/ 150 w 1713"/>
                <a:gd name="T103" fmla="*/ 222 h 928"/>
                <a:gd name="T104" fmla="*/ 165 w 1713"/>
                <a:gd name="T105" fmla="*/ 216 h 928"/>
                <a:gd name="T106" fmla="*/ 168 w 1713"/>
                <a:gd name="T107" fmla="*/ 233 h 928"/>
                <a:gd name="T108" fmla="*/ 199 w 1713"/>
                <a:gd name="T109" fmla="*/ 246 h 928"/>
                <a:gd name="T110" fmla="*/ 224 w 1713"/>
                <a:gd name="T111" fmla="*/ 265 h 928"/>
                <a:gd name="T112" fmla="*/ 230 w 1713"/>
                <a:gd name="T113" fmla="*/ 275 h 928"/>
                <a:gd name="T114" fmla="*/ 258 w 1713"/>
                <a:gd name="T115" fmla="*/ 275 h 928"/>
                <a:gd name="T116" fmla="*/ 308 w 1713"/>
                <a:gd name="T117" fmla="*/ 281 h 928"/>
                <a:gd name="T118" fmla="*/ 329 w 1713"/>
                <a:gd name="T119" fmla="*/ 286 h 928"/>
                <a:gd name="T120" fmla="*/ 329 w 1713"/>
                <a:gd name="T121" fmla="*/ 304 h 928"/>
                <a:gd name="T122" fmla="*/ 372 w 1713"/>
                <a:gd name="T123" fmla="*/ 277 h 928"/>
                <a:gd name="T124" fmla="*/ 406 w 1713"/>
                <a:gd name="T125" fmla="*/ 288 h 9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713" h="928">
                  <a:moveTo>
                    <a:pt x="988" y="880"/>
                  </a:moveTo>
                  <a:lnTo>
                    <a:pt x="1042" y="886"/>
                  </a:lnTo>
                  <a:lnTo>
                    <a:pt x="1060" y="910"/>
                  </a:lnTo>
                  <a:lnTo>
                    <a:pt x="1069" y="916"/>
                  </a:lnTo>
                  <a:lnTo>
                    <a:pt x="1150" y="901"/>
                  </a:lnTo>
                  <a:lnTo>
                    <a:pt x="1156" y="886"/>
                  </a:lnTo>
                  <a:lnTo>
                    <a:pt x="1171" y="877"/>
                  </a:lnTo>
                  <a:lnTo>
                    <a:pt x="1210" y="844"/>
                  </a:lnTo>
                  <a:lnTo>
                    <a:pt x="1246" y="841"/>
                  </a:lnTo>
                  <a:lnTo>
                    <a:pt x="1276" y="820"/>
                  </a:lnTo>
                  <a:lnTo>
                    <a:pt x="1339" y="788"/>
                  </a:lnTo>
                  <a:lnTo>
                    <a:pt x="1345" y="799"/>
                  </a:lnTo>
                  <a:lnTo>
                    <a:pt x="1390" y="814"/>
                  </a:lnTo>
                  <a:lnTo>
                    <a:pt x="1456" y="779"/>
                  </a:lnTo>
                  <a:lnTo>
                    <a:pt x="1477" y="794"/>
                  </a:lnTo>
                  <a:lnTo>
                    <a:pt x="1459" y="820"/>
                  </a:lnTo>
                  <a:lnTo>
                    <a:pt x="1465" y="826"/>
                  </a:lnTo>
                  <a:lnTo>
                    <a:pt x="1492" y="826"/>
                  </a:lnTo>
                  <a:lnTo>
                    <a:pt x="1495" y="838"/>
                  </a:lnTo>
                  <a:lnTo>
                    <a:pt x="1471" y="880"/>
                  </a:lnTo>
                  <a:lnTo>
                    <a:pt x="1480" y="886"/>
                  </a:lnTo>
                  <a:lnTo>
                    <a:pt x="1492" y="886"/>
                  </a:lnTo>
                  <a:lnTo>
                    <a:pt x="1558" y="904"/>
                  </a:lnTo>
                  <a:lnTo>
                    <a:pt x="1588" y="880"/>
                  </a:lnTo>
                  <a:lnTo>
                    <a:pt x="1630" y="913"/>
                  </a:lnTo>
                  <a:lnTo>
                    <a:pt x="1644" y="898"/>
                  </a:lnTo>
                  <a:lnTo>
                    <a:pt x="1656" y="910"/>
                  </a:lnTo>
                  <a:lnTo>
                    <a:pt x="1668" y="910"/>
                  </a:lnTo>
                  <a:lnTo>
                    <a:pt x="1677" y="898"/>
                  </a:lnTo>
                  <a:lnTo>
                    <a:pt x="1674" y="844"/>
                  </a:lnTo>
                  <a:lnTo>
                    <a:pt x="1683" y="838"/>
                  </a:lnTo>
                  <a:lnTo>
                    <a:pt x="1713" y="805"/>
                  </a:lnTo>
                  <a:lnTo>
                    <a:pt x="1707" y="674"/>
                  </a:lnTo>
                  <a:lnTo>
                    <a:pt x="1683" y="608"/>
                  </a:lnTo>
                  <a:lnTo>
                    <a:pt x="1701" y="593"/>
                  </a:lnTo>
                  <a:lnTo>
                    <a:pt x="1650" y="497"/>
                  </a:lnTo>
                  <a:lnTo>
                    <a:pt x="1585" y="449"/>
                  </a:lnTo>
                  <a:lnTo>
                    <a:pt x="1567" y="461"/>
                  </a:lnTo>
                  <a:lnTo>
                    <a:pt x="1570" y="488"/>
                  </a:lnTo>
                  <a:lnTo>
                    <a:pt x="1516" y="560"/>
                  </a:lnTo>
                  <a:lnTo>
                    <a:pt x="1423" y="542"/>
                  </a:lnTo>
                  <a:lnTo>
                    <a:pt x="1417" y="506"/>
                  </a:lnTo>
                  <a:lnTo>
                    <a:pt x="1360" y="461"/>
                  </a:lnTo>
                  <a:lnTo>
                    <a:pt x="1234" y="443"/>
                  </a:lnTo>
                  <a:lnTo>
                    <a:pt x="1180" y="431"/>
                  </a:lnTo>
                  <a:lnTo>
                    <a:pt x="1162" y="431"/>
                  </a:lnTo>
                  <a:lnTo>
                    <a:pt x="1114" y="392"/>
                  </a:lnTo>
                  <a:lnTo>
                    <a:pt x="1015" y="368"/>
                  </a:lnTo>
                  <a:lnTo>
                    <a:pt x="946" y="236"/>
                  </a:lnTo>
                  <a:lnTo>
                    <a:pt x="946" y="200"/>
                  </a:lnTo>
                  <a:lnTo>
                    <a:pt x="973" y="188"/>
                  </a:lnTo>
                  <a:lnTo>
                    <a:pt x="973" y="146"/>
                  </a:lnTo>
                  <a:lnTo>
                    <a:pt x="991" y="95"/>
                  </a:lnTo>
                  <a:lnTo>
                    <a:pt x="970" y="74"/>
                  </a:lnTo>
                  <a:lnTo>
                    <a:pt x="1000" y="48"/>
                  </a:lnTo>
                  <a:lnTo>
                    <a:pt x="982" y="39"/>
                  </a:lnTo>
                  <a:lnTo>
                    <a:pt x="934" y="39"/>
                  </a:lnTo>
                  <a:lnTo>
                    <a:pt x="854" y="0"/>
                  </a:lnTo>
                  <a:lnTo>
                    <a:pt x="803" y="0"/>
                  </a:lnTo>
                  <a:lnTo>
                    <a:pt x="761" y="12"/>
                  </a:lnTo>
                  <a:lnTo>
                    <a:pt x="716" y="12"/>
                  </a:lnTo>
                  <a:lnTo>
                    <a:pt x="644" y="51"/>
                  </a:lnTo>
                  <a:lnTo>
                    <a:pt x="587" y="45"/>
                  </a:lnTo>
                  <a:lnTo>
                    <a:pt x="533" y="65"/>
                  </a:lnTo>
                  <a:lnTo>
                    <a:pt x="485" y="48"/>
                  </a:lnTo>
                  <a:lnTo>
                    <a:pt x="455" y="24"/>
                  </a:lnTo>
                  <a:lnTo>
                    <a:pt x="380" y="12"/>
                  </a:lnTo>
                  <a:lnTo>
                    <a:pt x="329" y="48"/>
                  </a:lnTo>
                  <a:lnTo>
                    <a:pt x="302" y="36"/>
                  </a:lnTo>
                  <a:lnTo>
                    <a:pt x="281" y="18"/>
                  </a:lnTo>
                  <a:lnTo>
                    <a:pt x="224" y="3"/>
                  </a:lnTo>
                  <a:lnTo>
                    <a:pt x="185" y="30"/>
                  </a:lnTo>
                  <a:lnTo>
                    <a:pt x="170" y="71"/>
                  </a:lnTo>
                  <a:lnTo>
                    <a:pt x="141" y="89"/>
                  </a:lnTo>
                  <a:lnTo>
                    <a:pt x="135" y="113"/>
                  </a:lnTo>
                  <a:lnTo>
                    <a:pt x="114" y="119"/>
                  </a:lnTo>
                  <a:lnTo>
                    <a:pt x="93" y="119"/>
                  </a:lnTo>
                  <a:lnTo>
                    <a:pt x="84" y="137"/>
                  </a:lnTo>
                  <a:lnTo>
                    <a:pt x="78" y="161"/>
                  </a:lnTo>
                  <a:lnTo>
                    <a:pt x="69" y="161"/>
                  </a:lnTo>
                  <a:lnTo>
                    <a:pt x="66" y="188"/>
                  </a:lnTo>
                  <a:lnTo>
                    <a:pt x="93" y="215"/>
                  </a:lnTo>
                  <a:lnTo>
                    <a:pt x="96" y="254"/>
                  </a:lnTo>
                  <a:lnTo>
                    <a:pt x="87" y="269"/>
                  </a:lnTo>
                  <a:lnTo>
                    <a:pt x="48" y="272"/>
                  </a:lnTo>
                  <a:lnTo>
                    <a:pt x="27" y="251"/>
                  </a:lnTo>
                  <a:lnTo>
                    <a:pt x="6" y="254"/>
                  </a:lnTo>
                  <a:lnTo>
                    <a:pt x="0" y="272"/>
                  </a:lnTo>
                  <a:lnTo>
                    <a:pt x="12" y="299"/>
                  </a:lnTo>
                  <a:lnTo>
                    <a:pt x="15" y="320"/>
                  </a:lnTo>
                  <a:lnTo>
                    <a:pt x="15" y="347"/>
                  </a:lnTo>
                  <a:lnTo>
                    <a:pt x="9" y="368"/>
                  </a:lnTo>
                  <a:lnTo>
                    <a:pt x="12" y="383"/>
                  </a:lnTo>
                  <a:lnTo>
                    <a:pt x="39" y="386"/>
                  </a:lnTo>
                  <a:lnTo>
                    <a:pt x="54" y="410"/>
                  </a:lnTo>
                  <a:lnTo>
                    <a:pt x="114" y="458"/>
                  </a:lnTo>
                  <a:lnTo>
                    <a:pt x="114" y="473"/>
                  </a:lnTo>
                  <a:lnTo>
                    <a:pt x="158" y="524"/>
                  </a:lnTo>
                  <a:lnTo>
                    <a:pt x="173" y="542"/>
                  </a:lnTo>
                  <a:lnTo>
                    <a:pt x="188" y="545"/>
                  </a:lnTo>
                  <a:lnTo>
                    <a:pt x="215" y="518"/>
                  </a:lnTo>
                  <a:lnTo>
                    <a:pt x="242" y="542"/>
                  </a:lnTo>
                  <a:lnTo>
                    <a:pt x="344" y="629"/>
                  </a:lnTo>
                  <a:lnTo>
                    <a:pt x="365" y="677"/>
                  </a:lnTo>
                  <a:lnTo>
                    <a:pt x="386" y="677"/>
                  </a:lnTo>
                  <a:lnTo>
                    <a:pt x="401" y="662"/>
                  </a:lnTo>
                  <a:lnTo>
                    <a:pt x="410" y="674"/>
                  </a:lnTo>
                  <a:lnTo>
                    <a:pt x="410" y="713"/>
                  </a:lnTo>
                  <a:lnTo>
                    <a:pt x="473" y="749"/>
                  </a:lnTo>
                  <a:lnTo>
                    <a:pt x="485" y="746"/>
                  </a:lnTo>
                  <a:lnTo>
                    <a:pt x="497" y="779"/>
                  </a:lnTo>
                  <a:lnTo>
                    <a:pt x="548" y="808"/>
                  </a:lnTo>
                  <a:lnTo>
                    <a:pt x="551" y="829"/>
                  </a:lnTo>
                  <a:lnTo>
                    <a:pt x="560" y="835"/>
                  </a:lnTo>
                  <a:lnTo>
                    <a:pt x="605" y="835"/>
                  </a:lnTo>
                  <a:lnTo>
                    <a:pt x="629" y="835"/>
                  </a:lnTo>
                  <a:lnTo>
                    <a:pt x="665" y="862"/>
                  </a:lnTo>
                  <a:lnTo>
                    <a:pt x="749" y="859"/>
                  </a:lnTo>
                  <a:lnTo>
                    <a:pt x="791" y="856"/>
                  </a:lnTo>
                  <a:lnTo>
                    <a:pt x="803" y="874"/>
                  </a:lnTo>
                  <a:lnTo>
                    <a:pt x="794" y="913"/>
                  </a:lnTo>
                  <a:lnTo>
                    <a:pt x="803" y="928"/>
                  </a:lnTo>
                  <a:lnTo>
                    <a:pt x="851" y="889"/>
                  </a:lnTo>
                  <a:lnTo>
                    <a:pt x="907" y="847"/>
                  </a:lnTo>
                  <a:lnTo>
                    <a:pt x="946" y="856"/>
                  </a:lnTo>
                  <a:lnTo>
                    <a:pt x="988" y="880"/>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8" name="Freeform 102"/>
            <p:cNvSpPr>
              <a:spLocks/>
            </p:cNvSpPr>
            <p:nvPr/>
          </p:nvSpPr>
          <p:spPr bwMode="auto">
            <a:xfrm>
              <a:off x="687636" y="3590950"/>
              <a:ext cx="2403475" cy="1289050"/>
            </a:xfrm>
            <a:custGeom>
              <a:avLst/>
              <a:gdLst>
                <a:gd name="T0" fmla="*/ 427 w 1713"/>
                <a:gd name="T1" fmla="*/ 290 h 928"/>
                <a:gd name="T2" fmla="*/ 439 w 1713"/>
                <a:gd name="T3" fmla="*/ 301 h 928"/>
                <a:gd name="T4" fmla="*/ 475 w 1713"/>
                <a:gd name="T5" fmla="*/ 290 h 928"/>
                <a:gd name="T6" fmla="*/ 497 w 1713"/>
                <a:gd name="T7" fmla="*/ 276 h 928"/>
                <a:gd name="T8" fmla="*/ 524 w 1713"/>
                <a:gd name="T9" fmla="*/ 269 h 928"/>
                <a:gd name="T10" fmla="*/ 553 w 1713"/>
                <a:gd name="T11" fmla="*/ 262 h 928"/>
                <a:gd name="T12" fmla="*/ 597 w 1713"/>
                <a:gd name="T13" fmla="*/ 254 h 928"/>
                <a:gd name="T14" fmla="*/ 598 w 1713"/>
                <a:gd name="T15" fmla="*/ 269 h 928"/>
                <a:gd name="T16" fmla="*/ 613 w 1713"/>
                <a:gd name="T17" fmla="*/ 270 h 928"/>
                <a:gd name="T18" fmla="*/ 604 w 1713"/>
                <a:gd name="T19" fmla="*/ 288 h 928"/>
                <a:gd name="T20" fmla="*/ 613 w 1713"/>
                <a:gd name="T21" fmla="*/ 290 h 928"/>
                <a:gd name="T22" fmla="*/ 651 w 1713"/>
                <a:gd name="T23" fmla="*/ 288 h 928"/>
                <a:gd name="T24" fmla="*/ 675 w 1713"/>
                <a:gd name="T25" fmla="*/ 294 h 928"/>
                <a:gd name="T26" fmla="*/ 684 w 1713"/>
                <a:gd name="T27" fmla="*/ 299 h 928"/>
                <a:gd name="T28" fmla="*/ 687 w 1713"/>
                <a:gd name="T29" fmla="*/ 276 h 928"/>
                <a:gd name="T30" fmla="*/ 703 w 1713"/>
                <a:gd name="T31" fmla="*/ 263 h 928"/>
                <a:gd name="T32" fmla="*/ 692 w 1713"/>
                <a:gd name="T33" fmla="*/ 200 h 928"/>
                <a:gd name="T34" fmla="*/ 677 w 1713"/>
                <a:gd name="T35" fmla="*/ 163 h 928"/>
                <a:gd name="T36" fmla="*/ 643 w 1713"/>
                <a:gd name="T37" fmla="*/ 150 h 928"/>
                <a:gd name="T38" fmla="*/ 622 w 1713"/>
                <a:gd name="T39" fmla="*/ 184 h 928"/>
                <a:gd name="T40" fmla="*/ 582 w 1713"/>
                <a:gd name="T41" fmla="*/ 166 h 928"/>
                <a:gd name="T42" fmla="*/ 506 w 1713"/>
                <a:gd name="T43" fmla="*/ 146 h 928"/>
                <a:gd name="T44" fmla="*/ 477 w 1713"/>
                <a:gd name="T45" fmla="*/ 140 h 928"/>
                <a:gd name="T46" fmla="*/ 417 w 1713"/>
                <a:gd name="T47" fmla="*/ 120 h 928"/>
                <a:gd name="T48" fmla="*/ 388 w 1713"/>
                <a:gd name="T49" fmla="*/ 64 h 928"/>
                <a:gd name="T50" fmla="*/ 400 w 1713"/>
                <a:gd name="T51" fmla="*/ 48 h 928"/>
                <a:gd name="T52" fmla="*/ 398 w 1713"/>
                <a:gd name="T53" fmla="*/ 24 h 928"/>
                <a:gd name="T54" fmla="*/ 402 w 1713"/>
                <a:gd name="T55" fmla="*/ 13 h 928"/>
                <a:gd name="T56" fmla="*/ 349 w 1713"/>
                <a:gd name="T57" fmla="*/ 0 h 928"/>
                <a:gd name="T58" fmla="*/ 312 w 1713"/>
                <a:gd name="T59" fmla="*/ 4 h 928"/>
                <a:gd name="T60" fmla="*/ 265 w 1713"/>
                <a:gd name="T61" fmla="*/ 17 h 928"/>
                <a:gd name="T62" fmla="*/ 219 w 1713"/>
                <a:gd name="T63" fmla="*/ 21 h 928"/>
                <a:gd name="T64" fmla="*/ 187 w 1713"/>
                <a:gd name="T65" fmla="*/ 8 h 928"/>
                <a:gd name="T66" fmla="*/ 135 w 1713"/>
                <a:gd name="T67" fmla="*/ 15 h 928"/>
                <a:gd name="T68" fmla="*/ 115 w 1713"/>
                <a:gd name="T69" fmla="*/ 6 h 928"/>
                <a:gd name="T70" fmla="*/ 76 w 1713"/>
                <a:gd name="T71" fmla="*/ 10 h 928"/>
                <a:gd name="T72" fmla="*/ 59 w 1713"/>
                <a:gd name="T73" fmla="*/ 30 h 928"/>
                <a:gd name="T74" fmla="*/ 47 w 1713"/>
                <a:gd name="T75" fmla="*/ 39 h 928"/>
                <a:gd name="T76" fmla="*/ 35 w 1713"/>
                <a:gd name="T77" fmla="*/ 46 h 928"/>
                <a:gd name="T78" fmla="*/ 28 w 1713"/>
                <a:gd name="T79" fmla="*/ 52 h 928"/>
                <a:gd name="T80" fmla="*/ 38 w 1713"/>
                <a:gd name="T81" fmla="*/ 71 h 928"/>
                <a:gd name="T82" fmla="*/ 36 w 1713"/>
                <a:gd name="T83" fmla="*/ 89 h 928"/>
                <a:gd name="T84" fmla="*/ 12 w 1713"/>
                <a:gd name="T85" fmla="*/ 81 h 928"/>
                <a:gd name="T86" fmla="*/ 0 w 1713"/>
                <a:gd name="T87" fmla="*/ 89 h 928"/>
                <a:gd name="T88" fmla="*/ 5 w 1713"/>
                <a:gd name="T89" fmla="*/ 105 h 928"/>
                <a:gd name="T90" fmla="*/ 5 w 1713"/>
                <a:gd name="T91" fmla="*/ 120 h 928"/>
                <a:gd name="T92" fmla="*/ 16 w 1713"/>
                <a:gd name="T93" fmla="*/ 126 h 928"/>
                <a:gd name="T94" fmla="*/ 47 w 1713"/>
                <a:gd name="T95" fmla="*/ 149 h 928"/>
                <a:gd name="T96" fmla="*/ 65 w 1713"/>
                <a:gd name="T97" fmla="*/ 172 h 928"/>
                <a:gd name="T98" fmla="*/ 78 w 1713"/>
                <a:gd name="T99" fmla="*/ 179 h 928"/>
                <a:gd name="T100" fmla="*/ 100 w 1713"/>
                <a:gd name="T101" fmla="*/ 178 h 928"/>
                <a:gd name="T102" fmla="*/ 150 w 1713"/>
                <a:gd name="T103" fmla="*/ 222 h 928"/>
                <a:gd name="T104" fmla="*/ 165 w 1713"/>
                <a:gd name="T105" fmla="*/ 216 h 928"/>
                <a:gd name="T106" fmla="*/ 168 w 1713"/>
                <a:gd name="T107" fmla="*/ 233 h 928"/>
                <a:gd name="T108" fmla="*/ 199 w 1713"/>
                <a:gd name="T109" fmla="*/ 246 h 928"/>
                <a:gd name="T110" fmla="*/ 224 w 1713"/>
                <a:gd name="T111" fmla="*/ 265 h 928"/>
                <a:gd name="T112" fmla="*/ 230 w 1713"/>
                <a:gd name="T113" fmla="*/ 275 h 928"/>
                <a:gd name="T114" fmla="*/ 258 w 1713"/>
                <a:gd name="T115" fmla="*/ 275 h 928"/>
                <a:gd name="T116" fmla="*/ 308 w 1713"/>
                <a:gd name="T117" fmla="*/ 281 h 928"/>
                <a:gd name="T118" fmla="*/ 329 w 1713"/>
                <a:gd name="T119" fmla="*/ 286 h 928"/>
                <a:gd name="T120" fmla="*/ 329 w 1713"/>
                <a:gd name="T121" fmla="*/ 304 h 928"/>
                <a:gd name="T122" fmla="*/ 372 w 1713"/>
                <a:gd name="T123" fmla="*/ 277 h 928"/>
                <a:gd name="T124" fmla="*/ 406 w 1713"/>
                <a:gd name="T125" fmla="*/ 288 h 9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713" h="928">
                  <a:moveTo>
                    <a:pt x="988" y="880"/>
                  </a:moveTo>
                  <a:lnTo>
                    <a:pt x="1042" y="886"/>
                  </a:lnTo>
                  <a:lnTo>
                    <a:pt x="1060" y="910"/>
                  </a:lnTo>
                  <a:lnTo>
                    <a:pt x="1069" y="916"/>
                  </a:lnTo>
                  <a:lnTo>
                    <a:pt x="1150" y="901"/>
                  </a:lnTo>
                  <a:lnTo>
                    <a:pt x="1156" y="886"/>
                  </a:lnTo>
                  <a:lnTo>
                    <a:pt x="1171" y="877"/>
                  </a:lnTo>
                  <a:lnTo>
                    <a:pt x="1210" y="844"/>
                  </a:lnTo>
                  <a:lnTo>
                    <a:pt x="1246" y="841"/>
                  </a:lnTo>
                  <a:lnTo>
                    <a:pt x="1276" y="820"/>
                  </a:lnTo>
                  <a:lnTo>
                    <a:pt x="1339" y="788"/>
                  </a:lnTo>
                  <a:lnTo>
                    <a:pt x="1345" y="799"/>
                  </a:lnTo>
                  <a:lnTo>
                    <a:pt x="1390" y="814"/>
                  </a:lnTo>
                  <a:lnTo>
                    <a:pt x="1456" y="779"/>
                  </a:lnTo>
                  <a:lnTo>
                    <a:pt x="1477" y="794"/>
                  </a:lnTo>
                  <a:lnTo>
                    <a:pt x="1459" y="820"/>
                  </a:lnTo>
                  <a:lnTo>
                    <a:pt x="1465" y="826"/>
                  </a:lnTo>
                  <a:lnTo>
                    <a:pt x="1492" y="826"/>
                  </a:lnTo>
                  <a:lnTo>
                    <a:pt x="1495" y="838"/>
                  </a:lnTo>
                  <a:lnTo>
                    <a:pt x="1471" y="880"/>
                  </a:lnTo>
                  <a:lnTo>
                    <a:pt x="1480" y="886"/>
                  </a:lnTo>
                  <a:lnTo>
                    <a:pt x="1492" y="886"/>
                  </a:lnTo>
                  <a:lnTo>
                    <a:pt x="1558" y="904"/>
                  </a:lnTo>
                  <a:lnTo>
                    <a:pt x="1588" y="880"/>
                  </a:lnTo>
                  <a:lnTo>
                    <a:pt x="1630" y="913"/>
                  </a:lnTo>
                  <a:lnTo>
                    <a:pt x="1644" y="898"/>
                  </a:lnTo>
                  <a:lnTo>
                    <a:pt x="1656" y="910"/>
                  </a:lnTo>
                  <a:lnTo>
                    <a:pt x="1668" y="910"/>
                  </a:lnTo>
                  <a:lnTo>
                    <a:pt x="1677" y="898"/>
                  </a:lnTo>
                  <a:lnTo>
                    <a:pt x="1674" y="844"/>
                  </a:lnTo>
                  <a:lnTo>
                    <a:pt x="1683" y="838"/>
                  </a:lnTo>
                  <a:lnTo>
                    <a:pt x="1713" y="805"/>
                  </a:lnTo>
                  <a:lnTo>
                    <a:pt x="1707" y="674"/>
                  </a:lnTo>
                  <a:lnTo>
                    <a:pt x="1683" y="608"/>
                  </a:lnTo>
                  <a:lnTo>
                    <a:pt x="1701" y="593"/>
                  </a:lnTo>
                  <a:lnTo>
                    <a:pt x="1650" y="497"/>
                  </a:lnTo>
                  <a:lnTo>
                    <a:pt x="1585" y="449"/>
                  </a:lnTo>
                  <a:lnTo>
                    <a:pt x="1567" y="461"/>
                  </a:lnTo>
                  <a:lnTo>
                    <a:pt x="1570" y="488"/>
                  </a:lnTo>
                  <a:lnTo>
                    <a:pt x="1516" y="560"/>
                  </a:lnTo>
                  <a:lnTo>
                    <a:pt x="1423" y="542"/>
                  </a:lnTo>
                  <a:lnTo>
                    <a:pt x="1417" y="506"/>
                  </a:lnTo>
                  <a:lnTo>
                    <a:pt x="1360" y="461"/>
                  </a:lnTo>
                  <a:lnTo>
                    <a:pt x="1234" y="443"/>
                  </a:lnTo>
                  <a:lnTo>
                    <a:pt x="1180" y="431"/>
                  </a:lnTo>
                  <a:lnTo>
                    <a:pt x="1162" y="431"/>
                  </a:lnTo>
                  <a:lnTo>
                    <a:pt x="1114" y="392"/>
                  </a:lnTo>
                  <a:lnTo>
                    <a:pt x="1015" y="368"/>
                  </a:lnTo>
                  <a:lnTo>
                    <a:pt x="946" y="236"/>
                  </a:lnTo>
                  <a:lnTo>
                    <a:pt x="946" y="200"/>
                  </a:lnTo>
                  <a:lnTo>
                    <a:pt x="973" y="188"/>
                  </a:lnTo>
                  <a:lnTo>
                    <a:pt x="973" y="146"/>
                  </a:lnTo>
                  <a:lnTo>
                    <a:pt x="991" y="95"/>
                  </a:lnTo>
                  <a:lnTo>
                    <a:pt x="970" y="74"/>
                  </a:lnTo>
                  <a:lnTo>
                    <a:pt x="1000" y="48"/>
                  </a:lnTo>
                  <a:lnTo>
                    <a:pt x="982" y="39"/>
                  </a:lnTo>
                  <a:lnTo>
                    <a:pt x="934" y="39"/>
                  </a:lnTo>
                  <a:lnTo>
                    <a:pt x="854" y="0"/>
                  </a:lnTo>
                  <a:lnTo>
                    <a:pt x="803" y="0"/>
                  </a:lnTo>
                  <a:lnTo>
                    <a:pt x="761" y="12"/>
                  </a:lnTo>
                  <a:lnTo>
                    <a:pt x="716" y="12"/>
                  </a:lnTo>
                  <a:lnTo>
                    <a:pt x="644" y="51"/>
                  </a:lnTo>
                  <a:lnTo>
                    <a:pt x="587" y="45"/>
                  </a:lnTo>
                  <a:lnTo>
                    <a:pt x="533" y="65"/>
                  </a:lnTo>
                  <a:lnTo>
                    <a:pt x="485" y="48"/>
                  </a:lnTo>
                  <a:lnTo>
                    <a:pt x="455" y="24"/>
                  </a:lnTo>
                  <a:lnTo>
                    <a:pt x="380" y="12"/>
                  </a:lnTo>
                  <a:lnTo>
                    <a:pt x="329" y="48"/>
                  </a:lnTo>
                  <a:lnTo>
                    <a:pt x="302" y="36"/>
                  </a:lnTo>
                  <a:lnTo>
                    <a:pt x="281" y="18"/>
                  </a:lnTo>
                  <a:lnTo>
                    <a:pt x="224" y="3"/>
                  </a:lnTo>
                  <a:lnTo>
                    <a:pt x="185" y="30"/>
                  </a:lnTo>
                  <a:lnTo>
                    <a:pt x="170" y="71"/>
                  </a:lnTo>
                  <a:lnTo>
                    <a:pt x="141" y="89"/>
                  </a:lnTo>
                  <a:lnTo>
                    <a:pt x="135" y="113"/>
                  </a:lnTo>
                  <a:lnTo>
                    <a:pt x="114" y="119"/>
                  </a:lnTo>
                  <a:lnTo>
                    <a:pt x="93" y="119"/>
                  </a:lnTo>
                  <a:lnTo>
                    <a:pt x="84" y="137"/>
                  </a:lnTo>
                  <a:lnTo>
                    <a:pt x="78" y="161"/>
                  </a:lnTo>
                  <a:lnTo>
                    <a:pt x="69" y="161"/>
                  </a:lnTo>
                  <a:lnTo>
                    <a:pt x="66" y="188"/>
                  </a:lnTo>
                  <a:lnTo>
                    <a:pt x="93" y="215"/>
                  </a:lnTo>
                  <a:lnTo>
                    <a:pt x="96" y="254"/>
                  </a:lnTo>
                  <a:lnTo>
                    <a:pt x="87" y="269"/>
                  </a:lnTo>
                  <a:lnTo>
                    <a:pt x="48" y="272"/>
                  </a:lnTo>
                  <a:lnTo>
                    <a:pt x="27" y="251"/>
                  </a:lnTo>
                  <a:lnTo>
                    <a:pt x="6" y="254"/>
                  </a:lnTo>
                  <a:lnTo>
                    <a:pt x="0" y="272"/>
                  </a:lnTo>
                  <a:lnTo>
                    <a:pt x="12" y="299"/>
                  </a:lnTo>
                  <a:lnTo>
                    <a:pt x="15" y="320"/>
                  </a:lnTo>
                  <a:lnTo>
                    <a:pt x="15" y="347"/>
                  </a:lnTo>
                  <a:lnTo>
                    <a:pt x="9" y="368"/>
                  </a:lnTo>
                  <a:lnTo>
                    <a:pt x="12" y="383"/>
                  </a:lnTo>
                  <a:lnTo>
                    <a:pt x="39" y="386"/>
                  </a:lnTo>
                  <a:lnTo>
                    <a:pt x="54" y="410"/>
                  </a:lnTo>
                  <a:lnTo>
                    <a:pt x="114" y="458"/>
                  </a:lnTo>
                  <a:lnTo>
                    <a:pt x="114" y="473"/>
                  </a:lnTo>
                  <a:lnTo>
                    <a:pt x="158" y="524"/>
                  </a:lnTo>
                  <a:lnTo>
                    <a:pt x="173" y="542"/>
                  </a:lnTo>
                  <a:lnTo>
                    <a:pt x="188" y="545"/>
                  </a:lnTo>
                  <a:lnTo>
                    <a:pt x="215" y="518"/>
                  </a:lnTo>
                  <a:lnTo>
                    <a:pt x="242" y="542"/>
                  </a:lnTo>
                  <a:lnTo>
                    <a:pt x="344" y="629"/>
                  </a:lnTo>
                  <a:lnTo>
                    <a:pt x="365" y="677"/>
                  </a:lnTo>
                  <a:lnTo>
                    <a:pt x="386" y="677"/>
                  </a:lnTo>
                  <a:lnTo>
                    <a:pt x="401" y="662"/>
                  </a:lnTo>
                  <a:lnTo>
                    <a:pt x="410" y="674"/>
                  </a:lnTo>
                  <a:lnTo>
                    <a:pt x="410" y="713"/>
                  </a:lnTo>
                  <a:lnTo>
                    <a:pt x="473" y="749"/>
                  </a:lnTo>
                  <a:lnTo>
                    <a:pt x="485" y="746"/>
                  </a:lnTo>
                  <a:lnTo>
                    <a:pt x="497" y="779"/>
                  </a:lnTo>
                  <a:lnTo>
                    <a:pt x="548" y="808"/>
                  </a:lnTo>
                  <a:lnTo>
                    <a:pt x="551" y="829"/>
                  </a:lnTo>
                  <a:lnTo>
                    <a:pt x="560" y="835"/>
                  </a:lnTo>
                  <a:lnTo>
                    <a:pt x="605" y="835"/>
                  </a:lnTo>
                  <a:lnTo>
                    <a:pt x="629" y="835"/>
                  </a:lnTo>
                  <a:lnTo>
                    <a:pt x="665" y="862"/>
                  </a:lnTo>
                  <a:lnTo>
                    <a:pt x="749" y="859"/>
                  </a:lnTo>
                  <a:lnTo>
                    <a:pt x="791" y="856"/>
                  </a:lnTo>
                  <a:lnTo>
                    <a:pt x="803" y="874"/>
                  </a:lnTo>
                  <a:lnTo>
                    <a:pt x="794" y="913"/>
                  </a:lnTo>
                  <a:lnTo>
                    <a:pt x="803" y="928"/>
                  </a:lnTo>
                  <a:lnTo>
                    <a:pt x="851" y="889"/>
                  </a:lnTo>
                  <a:lnTo>
                    <a:pt x="907" y="847"/>
                  </a:lnTo>
                  <a:lnTo>
                    <a:pt x="946" y="856"/>
                  </a:lnTo>
                  <a:lnTo>
                    <a:pt x="988" y="880"/>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09" name="Freeform 103"/>
            <p:cNvSpPr>
              <a:spLocks/>
            </p:cNvSpPr>
            <p:nvPr/>
          </p:nvSpPr>
          <p:spPr bwMode="auto">
            <a:xfrm>
              <a:off x="2013199" y="3267100"/>
              <a:ext cx="1552575" cy="1101725"/>
            </a:xfrm>
            <a:custGeom>
              <a:avLst/>
              <a:gdLst>
                <a:gd name="T0" fmla="*/ 37 w 1106"/>
                <a:gd name="T1" fmla="*/ 97 h 794"/>
                <a:gd name="T2" fmla="*/ 59 w 1106"/>
                <a:gd name="T3" fmla="*/ 87 h 794"/>
                <a:gd name="T4" fmla="*/ 49 w 1106"/>
                <a:gd name="T5" fmla="*/ 80 h 794"/>
                <a:gd name="T6" fmla="*/ 63 w 1106"/>
                <a:gd name="T7" fmla="*/ 72 h 794"/>
                <a:gd name="T8" fmla="*/ 45 w 1106"/>
                <a:gd name="T9" fmla="*/ 44 h 794"/>
                <a:gd name="T10" fmla="*/ 57 w 1106"/>
                <a:gd name="T11" fmla="*/ 17 h 794"/>
                <a:gd name="T12" fmla="*/ 148 w 1106"/>
                <a:gd name="T13" fmla="*/ 0 h 794"/>
                <a:gd name="T14" fmla="*/ 205 w 1106"/>
                <a:gd name="T15" fmla="*/ 10 h 794"/>
                <a:gd name="T16" fmla="*/ 235 w 1106"/>
                <a:gd name="T17" fmla="*/ 24 h 794"/>
                <a:gd name="T18" fmla="*/ 267 w 1106"/>
                <a:gd name="T19" fmla="*/ 15 h 794"/>
                <a:gd name="T20" fmla="*/ 307 w 1106"/>
                <a:gd name="T21" fmla="*/ 12 h 794"/>
                <a:gd name="T22" fmla="*/ 357 w 1106"/>
                <a:gd name="T23" fmla="*/ 22 h 794"/>
                <a:gd name="T24" fmla="*/ 390 w 1106"/>
                <a:gd name="T25" fmla="*/ 51 h 794"/>
                <a:gd name="T26" fmla="*/ 419 w 1106"/>
                <a:gd name="T27" fmla="*/ 60 h 794"/>
                <a:gd name="T28" fmla="*/ 447 w 1106"/>
                <a:gd name="T29" fmla="*/ 99 h 794"/>
                <a:gd name="T30" fmla="*/ 452 w 1106"/>
                <a:gd name="T31" fmla="*/ 128 h 794"/>
                <a:gd name="T32" fmla="*/ 437 w 1106"/>
                <a:gd name="T33" fmla="*/ 148 h 794"/>
                <a:gd name="T34" fmla="*/ 419 w 1106"/>
                <a:gd name="T35" fmla="*/ 159 h 794"/>
                <a:gd name="T36" fmla="*/ 411 w 1106"/>
                <a:gd name="T37" fmla="*/ 178 h 794"/>
                <a:gd name="T38" fmla="*/ 392 w 1106"/>
                <a:gd name="T39" fmla="*/ 168 h 794"/>
                <a:gd name="T40" fmla="*/ 393 w 1106"/>
                <a:gd name="T41" fmla="*/ 184 h 794"/>
                <a:gd name="T42" fmla="*/ 424 w 1106"/>
                <a:gd name="T43" fmla="*/ 196 h 794"/>
                <a:gd name="T44" fmla="*/ 438 w 1106"/>
                <a:gd name="T45" fmla="*/ 202 h 794"/>
                <a:gd name="T46" fmla="*/ 432 w 1106"/>
                <a:gd name="T47" fmla="*/ 213 h 794"/>
                <a:gd name="T48" fmla="*/ 411 w 1106"/>
                <a:gd name="T49" fmla="*/ 216 h 794"/>
                <a:gd name="T50" fmla="*/ 390 w 1106"/>
                <a:gd name="T51" fmla="*/ 214 h 794"/>
                <a:gd name="T52" fmla="*/ 388 w 1106"/>
                <a:gd name="T53" fmla="*/ 228 h 794"/>
                <a:gd name="T54" fmla="*/ 354 w 1106"/>
                <a:gd name="T55" fmla="*/ 215 h 794"/>
                <a:gd name="T56" fmla="*/ 332 w 1106"/>
                <a:gd name="T57" fmla="*/ 212 h 794"/>
                <a:gd name="T58" fmla="*/ 270 w 1106"/>
                <a:gd name="T59" fmla="*/ 210 h 794"/>
                <a:gd name="T60" fmla="*/ 263 w 1106"/>
                <a:gd name="T61" fmla="*/ 223 h 794"/>
                <a:gd name="T62" fmla="*/ 257 w 1106"/>
                <a:gd name="T63" fmla="*/ 236 h 794"/>
                <a:gd name="T64" fmla="*/ 196 w 1106"/>
                <a:gd name="T65" fmla="*/ 253 h 794"/>
                <a:gd name="T66" fmla="*/ 170 w 1106"/>
                <a:gd name="T67" fmla="*/ 226 h 794"/>
                <a:gd name="T68" fmla="*/ 95 w 1106"/>
                <a:gd name="T69" fmla="*/ 218 h 794"/>
                <a:gd name="T70" fmla="*/ 70 w 1106"/>
                <a:gd name="T71" fmla="*/ 206 h 794"/>
                <a:gd name="T72" fmla="*/ 0 w 1106"/>
                <a:gd name="T73" fmla="*/ 154 h 794"/>
                <a:gd name="T74" fmla="*/ 12 w 1106"/>
                <a:gd name="T75" fmla="*/ 139 h 794"/>
                <a:gd name="T76" fmla="*/ 19 w 1106"/>
                <a:gd name="T77" fmla="*/ 107 h 794"/>
                <a:gd name="T78" fmla="*/ 23 w 1106"/>
                <a:gd name="T79" fmla="*/ 92 h 79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06" h="794">
                  <a:moveTo>
                    <a:pt x="54" y="282"/>
                  </a:moveTo>
                  <a:lnTo>
                    <a:pt x="90" y="296"/>
                  </a:lnTo>
                  <a:lnTo>
                    <a:pt x="150" y="276"/>
                  </a:lnTo>
                  <a:lnTo>
                    <a:pt x="141" y="264"/>
                  </a:lnTo>
                  <a:lnTo>
                    <a:pt x="126" y="264"/>
                  </a:lnTo>
                  <a:lnTo>
                    <a:pt x="120" y="246"/>
                  </a:lnTo>
                  <a:lnTo>
                    <a:pt x="123" y="231"/>
                  </a:lnTo>
                  <a:lnTo>
                    <a:pt x="153" y="216"/>
                  </a:lnTo>
                  <a:lnTo>
                    <a:pt x="174" y="183"/>
                  </a:lnTo>
                  <a:lnTo>
                    <a:pt x="111" y="132"/>
                  </a:lnTo>
                  <a:lnTo>
                    <a:pt x="108" y="75"/>
                  </a:lnTo>
                  <a:lnTo>
                    <a:pt x="138" y="54"/>
                  </a:lnTo>
                  <a:lnTo>
                    <a:pt x="345" y="12"/>
                  </a:lnTo>
                  <a:lnTo>
                    <a:pt x="360" y="0"/>
                  </a:lnTo>
                  <a:lnTo>
                    <a:pt x="393" y="6"/>
                  </a:lnTo>
                  <a:lnTo>
                    <a:pt x="498" y="30"/>
                  </a:lnTo>
                  <a:lnTo>
                    <a:pt x="528" y="48"/>
                  </a:lnTo>
                  <a:lnTo>
                    <a:pt x="573" y="75"/>
                  </a:lnTo>
                  <a:lnTo>
                    <a:pt x="603" y="75"/>
                  </a:lnTo>
                  <a:lnTo>
                    <a:pt x="648" y="48"/>
                  </a:lnTo>
                  <a:lnTo>
                    <a:pt x="707" y="57"/>
                  </a:lnTo>
                  <a:lnTo>
                    <a:pt x="746" y="36"/>
                  </a:lnTo>
                  <a:lnTo>
                    <a:pt x="827" y="84"/>
                  </a:lnTo>
                  <a:lnTo>
                    <a:pt x="869" y="69"/>
                  </a:lnTo>
                  <a:lnTo>
                    <a:pt x="890" y="123"/>
                  </a:lnTo>
                  <a:lnTo>
                    <a:pt x="947" y="159"/>
                  </a:lnTo>
                  <a:lnTo>
                    <a:pt x="986" y="195"/>
                  </a:lnTo>
                  <a:lnTo>
                    <a:pt x="1016" y="183"/>
                  </a:lnTo>
                  <a:lnTo>
                    <a:pt x="1073" y="258"/>
                  </a:lnTo>
                  <a:lnTo>
                    <a:pt x="1085" y="305"/>
                  </a:lnTo>
                  <a:lnTo>
                    <a:pt x="1106" y="335"/>
                  </a:lnTo>
                  <a:lnTo>
                    <a:pt x="1097" y="392"/>
                  </a:lnTo>
                  <a:lnTo>
                    <a:pt x="1052" y="428"/>
                  </a:lnTo>
                  <a:lnTo>
                    <a:pt x="1061" y="449"/>
                  </a:lnTo>
                  <a:lnTo>
                    <a:pt x="1043" y="467"/>
                  </a:lnTo>
                  <a:lnTo>
                    <a:pt x="1022" y="488"/>
                  </a:lnTo>
                  <a:lnTo>
                    <a:pt x="1022" y="527"/>
                  </a:lnTo>
                  <a:lnTo>
                    <a:pt x="1001" y="545"/>
                  </a:lnTo>
                  <a:lnTo>
                    <a:pt x="974" y="536"/>
                  </a:lnTo>
                  <a:lnTo>
                    <a:pt x="953" y="515"/>
                  </a:lnTo>
                  <a:lnTo>
                    <a:pt x="944" y="539"/>
                  </a:lnTo>
                  <a:lnTo>
                    <a:pt x="956" y="560"/>
                  </a:lnTo>
                  <a:lnTo>
                    <a:pt x="992" y="563"/>
                  </a:lnTo>
                  <a:lnTo>
                    <a:pt x="1028" y="599"/>
                  </a:lnTo>
                  <a:lnTo>
                    <a:pt x="1049" y="599"/>
                  </a:lnTo>
                  <a:lnTo>
                    <a:pt x="1064" y="617"/>
                  </a:lnTo>
                  <a:lnTo>
                    <a:pt x="1049" y="647"/>
                  </a:lnTo>
                  <a:lnTo>
                    <a:pt x="1049" y="650"/>
                  </a:lnTo>
                  <a:lnTo>
                    <a:pt x="1022" y="647"/>
                  </a:lnTo>
                  <a:lnTo>
                    <a:pt x="1001" y="662"/>
                  </a:lnTo>
                  <a:lnTo>
                    <a:pt x="986" y="638"/>
                  </a:lnTo>
                  <a:lnTo>
                    <a:pt x="950" y="653"/>
                  </a:lnTo>
                  <a:lnTo>
                    <a:pt x="941" y="671"/>
                  </a:lnTo>
                  <a:lnTo>
                    <a:pt x="941" y="698"/>
                  </a:lnTo>
                  <a:lnTo>
                    <a:pt x="905" y="704"/>
                  </a:lnTo>
                  <a:lnTo>
                    <a:pt x="860" y="659"/>
                  </a:lnTo>
                  <a:lnTo>
                    <a:pt x="845" y="638"/>
                  </a:lnTo>
                  <a:lnTo>
                    <a:pt x="809" y="647"/>
                  </a:lnTo>
                  <a:lnTo>
                    <a:pt x="749" y="629"/>
                  </a:lnTo>
                  <a:lnTo>
                    <a:pt x="657" y="644"/>
                  </a:lnTo>
                  <a:lnTo>
                    <a:pt x="648" y="653"/>
                  </a:lnTo>
                  <a:lnTo>
                    <a:pt x="639" y="683"/>
                  </a:lnTo>
                  <a:lnTo>
                    <a:pt x="621" y="695"/>
                  </a:lnTo>
                  <a:lnTo>
                    <a:pt x="624" y="722"/>
                  </a:lnTo>
                  <a:lnTo>
                    <a:pt x="570" y="794"/>
                  </a:lnTo>
                  <a:lnTo>
                    <a:pt x="477" y="776"/>
                  </a:lnTo>
                  <a:lnTo>
                    <a:pt x="471" y="740"/>
                  </a:lnTo>
                  <a:lnTo>
                    <a:pt x="414" y="695"/>
                  </a:lnTo>
                  <a:lnTo>
                    <a:pt x="288" y="677"/>
                  </a:lnTo>
                  <a:lnTo>
                    <a:pt x="234" y="665"/>
                  </a:lnTo>
                  <a:lnTo>
                    <a:pt x="216" y="665"/>
                  </a:lnTo>
                  <a:lnTo>
                    <a:pt x="168" y="626"/>
                  </a:lnTo>
                  <a:lnTo>
                    <a:pt x="69" y="602"/>
                  </a:lnTo>
                  <a:lnTo>
                    <a:pt x="0" y="470"/>
                  </a:lnTo>
                  <a:lnTo>
                    <a:pt x="0" y="434"/>
                  </a:lnTo>
                  <a:lnTo>
                    <a:pt x="27" y="422"/>
                  </a:lnTo>
                  <a:lnTo>
                    <a:pt x="27" y="380"/>
                  </a:lnTo>
                  <a:lnTo>
                    <a:pt x="45" y="329"/>
                  </a:lnTo>
                  <a:lnTo>
                    <a:pt x="24" y="308"/>
                  </a:lnTo>
                  <a:lnTo>
                    <a:pt x="54" y="28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0" name="Freeform 104"/>
            <p:cNvSpPr>
              <a:spLocks/>
            </p:cNvSpPr>
            <p:nvPr/>
          </p:nvSpPr>
          <p:spPr bwMode="auto">
            <a:xfrm>
              <a:off x="2013199" y="3267100"/>
              <a:ext cx="1552575" cy="1101725"/>
            </a:xfrm>
            <a:custGeom>
              <a:avLst/>
              <a:gdLst>
                <a:gd name="T0" fmla="*/ 37 w 1106"/>
                <a:gd name="T1" fmla="*/ 97 h 794"/>
                <a:gd name="T2" fmla="*/ 59 w 1106"/>
                <a:gd name="T3" fmla="*/ 87 h 794"/>
                <a:gd name="T4" fmla="*/ 49 w 1106"/>
                <a:gd name="T5" fmla="*/ 80 h 794"/>
                <a:gd name="T6" fmla="*/ 63 w 1106"/>
                <a:gd name="T7" fmla="*/ 72 h 794"/>
                <a:gd name="T8" fmla="*/ 45 w 1106"/>
                <a:gd name="T9" fmla="*/ 44 h 794"/>
                <a:gd name="T10" fmla="*/ 57 w 1106"/>
                <a:gd name="T11" fmla="*/ 17 h 794"/>
                <a:gd name="T12" fmla="*/ 148 w 1106"/>
                <a:gd name="T13" fmla="*/ 0 h 794"/>
                <a:gd name="T14" fmla="*/ 205 w 1106"/>
                <a:gd name="T15" fmla="*/ 10 h 794"/>
                <a:gd name="T16" fmla="*/ 235 w 1106"/>
                <a:gd name="T17" fmla="*/ 24 h 794"/>
                <a:gd name="T18" fmla="*/ 267 w 1106"/>
                <a:gd name="T19" fmla="*/ 15 h 794"/>
                <a:gd name="T20" fmla="*/ 307 w 1106"/>
                <a:gd name="T21" fmla="*/ 12 h 794"/>
                <a:gd name="T22" fmla="*/ 357 w 1106"/>
                <a:gd name="T23" fmla="*/ 22 h 794"/>
                <a:gd name="T24" fmla="*/ 390 w 1106"/>
                <a:gd name="T25" fmla="*/ 51 h 794"/>
                <a:gd name="T26" fmla="*/ 419 w 1106"/>
                <a:gd name="T27" fmla="*/ 60 h 794"/>
                <a:gd name="T28" fmla="*/ 447 w 1106"/>
                <a:gd name="T29" fmla="*/ 99 h 794"/>
                <a:gd name="T30" fmla="*/ 452 w 1106"/>
                <a:gd name="T31" fmla="*/ 128 h 794"/>
                <a:gd name="T32" fmla="*/ 437 w 1106"/>
                <a:gd name="T33" fmla="*/ 148 h 794"/>
                <a:gd name="T34" fmla="*/ 419 w 1106"/>
                <a:gd name="T35" fmla="*/ 159 h 794"/>
                <a:gd name="T36" fmla="*/ 411 w 1106"/>
                <a:gd name="T37" fmla="*/ 178 h 794"/>
                <a:gd name="T38" fmla="*/ 392 w 1106"/>
                <a:gd name="T39" fmla="*/ 168 h 794"/>
                <a:gd name="T40" fmla="*/ 393 w 1106"/>
                <a:gd name="T41" fmla="*/ 184 h 794"/>
                <a:gd name="T42" fmla="*/ 424 w 1106"/>
                <a:gd name="T43" fmla="*/ 196 h 794"/>
                <a:gd name="T44" fmla="*/ 438 w 1106"/>
                <a:gd name="T45" fmla="*/ 202 h 794"/>
                <a:gd name="T46" fmla="*/ 432 w 1106"/>
                <a:gd name="T47" fmla="*/ 213 h 794"/>
                <a:gd name="T48" fmla="*/ 411 w 1106"/>
                <a:gd name="T49" fmla="*/ 216 h 794"/>
                <a:gd name="T50" fmla="*/ 390 w 1106"/>
                <a:gd name="T51" fmla="*/ 214 h 794"/>
                <a:gd name="T52" fmla="*/ 388 w 1106"/>
                <a:gd name="T53" fmla="*/ 228 h 794"/>
                <a:gd name="T54" fmla="*/ 354 w 1106"/>
                <a:gd name="T55" fmla="*/ 215 h 794"/>
                <a:gd name="T56" fmla="*/ 332 w 1106"/>
                <a:gd name="T57" fmla="*/ 212 h 794"/>
                <a:gd name="T58" fmla="*/ 270 w 1106"/>
                <a:gd name="T59" fmla="*/ 210 h 794"/>
                <a:gd name="T60" fmla="*/ 263 w 1106"/>
                <a:gd name="T61" fmla="*/ 223 h 794"/>
                <a:gd name="T62" fmla="*/ 257 w 1106"/>
                <a:gd name="T63" fmla="*/ 236 h 794"/>
                <a:gd name="T64" fmla="*/ 196 w 1106"/>
                <a:gd name="T65" fmla="*/ 253 h 794"/>
                <a:gd name="T66" fmla="*/ 170 w 1106"/>
                <a:gd name="T67" fmla="*/ 226 h 794"/>
                <a:gd name="T68" fmla="*/ 95 w 1106"/>
                <a:gd name="T69" fmla="*/ 218 h 794"/>
                <a:gd name="T70" fmla="*/ 70 w 1106"/>
                <a:gd name="T71" fmla="*/ 206 h 794"/>
                <a:gd name="T72" fmla="*/ 0 w 1106"/>
                <a:gd name="T73" fmla="*/ 154 h 794"/>
                <a:gd name="T74" fmla="*/ 12 w 1106"/>
                <a:gd name="T75" fmla="*/ 139 h 794"/>
                <a:gd name="T76" fmla="*/ 19 w 1106"/>
                <a:gd name="T77" fmla="*/ 107 h 794"/>
                <a:gd name="T78" fmla="*/ 23 w 1106"/>
                <a:gd name="T79" fmla="*/ 92 h 79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06" h="794">
                  <a:moveTo>
                    <a:pt x="54" y="282"/>
                  </a:moveTo>
                  <a:lnTo>
                    <a:pt x="90" y="296"/>
                  </a:lnTo>
                  <a:lnTo>
                    <a:pt x="150" y="276"/>
                  </a:lnTo>
                  <a:lnTo>
                    <a:pt x="141" y="264"/>
                  </a:lnTo>
                  <a:lnTo>
                    <a:pt x="126" y="264"/>
                  </a:lnTo>
                  <a:lnTo>
                    <a:pt x="120" y="246"/>
                  </a:lnTo>
                  <a:lnTo>
                    <a:pt x="123" y="231"/>
                  </a:lnTo>
                  <a:lnTo>
                    <a:pt x="153" y="216"/>
                  </a:lnTo>
                  <a:lnTo>
                    <a:pt x="174" y="183"/>
                  </a:lnTo>
                  <a:lnTo>
                    <a:pt x="111" y="132"/>
                  </a:lnTo>
                  <a:lnTo>
                    <a:pt x="108" y="75"/>
                  </a:lnTo>
                  <a:lnTo>
                    <a:pt x="138" y="54"/>
                  </a:lnTo>
                  <a:lnTo>
                    <a:pt x="345" y="12"/>
                  </a:lnTo>
                  <a:lnTo>
                    <a:pt x="360" y="0"/>
                  </a:lnTo>
                  <a:lnTo>
                    <a:pt x="393" y="6"/>
                  </a:lnTo>
                  <a:lnTo>
                    <a:pt x="498" y="30"/>
                  </a:lnTo>
                  <a:lnTo>
                    <a:pt x="528" y="48"/>
                  </a:lnTo>
                  <a:lnTo>
                    <a:pt x="573" y="75"/>
                  </a:lnTo>
                  <a:lnTo>
                    <a:pt x="603" y="75"/>
                  </a:lnTo>
                  <a:lnTo>
                    <a:pt x="648" y="48"/>
                  </a:lnTo>
                  <a:lnTo>
                    <a:pt x="707" y="57"/>
                  </a:lnTo>
                  <a:lnTo>
                    <a:pt x="746" y="36"/>
                  </a:lnTo>
                  <a:lnTo>
                    <a:pt x="827" y="84"/>
                  </a:lnTo>
                  <a:lnTo>
                    <a:pt x="869" y="69"/>
                  </a:lnTo>
                  <a:lnTo>
                    <a:pt x="890" y="123"/>
                  </a:lnTo>
                  <a:lnTo>
                    <a:pt x="947" y="159"/>
                  </a:lnTo>
                  <a:lnTo>
                    <a:pt x="986" y="195"/>
                  </a:lnTo>
                  <a:lnTo>
                    <a:pt x="1016" y="183"/>
                  </a:lnTo>
                  <a:lnTo>
                    <a:pt x="1073" y="258"/>
                  </a:lnTo>
                  <a:lnTo>
                    <a:pt x="1085" y="305"/>
                  </a:lnTo>
                  <a:lnTo>
                    <a:pt x="1106" y="335"/>
                  </a:lnTo>
                  <a:lnTo>
                    <a:pt x="1097" y="392"/>
                  </a:lnTo>
                  <a:lnTo>
                    <a:pt x="1052" y="428"/>
                  </a:lnTo>
                  <a:lnTo>
                    <a:pt x="1061" y="449"/>
                  </a:lnTo>
                  <a:lnTo>
                    <a:pt x="1043" y="467"/>
                  </a:lnTo>
                  <a:lnTo>
                    <a:pt x="1022" y="488"/>
                  </a:lnTo>
                  <a:lnTo>
                    <a:pt x="1022" y="527"/>
                  </a:lnTo>
                  <a:lnTo>
                    <a:pt x="1001" y="545"/>
                  </a:lnTo>
                  <a:lnTo>
                    <a:pt x="974" y="536"/>
                  </a:lnTo>
                  <a:lnTo>
                    <a:pt x="953" y="515"/>
                  </a:lnTo>
                  <a:lnTo>
                    <a:pt x="944" y="539"/>
                  </a:lnTo>
                  <a:lnTo>
                    <a:pt x="956" y="560"/>
                  </a:lnTo>
                  <a:lnTo>
                    <a:pt x="992" y="563"/>
                  </a:lnTo>
                  <a:lnTo>
                    <a:pt x="1028" y="599"/>
                  </a:lnTo>
                  <a:lnTo>
                    <a:pt x="1049" y="599"/>
                  </a:lnTo>
                  <a:lnTo>
                    <a:pt x="1064" y="617"/>
                  </a:lnTo>
                  <a:lnTo>
                    <a:pt x="1049" y="647"/>
                  </a:lnTo>
                  <a:lnTo>
                    <a:pt x="1049" y="650"/>
                  </a:lnTo>
                  <a:lnTo>
                    <a:pt x="1022" y="647"/>
                  </a:lnTo>
                  <a:lnTo>
                    <a:pt x="1001" y="662"/>
                  </a:lnTo>
                  <a:lnTo>
                    <a:pt x="986" y="638"/>
                  </a:lnTo>
                  <a:lnTo>
                    <a:pt x="950" y="653"/>
                  </a:lnTo>
                  <a:lnTo>
                    <a:pt x="941" y="671"/>
                  </a:lnTo>
                  <a:lnTo>
                    <a:pt x="941" y="698"/>
                  </a:lnTo>
                  <a:lnTo>
                    <a:pt x="905" y="704"/>
                  </a:lnTo>
                  <a:lnTo>
                    <a:pt x="860" y="659"/>
                  </a:lnTo>
                  <a:lnTo>
                    <a:pt x="845" y="638"/>
                  </a:lnTo>
                  <a:lnTo>
                    <a:pt x="809" y="647"/>
                  </a:lnTo>
                  <a:lnTo>
                    <a:pt x="749" y="629"/>
                  </a:lnTo>
                  <a:lnTo>
                    <a:pt x="657" y="644"/>
                  </a:lnTo>
                  <a:lnTo>
                    <a:pt x="648" y="653"/>
                  </a:lnTo>
                  <a:lnTo>
                    <a:pt x="639" y="683"/>
                  </a:lnTo>
                  <a:lnTo>
                    <a:pt x="621" y="695"/>
                  </a:lnTo>
                  <a:lnTo>
                    <a:pt x="624" y="722"/>
                  </a:lnTo>
                  <a:lnTo>
                    <a:pt x="570" y="794"/>
                  </a:lnTo>
                  <a:lnTo>
                    <a:pt x="477" y="776"/>
                  </a:lnTo>
                  <a:lnTo>
                    <a:pt x="471" y="740"/>
                  </a:lnTo>
                  <a:lnTo>
                    <a:pt x="414" y="695"/>
                  </a:lnTo>
                  <a:lnTo>
                    <a:pt x="288" y="677"/>
                  </a:lnTo>
                  <a:lnTo>
                    <a:pt x="234" y="665"/>
                  </a:lnTo>
                  <a:lnTo>
                    <a:pt x="216" y="665"/>
                  </a:lnTo>
                  <a:lnTo>
                    <a:pt x="168" y="626"/>
                  </a:lnTo>
                  <a:lnTo>
                    <a:pt x="69" y="602"/>
                  </a:lnTo>
                  <a:lnTo>
                    <a:pt x="0" y="470"/>
                  </a:lnTo>
                  <a:lnTo>
                    <a:pt x="0" y="434"/>
                  </a:lnTo>
                  <a:lnTo>
                    <a:pt x="27" y="422"/>
                  </a:lnTo>
                  <a:lnTo>
                    <a:pt x="27" y="380"/>
                  </a:lnTo>
                  <a:lnTo>
                    <a:pt x="45" y="329"/>
                  </a:lnTo>
                  <a:lnTo>
                    <a:pt x="24" y="308"/>
                  </a:lnTo>
                  <a:lnTo>
                    <a:pt x="54" y="282"/>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1" name="Freeform 105"/>
            <p:cNvSpPr>
              <a:spLocks/>
            </p:cNvSpPr>
            <p:nvPr/>
          </p:nvSpPr>
          <p:spPr bwMode="auto">
            <a:xfrm>
              <a:off x="2549774" y="2825775"/>
              <a:ext cx="1676400" cy="1419225"/>
            </a:xfrm>
            <a:custGeom>
              <a:avLst/>
              <a:gdLst>
                <a:gd name="T0" fmla="*/ 0 w 1195"/>
                <a:gd name="T1" fmla="*/ 63 h 1022"/>
                <a:gd name="T2" fmla="*/ 19 w 1195"/>
                <a:gd name="T3" fmla="*/ 48 h 1022"/>
                <a:gd name="T4" fmla="*/ 75 w 1195"/>
                <a:gd name="T5" fmla="*/ 21 h 1022"/>
                <a:gd name="T6" fmla="*/ 90 w 1195"/>
                <a:gd name="T7" fmla="*/ 6 h 1022"/>
                <a:gd name="T8" fmla="*/ 103 w 1195"/>
                <a:gd name="T9" fmla="*/ 3 h 1022"/>
                <a:gd name="T10" fmla="*/ 123 w 1195"/>
                <a:gd name="T11" fmla="*/ 12 h 1022"/>
                <a:gd name="T12" fmla="*/ 125 w 1195"/>
                <a:gd name="T13" fmla="*/ 45 h 1022"/>
                <a:gd name="T14" fmla="*/ 154 w 1195"/>
                <a:gd name="T15" fmla="*/ 73 h 1022"/>
                <a:gd name="T16" fmla="*/ 204 w 1195"/>
                <a:gd name="T17" fmla="*/ 64 h 1022"/>
                <a:gd name="T18" fmla="*/ 218 w 1195"/>
                <a:gd name="T19" fmla="*/ 72 h 1022"/>
                <a:gd name="T20" fmla="*/ 195 w 1195"/>
                <a:gd name="T21" fmla="*/ 91 h 1022"/>
                <a:gd name="T22" fmla="*/ 219 w 1195"/>
                <a:gd name="T23" fmla="*/ 110 h 1022"/>
                <a:gd name="T24" fmla="*/ 229 w 1195"/>
                <a:gd name="T25" fmla="*/ 113 h 1022"/>
                <a:gd name="T26" fmla="*/ 241 w 1195"/>
                <a:gd name="T27" fmla="*/ 125 h 1022"/>
                <a:gd name="T28" fmla="*/ 285 w 1195"/>
                <a:gd name="T29" fmla="*/ 126 h 1022"/>
                <a:gd name="T30" fmla="*/ 328 w 1195"/>
                <a:gd name="T31" fmla="*/ 114 h 1022"/>
                <a:gd name="T32" fmla="*/ 332 w 1195"/>
                <a:gd name="T33" fmla="*/ 134 h 1022"/>
                <a:gd name="T34" fmla="*/ 319 w 1195"/>
                <a:gd name="T35" fmla="*/ 148 h 1022"/>
                <a:gd name="T36" fmla="*/ 317 w 1195"/>
                <a:gd name="T37" fmla="*/ 165 h 1022"/>
                <a:gd name="T38" fmla="*/ 348 w 1195"/>
                <a:gd name="T39" fmla="*/ 175 h 1022"/>
                <a:gd name="T40" fmla="*/ 379 w 1195"/>
                <a:gd name="T41" fmla="*/ 218 h 1022"/>
                <a:gd name="T42" fmla="*/ 393 w 1195"/>
                <a:gd name="T43" fmla="*/ 234 h 1022"/>
                <a:gd name="T44" fmla="*/ 408 w 1195"/>
                <a:gd name="T45" fmla="*/ 243 h 1022"/>
                <a:gd name="T46" fmla="*/ 414 w 1195"/>
                <a:gd name="T47" fmla="*/ 233 h 1022"/>
                <a:gd name="T48" fmla="*/ 429 w 1195"/>
                <a:gd name="T49" fmla="*/ 219 h 1022"/>
                <a:gd name="T50" fmla="*/ 414 w 1195"/>
                <a:gd name="T51" fmla="*/ 208 h 1022"/>
                <a:gd name="T52" fmla="*/ 423 w 1195"/>
                <a:gd name="T53" fmla="*/ 182 h 1022"/>
                <a:gd name="T54" fmla="*/ 438 w 1195"/>
                <a:gd name="T55" fmla="*/ 185 h 1022"/>
                <a:gd name="T56" fmla="*/ 471 w 1195"/>
                <a:gd name="T57" fmla="*/ 200 h 1022"/>
                <a:gd name="T58" fmla="*/ 490 w 1195"/>
                <a:gd name="T59" fmla="*/ 216 h 1022"/>
                <a:gd name="T60" fmla="*/ 486 w 1195"/>
                <a:gd name="T61" fmla="*/ 236 h 1022"/>
                <a:gd name="T62" fmla="*/ 462 w 1195"/>
                <a:gd name="T63" fmla="*/ 243 h 1022"/>
                <a:gd name="T64" fmla="*/ 457 w 1195"/>
                <a:gd name="T65" fmla="*/ 250 h 1022"/>
                <a:gd name="T66" fmla="*/ 440 w 1195"/>
                <a:gd name="T67" fmla="*/ 254 h 1022"/>
                <a:gd name="T68" fmla="*/ 421 w 1195"/>
                <a:gd name="T69" fmla="*/ 251 h 1022"/>
                <a:gd name="T70" fmla="*/ 421 w 1195"/>
                <a:gd name="T71" fmla="*/ 258 h 1022"/>
                <a:gd name="T72" fmla="*/ 411 w 1195"/>
                <a:gd name="T73" fmla="*/ 269 h 1022"/>
                <a:gd name="T74" fmla="*/ 416 w 1195"/>
                <a:gd name="T75" fmla="*/ 290 h 1022"/>
                <a:gd name="T76" fmla="*/ 416 w 1195"/>
                <a:gd name="T77" fmla="*/ 300 h 1022"/>
                <a:gd name="T78" fmla="*/ 396 w 1195"/>
                <a:gd name="T79" fmla="*/ 304 h 1022"/>
                <a:gd name="T80" fmla="*/ 398 w 1195"/>
                <a:gd name="T81" fmla="*/ 322 h 1022"/>
                <a:gd name="T82" fmla="*/ 387 w 1195"/>
                <a:gd name="T83" fmla="*/ 331 h 1022"/>
                <a:gd name="T84" fmla="*/ 358 w 1195"/>
                <a:gd name="T85" fmla="*/ 334 h 1022"/>
                <a:gd name="T86" fmla="*/ 347 w 1195"/>
                <a:gd name="T87" fmla="*/ 316 h 1022"/>
                <a:gd name="T88" fmla="*/ 332 w 1195"/>
                <a:gd name="T89" fmla="*/ 316 h 1022"/>
                <a:gd name="T90" fmla="*/ 305 w 1195"/>
                <a:gd name="T91" fmla="*/ 299 h 1022"/>
                <a:gd name="T92" fmla="*/ 300 w 1195"/>
                <a:gd name="T93" fmla="*/ 283 h 1022"/>
                <a:gd name="T94" fmla="*/ 273 w 1195"/>
                <a:gd name="T95" fmla="*/ 290 h 1022"/>
                <a:gd name="T96" fmla="*/ 265 w 1195"/>
                <a:gd name="T97" fmla="*/ 300 h 1022"/>
                <a:gd name="T98" fmla="*/ 236 w 1195"/>
                <a:gd name="T99" fmla="*/ 288 h 1022"/>
                <a:gd name="T100" fmla="*/ 234 w 1195"/>
                <a:gd name="T101" fmla="*/ 274 h 1022"/>
                <a:gd name="T102" fmla="*/ 254 w 1195"/>
                <a:gd name="T103" fmla="*/ 283 h 1022"/>
                <a:gd name="T104" fmla="*/ 263 w 1195"/>
                <a:gd name="T105" fmla="*/ 263 h 1022"/>
                <a:gd name="T106" fmla="*/ 279 w 1195"/>
                <a:gd name="T107" fmla="*/ 251 h 1022"/>
                <a:gd name="T108" fmla="*/ 293 w 1195"/>
                <a:gd name="T109" fmla="*/ 233 h 1022"/>
                <a:gd name="T110" fmla="*/ 289 w 1195"/>
                <a:gd name="T111" fmla="*/ 203 h 1022"/>
                <a:gd name="T112" fmla="*/ 260 w 1195"/>
                <a:gd name="T113" fmla="*/ 165 h 1022"/>
                <a:gd name="T114" fmla="*/ 232 w 1195"/>
                <a:gd name="T115" fmla="*/ 157 h 1022"/>
                <a:gd name="T116" fmla="*/ 200 w 1195"/>
                <a:gd name="T117" fmla="*/ 126 h 1022"/>
                <a:gd name="T118" fmla="*/ 149 w 1195"/>
                <a:gd name="T119" fmla="*/ 117 h 1022"/>
                <a:gd name="T120" fmla="*/ 110 w 1195"/>
                <a:gd name="T121" fmla="*/ 118 h 1022"/>
                <a:gd name="T122" fmla="*/ 79 w 1195"/>
                <a:gd name="T123" fmla="*/ 128 h 1022"/>
                <a:gd name="T124" fmla="*/ 48 w 1195"/>
                <a:gd name="T125" fmla="*/ 114 h 10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95" h="1022">
                  <a:moveTo>
                    <a:pt x="12" y="324"/>
                  </a:moveTo>
                  <a:lnTo>
                    <a:pt x="0" y="192"/>
                  </a:lnTo>
                  <a:lnTo>
                    <a:pt x="6" y="165"/>
                  </a:lnTo>
                  <a:lnTo>
                    <a:pt x="45" y="147"/>
                  </a:lnTo>
                  <a:lnTo>
                    <a:pt x="99" y="102"/>
                  </a:lnTo>
                  <a:lnTo>
                    <a:pt x="183" y="66"/>
                  </a:lnTo>
                  <a:lnTo>
                    <a:pt x="219" y="51"/>
                  </a:lnTo>
                  <a:lnTo>
                    <a:pt x="219" y="18"/>
                  </a:lnTo>
                  <a:lnTo>
                    <a:pt x="234" y="0"/>
                  </a:lnTo>
                  <a:lnTo>
                    <a:pt x="249" y="3"/>
                  </a:lnTo>
                  <a:lnTo>
                    <a:pt x="303" y="12"/>
                  </a:lnTo>
                  <a:lnTo>
                    <a:pt x="303" y="36"/>
                  </a:lnTo>
                  <a:lnTo>
                    <a:pt x="311" y="75"/>
                  </a:lnTo>
                  <a:lnTo>
                    <a:pt x="306" y="138"/>
                  </a:lnTo>
                  <a:lnTo>
                    <a:pt x="353" y="210"/>
                  </a:lnTo>
                  <a:lnTo>
                    <a:pt x="377" y="225"/>
                  </a:lnTo>
                  <a:lnTo>
                    <a:pt x="416" y="195"/>
                  </a:lnTo>
                  <a:lnTo>
                    <a:pt x="500" y="195"/>
                  </a:lnTo>
                  <a:lnTo>
                    <a:pt x="518" y="204"/>
                  </a:lnTo>
                  <a:lnTo>
                    <a:pt x="530" y="222"/>
                  </a:lnTo>
                  <a:lnTo>
                    <a:pt x="521" y="240"/>
                  </a:lnTo>
                  <a:lnTo>
                    <a:pt x="476" y="279"/>
                  </a:lnTo>
                  <a:lnTo>
                    <a:pt x="482" y="297"/>
                  </a:lnTo>
                  <a:lnTo>
                    <a:pt x="533" y="336"/>
                  </a:lnTo>
                  <a:lnTo>
                    <a:pt x="554" y="336"/>
                  </a:lnTo>
                  <a:lnTo>
                    <a:pt x="560" y="345"/>
                  </a:lnTo>
                  <a:lnTo>
                    <a:pt x="554" y="360"/>
                  </a:lnTo>
                  <a:lnTo>
                    <a:pt x="587" y="384"/>
                  </a:lnTo>
                  <a:lnTo>
                    <a:pt x="662" y="396"/>
                  </a:lnTo>
                  <a:lnTo>
                    <a:pt x="698" y="387"/>
                  </a:lnTo>
                  <a:lnTo>
                    <a:pt x="743" y="342"/>
                  </a:lnTo>
                  <a:lnTo>
                    <a:pt x="800" y="348"/>
                  </a:lnTo>
                  <a:lnTo>
                    <a:pt x="821" y="381"/>
                  </a:lnTo>
                  <a:lnTo>
                    <a:pt x="809" y="411"/>
                  </a:lnTo>
                  <a:lnTo>
                    <a:pt x="812" y="432"/>
                  </a:lnTo>
                  <a:lnTo>
                    <a:pt x="782" y="450"/>
                  </a:lnTo>
                  <a:lnTo>
                    <a:pt x="770" y="465"/>
                  </a:lnTo>
                  <a:lnTo>
                    <a:pt x="773" y="504"/>
                  </a:lnTo>
                  <a:lnTo>
                    <a:pt x="827" y="540"/>
                  </a:lnTo>
                  <a:lnTo>
                    <a:pt x="848" y="534"/>
                  </a:lnTo>
                  <a:lnTo>
                    <a:pt x="911" y="608"/>
                  </a:lnTo>
                  <a:lnTo>
                    <a:pt x="923" y="665"/>
                  </a:lnTo>
                  <a:lnTo>
                    <a:pt x="917" y="692"/>
                  </a:lnTo>
                  <a:lnTo>
                    <a:pt x="959" y="716"/>
                  </a:lnTo>
                  <a:lnTo>
                    <a:pt x="959" y="734"/>
                  </a:lnTo>
                  <a:lnTo>
                    <a:pt x="998" y="743"/>
                  </a:lnTo>
                  <a:lnTo>
                    <a:pt x="1010" y="743"/>
                  </a:lnTo>
                  <a:lnTo>
                    <a:pt x="1010" y="710"/>
                  </a:lnTo>
                  <a:lnTo>
                    <a:pt x="1040" y="707"/>
                  </a:lnTo>
                  <a:lnTo>
                    <a:pt x="1046" y="668"/>
                  </a:lnTo>
                  <a:lnTo>
                    <a:pt x="1025" y="653"/>
                  </a:lnTo>
                  <a:lnTo>
                    <a:pt x="1010" y="635"/>
                  </a:lnTo>
                  <a:lnTo>
                    <a:pt x="1016" y="564"/>
                  </a:lnTo>
                  <a:lnTo>
                    <a:pt x="1034" y="555"/>
                  </a:lnTo>
                  <a:lnTo>
                    <a:pt x="1060" y="567"/>
                  </a:lnTo>
                  <a:lnTo>
                    <a:pt x="1072" y="564"/>
                  </a:lnTo>
                  <a:lnTo>
                    <a:pt x="1078" y="576"/>
                  </a:lnTo>
                  <a:lnTo>
                    <a:pt x="1150" y="611"/>
                  </a:lnTo>
                  <a:lnTo>
                    <a:pt x="1189" y="635"/>
                  </a:lnTo>
                  <a:lnTo>
                    <a:pt x="1195" y="659"/>
                  </a:lnTo>
                  <a:lnTo>
                    <a:pt x="1174" y="689"/>
                  </a:lnTo>
                  <a:lnTo>
                    <a:pt x="1186" y="722"/>
                  </a:lnTo>
                  <a:lnTo>
                    <a:pt x="1180" y="740"/>
                  </a:lnTo>
                  <a:lnTo>
                    <a:pt x="1126" y="743"/>
                  </a:lnTo>
                  <a:lnTo>
                    <a:pt x="1114" y="749"/>
                  </a:lnTo>
                  <a:lnTo>
                    <a:pt x="1117" y="761"/>
                  </a:lnTo>
                  <a:lnTo>
                    <a:pt x="1117" y="776"/>
                  </a:lnTo>
                  <a:lnTo>
                    <a:pt x="1075" y="779"/>
                  </a:lnTo>
                  <a:lnTo>
                    <a:pt x="1054" y="767"/>
                  </a:lnTo>
                  <a:lnTo>
                    <a:pt x="1025" y="767"/>
                  </a:lnTo>
                  <a:lnTo>
                    <a:pt x="1019" y="776"/>
                  </a:lnTo>
                  <a:lnTo>
                    <a:pt x="1025" y="791"/>
                  </a:lnTo>
                  <a:lnTo>
                    <a:pt x="1010" y="806"/>
                  </a:lnTo>
                  <a:lnTo>
                    <a:pt x="1004" y="824"/>
                  </a:lnTo>
                  <a:lnTo>
                    <a:pt x="1034" y="848"/>
                  </a:lnTo>
                  <a:lnTo>
                    <a:pt x="1013" y="887"/>
                  </a:lnTo>
                  <a:lnTo>
                    <a:pt x="1022" y="908"/>
                  </a:lnTo>
                  <a:lnTo>
                    <a:pt x="1019" y="920"/>
                  </a:lnTo>
                  <a:lnTo>
                    <a:pt x="989" y="920"/>
                  </a:lnTo>
                  <a:lnTo>
                    <a:pt x="965" y="929"/>
                  </a:lnTo>
                  <a:lnTo>
                    <a:pt x="983" y="956"/>
                  </a:lnTo>
                  <a:lnTo>
                    <a:pt x="971" y="986"/>
                  </a:lnTo>
                  <a:lnTo>
                    <a:pt x="938" y="995"/>
                  </a:lnTo>
                  <a:lnTo>
                    <a:pt x="941" y="1013"/>
                  </a:lnTo>
                  <a:lnTo>
                    <a:pt x="932" y="1022"/>
                  </a:lnTo>
                  <a:lnTo>
                    <a:pt x="872" y="1019"/>
                  </a:lnTo>
                  <a:lnTo>
                    <a:pt x="848" y="1001"/>
                  </a:lnTo>
                  <a:lnTo>
                    <a:pt x="845" y="965"/>
                  </a:lnTo>
                  <a:lnTo>
                    <a:pt x="830" y="953"/>
                  </a:lnTo>
                  <a:lnTo>
                    <a:pt x="809" y="965"/>
                  </a:lnTo>
                  <a:lnTo>
                    <a:pt x="773" y="929"/>
                  </a:lnTo>
                  <a:lnTo>
                    <a:pt x="746" y="911"/>
                  </a:lnTo>
                  <a:lnTo>
                    <a:pt x="743" y="884"/>
                  </a:lnTo>
                  <a:lnTo>
                    <a:pt x="734" y="863"/>
                  </a:lnTo>
                  <a:lnTo>
                    <a:pt x="722" y="863"/>
                  </a:lnTo>
                  <a:lnTo>
                    <a:pt x="665" y="887"/>
                  </a:lnTo>
                  <a:lnTo>
                    <a:pt x="668" y="917"/>
                  </a:lnTo>
                  <a:lnTo>
                    <a:pt x="647" y="917"/>
                  </a:lnTo>
                  <a:lnTo>
                    <a:pt x="611" y="881"/>
                  </a:lnTo>
                  <a:lnTo>
                    <a:pt x="575" y="878"/>
                  </a:lnTo>
                  <a:lnTo>
                    <a:pt x="563" y="857"/>
                  </a:lnTo>
                  <a:lnTo>
                    <a:pt x="572" y="833"/>
                  </a:lnTo>
                  <a:lnTo>
                    <a:pt x="593" y="854"/>
                  </a:lnTo>
                  <a:lnTo>
                    <a:pt x="620" y="863"/>
                  </a:lnTo>
                  <a:lnTo>
                    <a:pt x="641" y="845"/>
                  </a:lnTo>
                  <a:lnTo>
                    <a:pt x="641" y="806"/>
                  </a:lnTo>
                  <a:lnTo>
                    <a:pt x="662" y="785"/>
                  </a:lnTo>
                  <a:lnTo>
                    <a:pt x="680" y="767"/>
                  </a:lnTo>
                  <a:lnTo>
                    <a:pt x="671" y="746"/>
                  </a:lnTo>
                  <a:lnTo>
                    <a:pt x="716" y="710"/>
                  </a:lnTo>
                  <a:lnTo>
                    <a:pt x="725" y="653"/>
                  </a:lnTo>
                  <a:lnTo>
                    <a:pt x="704" y="623"/>
                  </a:lnTo>
                  <a:lnTo>
                    <a:pt x="692" y="576"/>
                  </a:lnTo>
                  <a:lnTo>
                    <a:pt x="635" y="501"/>
                  </a:lnTo>
                  <a:lnTo>
                    <a:pt x="605" y="513"/>
                  </a:lnTo>
                  <a:lnTo>
                    <a:pt x="566" y="477"/>
                  </a:lnTo>
                  <a:lnTo>
                    <a:pt x="509" y="441"/>
                  </a:lnTo>
                  <a:lnTo>
                    <a:pt x="488" y="387"/>
                  </a:lnTo>
                  <a:lnTo>
                    <a:pt x="446" y="402"/>
                  </a:lnTo>
                  <a:lnTo>
                    <a:pt x="365" y="354"/>
                  </a:lnTo>
                  <a:lnTo>
                    <a:pt x="326" y="375"/>
                  </a:lnTo>
                  <a:lnTo>
                    <a:pt x="267" y="366"/>
                  </a:lnTo>
                  <a:lnTo>
                    <a:pt x="222" y="393"/>
                  </a:lnTo>
                  <a:lnTo>
                    <a:pt x="192" y="393"/>
                  </a:lnTo>
                  <a:lnTo>
                    <a:pt x="147" y="366"/>
                  </a:lnTo>
                  <a:lnTo>
                    <a:pt x="117" y="348"/>
                  </a:lnTo>
                  <a:lnTo>
                    <a:pt x="12" y="324"/>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2" name="Freeform 106"/>
            <p:cNvSpPr>
              <a:spLocks/>
            </p:cNvSpPr>
            <p:nvPr/>
          </p:nvSpPr>
          <p:spPr bwMode="auto">
            <a:xfrm>
              <a:off x="2549774" y="2825775"/>
              <a:ext cx="1676400" cy="1419225"/>
            </a:xfrm>
            <a:custGeom>
              <a:avLst/>
              <a:gdLst>
                <a:gd name="T0" fmla="*/ 0 w 1195"/>
                <a:gd name="T1" fmla="*/ 63 h 1022"/>
                <a:gd name="T2" fmla="*/ 19 w 1195"/>
                <a:gd name="T3" fmla="*/ 48 h 1022"/>
                <a:gd name="T4" fmla="*/ 75 w 1195"/>
                <a:gd name="T5" fmla="*/ 21 h 1022"/>
                <a:gd name="T6" fmla="*/ 90 w 1195"/>
                <a:gd name="T7" fmla="*/ 6 h 1022"/>
                <a:gd name="T8" fmla="*/ 103 w 1195"/>
                <a:gd name="T9" fmla="*/ 3 h 1022"/>
                <a:gd name="T10" fmla="*/ 123 w 1195"/>
                <a:gd name="T11" fmla="*/ 12 h 1022"/>
                <a:gd name="T12" fmla="*/ 125 w 1195"/>
                <a:gd name="T13" fmla="*/ 45 h 1022"/>
                <a:gd name="T14" fmla="*/ 154 w 1195"/>
                <a:gd name="T15" fmla="*/ 73 h 1022"/>
                <a:gd name="T16" fmla="*/ 204 w 1195"/>
                <a:gd name="T17" fmla="*/ 64 h 1022"/>
                <a:gd name="T18" fmla="*/ 218 w 1195"/>
                <a:gd name="T19" fmla="*/ 72 h 1022"/>
                <a:gd name="T20" fmla="*/ 195 w 1195"/>
                <a:gd name="T21" fmla="*/ 91 h 1022"/>
                <a:gd name="T22" fmla="*/ 219 w 1195"/>
                <a:gd name="T23" fmla="*/ 110 h 1022"/>
                <a:gd name="T24" fmla="*/ 229 w 1195"/>
                <a:gd name="T25" fmla="*/ 113 h 1022"/>
                <a:gd name="T26" fmla="*/ 241 w 1195"/>
                <a:gd name="T27" fmla="*/ 125 h 1022"/>
                <a:gd name="T28" fmla="*/ 285 w 1195"/>
                <a:gd name="T29" fmla="*/ 126 h 1022"/>
                <a:gd name="T30" fmla="*/ 328 w 1195"/>
                <a:gd name="T31" fmla="*/ 114 h 1022"/>
                <a:gd name="T32" fmla="*/ 332 w 1195"/>
                <a:gd name="T33" fmla="*/ 134 h 1022"/>
                <a:gd name="T34" fmla="*/ 319 w 1195"/>
                <a:gd name="T35" fmla="*/ 148 h 1022"/>
                <a:gd name="T36" fmla="*/ 317 w 1195"/>
                <a:gd name="T37" fmla="*/ 165 h 1022"/>
                <a:gd name="T38" fmla="*/ 348 w 1195"/>
                <a:gd name="T39" fmla="*/ 175 h 1022"/>
                <a:gd name="T40" fmla="*/ 379 w 1195"/>
                <a:gd name="T41" fmla="*/ 218 h 1022"/>
                <a:gd name="T42" fmla="*/ 393 w 1195"/>
                <a:gd name="T43" fmla="*/ 234 h 1022"/>
                <a:gd name="T44" fmla="*/ 408 w 1195"/>
                <a:gd name="T45" fmla="*/ 243 h 1022"/>
                <a:gd name="T46" fmla="*/ 414 w 1195"/>
                <a:gd name="T47" fmla="*/ 233 h 1022"/>
                <a:gd name="T48" fmla="*/ 429 w 1195"/>
                <a:gd name="T49" fmla="*/ 219 h 1022"/>
                <a:gd name="T50" fmla="*/ 414 w 1195"/>
                <a:gd name="T51" fmla="*/ 208 h 1022"/>
                <a:gd name="T52" fmla="*/ 423 w 1195"/>
                <a:gd name="T53" fmla="*/ 182 h 1022"/>
                <a:gd name="T54" fmla="*/ 438 w 1195"/>
                <a:gd name="T55" fmla="*/ 185 h 1022"/>
                <a:gd name="T56" fmla="*/ 471 w 1195"/>
                <a:gd name="T57" fmla="*/ 200 h 1022"/>
                <a:gd name="T58" fmla="*/ 490 w 1195"/>
                <a:gd name="T59" fmla="*/ 216 h 1022"/>
                <a:gd name="T60" fmla="*/ 486 w 1195"/>
                <a:gd name="T61" fmla="*/ 236 h 1022"/>
                <a:gd name="T62" fmla="*/ 462 w 1195"/>
                <a:gd name="T63" fmla="*/ 243 h 1022"/>
                <a:gd name="T64" fmla="*/ 457 w 1195"/>
                <a:gd name="T65" fmla="*/ 250 h 1022"/>
                <a:gd name="T66" fmla="*/ 440 w 1195"/>
                <a:gd name="T67" fmla="*/ 254 h 1022"/>
                <a:gd name="T68" fmla="*/ 421 w 1195"/>
                <a:gd name="T69" fmla="*/ 251 h 1022"/>
                <a:gd name="T70" fmla="*/ 421 w 1195"/>
                <a:gd name="T71" fmla="*/ 258 h 1022"/>
                <a:gd name="T72" fmla="*/ 411 w 1195"/>
                <a:gd name="T73" fmla="*/ 269 h 1022"/>
                <a:gd name="T74" fmla="*/ 416 w 1195"/>
                <a:gd name="T75" fmla="*/ 290 h 1022"/>
                <a:gd name="T76" fmla="*/ 416 w 1195"/>
                <a:gd name="T77" fmla="*/ 300 h 1022"/>
                <a:gd name="T78" fmla="*/ 396 w 1195"/>
                <a:gd name="T79" fmla="*/ 304 h 1022"/>
                <a:gd name="T80" fmla="*/ 398 w 1195"/>
                <a:gd name="T81" fmla="*/ 322 h 1022"/>
                <a:gd name="T82" fmla="*/ 387 w 1195"/>
                <a:gd name="T83" fmla="*/ 331 h 1022"/>
                <a:gd name="T84" fmla="*/ 358 w 1195"/>
                <a:gd name="T85" fmla="*/ 334 h 1022"/>
                <a:gd name="T86" fmla="*/ 347 w 1195"/>
                <a:gd name="T87" fmla="*/ 316 h 1022"/>
                <a:gd name="T88" fmla="*/ 332 w 1195"/>
                <a:gd name="T89" fmla="*/ 316 h 1022"/>
                <a:gd name="T90" fmla="*/ 305 w 1195"/>
                <a:gd name="T91" fmla="*/ 299 h 1022"/>
                <a:gd name="T92" fmla="*/ 300 w 1195"/>
                <a:gd name="T93" fmla="*/ 283 h 1022"/>
                <a:gd name="T94" fmla="*/ 273 w 1195"/>
                <a:gd name="T95" fmla="*/ 290 h 1022"/>
                <a:gd name="T96" fmla="*/ 265 w 1195"/>
                <a:gd name="T97" fmla="*/ 300 h 1022"/>
                <a:gd name="T98" fmla="*/ 236 w 1195"/>
                <a:gd name="T99" fmla="*/ 288 h 1022"/>
                <a:gd name="T100" fmla="*/ 234 w 1195"/>
                <a:gd name="T101" fmla="*/ 274 h 1022"/>
                <a:gd name="T102" fmla="*/ 254 w 1195"/>
                <a:gd name="T103" fmla="*/ 283 h 1022"/>
                <a:gd name="T104" fmla="*/ 263 w 1195"/>
                <a:gd name="T105" fmla="*/ 263 h 1022"/>
                <a:gd name="T106" fmla="*/ 279 w 1195"/>
                <a:gd name="T107" fmla="*/ 251 h 1022"/>
                <a:gd name="T108" fmla="*/ 293 w 1195"/>
                <a:gd name="T109" fmla="*/ 233 h 1022"/>
                <a:gd name="T110" fmla="*/ 289 w 1195"/>
                <a:gd name="T111" fmla="*/ 203 h 1022"/>
                <a:gd name="T112" fmla="*/ 260 w 1195"/>
                <a:gd name="T113" fmla="*/ 165 h 1022"/>
                <a:gd name="T114" fmla="*/ 232 w 1195"/>
                <a:gd name="T115" fmla="*/ 157 h 1022"/>
                <a:gd name="T116" fmla="*/ 200 w 1195"/>
                <a:gd name="T117" fmla="*/ 126 h 1022"/>
                <a:gd name="T118" fmla="*/ 149 w 1195"/>
                <a:gd name="T119" fmla="*/ 117 h 1022"/>
                <a:gd name="T120" fmla="*/ 110 w 1195"/>
                <a:gd name="T121" fmla="*/ 118 h 1022"/>
                <a:gd name="T122" fmla="*/ 79 w 1195"/>
                <a:gd name="T123" fmla="*/ 128 h 1022"/>
                <a:gd name="T124" fmla="*/ 48 w 1195"/>
                <a:gd name="T125" fmla="*/ 114 h 10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95" h="1022">
                  <a:moveTo>
                    <a:pt x="12" y="324"/>
                  </a:moveTo>
                  <a:lnTo>
                    <a:pt x="0" y="192"/>
                  </a:lnTo>
                  <a:lnTo>
                    <a:pt x="6" y="165"/>
                  </a:lnTo>
                  <a:lnTo>
                    <a:pt x="45" y="147"/>
                  </a:lnTo>
                  <a:lnTo>
                    <a:pt x="99" y="102"/>
                  </a:lnTo>
                  <a:lnTo>
                    <a:pt x="183" y="66"/>
                  </a:lnTo>
                  <a:lnTo>
                    <a:pt x="219" y="51"/>
                  </a:lnTo>
                  <a:lnTo>
                    <a:pt x="219" y="18"/>
                  </a:lnTo>
                  <a:lnTo>
                    <a:pt x="234" y="0"/>
                  </a:lnTo>
                  <a:lnTo>
                    <a:pt x="249" y="3"/>
                  </a:lnTo>
                  <a:lnTo>
                    <a:pt x="303" y="12"/>
                  </a:lnTo>
                  <a:lnTo>
                    <a:pt x="303" y="36"/>
                  </a:lnTo>
                  <a:lnTo>
                    <a:pt x="311" y="75"/>
                  </a:lnTo>
                  <a:lnTo>
                    <a:pt x="306" y="138"/>
                  </a:lnTo>
                  <a:lnTo>
                    <a:pt x="353" y="210"/>
                  </a:lnTo>
                  <a:lnTo>
                    <a:pt x="377" y="225"/>
                  </a:lnTo>
                  <a:lnTo>
                    <a:pt x="416" y="195"/>
                  </a:lnTo>
                  <a:lnTo>
                    <a:pt x="500" y="195"/>
                  </a:lnTo>
                  <a:lnTo>
                    <a:pt x="518" y="204"/>
                  </a:lnTo>
                  <a:lnTo>
                    <a:pt x="530" y="222"/>
                  </a:lnTo>
                  <a:lnTo>
                    <a:pt x="521" y="240"/>
                  </a:lnTo>
                  <a:lnTo>
                    <a:pt x="476" y="279"/>
                  </a:lnTo>
                  <a:lnTo>
                    <a:pt x="482" y="297"/>
                  </a:lnTo>
                  <a:lnTo>
                    <a:pt x="533" y="336"/>
                  </a:lnTo>
                  <a:lnTo>
                    <a:pt x="554" y="336"/>
                  </a:lnTo>
                  <a:lnTo>
                    <a:pt x="560" y="345"/>
                  </a:lnTo>
                  <a:lnTo>
                    <a:pt x="554" y="360"/>
                  </a:lnTo>
                  <a:lnTo>
                    <a:pt x="587" y="384"/>
                  </a:lnTo>
                  <a:lnTo>
                    <a:pt x="662" y="396"/>
                  </a:lnTo>
                  <a:lnTo>
                    <a:pt x="698" y="387"/>
                  </a:lnTo>
                  <a:lnTo>
                    <a:pt x="743" y="342"/>
                  </a:lnTo>
                  <a:lnTo>
                    <a:pt x="800" y="348"/>
                  </a:lnTo>
                  <a:lnTo>
                    <a:pt x="821" y="381"/>
                  </a:lnTo>
                  <a:lnTo>
                    <a:pt x="809" y="411"/>
                  </a:lnTo>
                  <a:lnTo>
                    <a:pt x="812" y="432"/>
                  </a:lnTo>
                  <a:lnTo>
                    <a:pt x="782" y="450"/>
                  </a:lnTo>
                  <a:lnTo>
                    <a:pt x="770" y="465"/>
                  </a:lnTo>
                  <a:lnTo>
                    <a:pt x="773" y="504"/>
                  </a:lnTo>
                  <a:lnTo>
                    <a:pt x="827" y="540"/>
                  </a:lnTo>
                  <a:lnTo>
                    <a:pt x="848" y="534"/>
                  </a:lnTo>
                  <a:lnTo>
                    <a:pt x="911" y="608"/>
                  </a:lnTo>
                  <a:lnTo>
                    <a:pt x="923" y="665"/>
                  </a:lnTo>
                  <a:lnTo>
                    <a:pt x="917" y="692"/>
                  </a:lnTo>
                  <a:lnTo>
                    <a:pt x="959" y="716"/>
                  </a:lnTo>
                  <a:lnTo>
                    <a:pt x="959" y="734"/>
                  </a:lnTo>
                  <a:lnTo>
                    <a:pt x="998" y="743"/>
                  </a:lnTo>
                  <a:lnTo>
                    <a:pt x="1010" y="743"/>
                  </a:lnTo>
                  <a:lnTo>
                    <a:pt x="1010" y="710"/>
                  </a:lnTo>
                  <a:lnTo>
                    <a:pt x="1040" y="707"/>
                  </a:lnTo>
                  <a:lnTo>
                    <a:pt x="1046" y="668"/>
                  </a:lnTo>
                  <a:lnTo>
                    <a:pt x="1025" y="653"/>
                  </a:lnTo>
                  <a:lnTo>
                    <a:pt x="1010" y="635"/>
                  </a:lnTo>
                  <a:lnTo>
                    <a:pt x="1016" y="564"/>
                  </a:lnTo>
                  <a:lnTo>
                    <a:pt x="1034" y="555"/>
                  </a:lnTo>
                  <a:lnTo>
                    <a:pt x="1060" y="567"/>
                  </a:lnTo>
                  <a:lnTo>
                    <a:pt x="1072" y="564"/>
                  </a:lnTo>
                  <a:lnTo>
                    <a:pt x="1078" y="576"/>
                  </a:lnTo>
                  <a:lnTo>
                    <a:pt x="1150" y="611"/>
                  </a:lnTo>
                  <a:lnTo>
                    <a:pt x="1189" y="635"/>
                  </a:lnTo>
                  <a:lnTo>
                    <a:pt x="1195" y="659"/>
                  </a:lnTo>
                  <a:lnTo>
                    <a:pt x="1174" y="689"/>
                  </a:lnTo>
                  <a:lnTo>
                    <a:pt x="1186" y="722"/>
                  </a:lnTo>
                  <a:lnTo>
                    <a:pt x="1180" y="740"/>
                  </a:lnTo>
                  <a:lnTo>
                    <a:pt x="1126" y="743"/>
                  </a:lnTo>
                  <a:lnTo>
                    <a:pt x="1114" y="749"/>
                  </a:lnTo>
                  <a:lnTo>
                    <a:pt x="1117" y="761"/>
                  </a:lnTo>
                  <a:lnTo>
                    <a:pt x="1117" y="776"/>
                  </a:lnTo>
                  <a:lnTo>
                    <a:pt x="1075" y="779"/>
                  </a:lnTo>
                  <a:lnTo>
                    <a:pt x="1054" y="767"/>
                  </a:lnTo>
                  <a:lnTo>
                    <a:pt x="1025" y="767"/>
                  </a:lnTo>
                  <a:lnTo>
                    <a:pt x="1019" y="776"/>
                  </a:lnTo>
                  <a:lnTo>
                    <a:pt x="1025" y="791"/>
                  </a:lnTo>
                  <a:lnTo>
                    <a:pt x="1010" y="806"/>
                  </a:lnTo>
                  <a:lnTo>
                    <a:pt x="1004" y="824"/>
                  </a:lnTo>
                  <a:lnTo>
                    <a:pt x="1034" y="848"/>
                  </a:lnTo>
                  <a:lnTo>
                    <a:pt x="1013" y="887"/>
                  </a:lnTo>
                  <a:lnTo>
                    <a:pt x="1022" y="908"/>
                  </a:lnTo>
                  <a:lnTo>
                    <a:pt x="1019" y="920"/>
                  </a:lnTo>
                  <a:lnTo>
                    <a:pt x="989" y="920"/>
                  </a:lnTo>
                  <a:lnTo>
                    <a:pt x="965" y="929"/>
                  </a:lnTo>
                  <a:lnTo>
                    <a:pt x="983" y="956"/>
                  </a:lnTo>
                  <a:lnTo>
                    <a:pt x="971" y="986"/>
                  </a:lnTo>
                  <a:lnTo>
                    <a:pt x="938" y="995"/>
                  </a:lnTo>
                  <a:lnTo>
                    <a:pt x="941" y="1013"/>
                  </a:lnTo>
                  <a:lnTo>
                    <a:pt x="932" y="1022"/>
                  </a:lnTo>
                  <a:lnTo>
                    <a:pt x="872" y="1019"/>
                  </a:lnTo>
                  <a:lnTo>
                    <a:pt x="848" y="1001"/>
                  </a:lnTo>
                  <a:lnTo>
                    <a:pt x="845" y="965"/>
                  </a:lnTo>
                  <a:lnTo>
                    <a:pt x="830" y="953"/>
                  </a:lnTo>
                  <a:lnTo>
                    <a:pt x="809" y="965"/>
                  </a:lnTo>
                  <a:lnTo>
                    <a:pt x="773" y="929"/>
                  </a:lnTo>
                  <a:lnTo>
                    <a:pt x="746" y="911"/>
                  </a:lnTo>
                  <a:lnTo>
                    <a:pt x="743" y="884"/>
                  </a:lnTo>
                  <a:lnTo>
                    <a:pt x="734" y="863"/>
                  </a:lnTo>
                  <a:lnTo>
                    <a:pt x="722" y="863"/>
                  </a:lnTo>
                  <a:lnTo>
                    <a:pt x="665" y="887"/>
                  </a:lnTo>
                  <a:lnTo>
                    <a:pt x="668" y="917"/>
                  </a:lnTo>
                  <a:lnTo>
                    <a:pt x="647" y="917"/>
                  </a:lnTo>
                  <a:lnTo>
                    <a:pt x="611" y="881"/>
                  </a:lnTo>
                  <a:lnTo>
                    <a:pt x="575" y="878"/>
                  </a:lnTo>
                  <a:lnTo>
                    <a:pt x="563" y="857"/>
                  </a:lnTo>
                  <a:lnTo>
                    <a:pt x="572" y="833"/>
                  </a:lnTo>
                  <a:lnTo>
                    <a:pt x="593" y="854"/>
                  </a:lnTo>
                  <a:lnTo>
                    <a:pt x="620" y="863"/>
                  </a:lnTo>
                  <a:lnTo>
                    <a:pt x="641" y="845"/>
                  </a:lnTo>
                  <a:lnTo>
                    <a:pt x="641" y="806"/>
                  </a:lnTo>
                  <a:lnTo>
                    <a:pt x="662" y="785"/>
                  </a:lnTo>
                  <a:lnTo>
                    <a:pt x="680" y="767"/>
                  </a:lnTo>
                  <a:lnTo>
                    <a:pt x="671" y="746"/>
                  </a:lnTo>
                  <a:lnTo>
                    <a:pt x="716" y="710"/>
                  </a:lnTo>
                  <a:lnTo>
                    <a:pt x="725" y="653"/>
                  </a:lnTo>
                  <a:lnTo>
                    <a:pt x="704" y="623"/>
                  </a:lnTo>
                  <a:lnTo>
                    <a:pt x="692" y="576"/>
                  </a:lnTo>
                  <a:lnTo>
                    <a:pt x="635" y="501"/>
                  </a:lnTo>
                  <a:lnTo>
                    <a:pt x="605" y="513"/>
                  </a:lnTo>
                  <a:lnTo>
                    <a:pt x="566" y="477"/>
                  </a:lnTo>
                  <a:lnTo>
                    <a:pt x="509" y="441"/>
                  </a:lnTo>
                  <a:lnTo>
                    <a:pt x="488" y="387"/>
                  </a:lnTo>
                  <a:lnTo>
                    <a:pt x="446" y="402"/>
                  </a:lnTo>
                  <a:lnTo>
                    <a:pt x="365" y="354"/>
                  </a:lnTo>
                  <a:lnTo>
                    <a:pt x="326" y="375"/>
                  </a:lnTo>
                  <a:lnTo>
                    <a:pt x="267" y="366"/>
                  </a:lnTo>
                  <a:lnTo>
                    <a:pt x="222" y="393"/>
                  </a:lnTo>
                  <a:lnTo>
                    <a:pt x="192" y="393"/>
                  </a:lnTo>
                  <a:lnTo>
                    <a:pt x="147" y="366"/>
                  </a:lnTo>
                  <a:lnTo>
                    <a:pt x="117" y="348"/>
                  </a:lnTo>
                  <a:lnTo>
                    <a:pt x="12" y="324"/>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3" name="Freeform 107"/>
            <p:cNvSpPr>
              <a:spLocks/>
            </p:cNvSpPr>
            <p:nvPr/>
          </p:nvSpPr>
          <p:spPr bwMode="auto">
            <a:xfrm>
              <a:off x="395536" y="1820887"/>
              <a:ext cx="2481263" cy="1860550"/>
            </a:xfrm>
            <a:custGeom>
              <a:avLst/>
              <a:gdLst>
                <a:gd name="T0" fmla="*/ 501 w 1768"/>
                <a:gd name="T1" fmla="*/ 15 h 1342"/>
                <a:gd name="T2" fmla="*/ 523 w 1768"/>
                <a:gd name="T3" fmla="*/ 37 h 1342"/>
                <a:gd name="T4" fmla="*/ 556 w 1768"/>
                <a:gd name="T5" fmla="*/ 53 h 1342"/>
                <a:gd name="T6" fmla="*/ 581 w 1768"/>
                <a:gd name="T7" fmla="*/ 96 h 1342"/>
                <a:gd name="T8" fmla="*/ 566 w 1768"/>
                <a:gd name="T9" fmla="*/ 129 h 1342"/>
                <a:gd name="T10" fmla="*/ 646 w 1768"/>
                <a:gd name="T11" fmla="*/ 155 h 1342"/>
                <a:gd name="T12" fmla="*/ 700 w 1768"/>
                <a:gd name="T13" fmla="*/ 189 h 1342"/>
                <a:gd name="T14" fmla="*/ 728 w 1768"/>
                <a:gd name="T15" fmla="*/ 236 h 1342"/>
                <a:gd name="T16" fmla="*/ 707 w 1768"/>
                <a:gd name="T17" fmla="*/ 257 h 1342"/>
                <a:gd name="T18" fmla="*/ 634 w 1768"/>
                <a:gd name="T19" fmla="*/ 289 h 1342"/>
                <a:gd name="T20" fmla="*/ 624 w 1768"/>
                <a:gd name="T21" fmla="*/ 338 h 1342"/>
                <a:gd name="T22" fmla="*/ 519 w 1768"/>
                <a:gd name="T23" fmla="*/ 363 h 1342"/>
                <a:gd name="T24" fmla="*/ 538 w 1768"/>
                <a:gd name="T25" fmla="*/ 408 h 1342"/>
                <a:gd name="T26" fmla="*/ 527 w 1768"/>
                <a:gd name="T27" fmla="*/ 424 h 1342"/>
                <a:gd name="T28" fmla="*/ 512 w 1768"/>
                <a:gd name="T29" fmla="*/ 433 h 1342"/>
                <a:gd name="T30" fmla="*/ 469 w 1768"/>
                <a:gd name="T31" fmla="*/ 427 h 1342"/>
                <a:gd name="T32" fmla="*/ 399 w 1768"/>
                <a:gd name="T33" fmla="*/ 418 h 1342"/>
                <a:gd name="T34" fmla="*/ 328 w 1768"/>
                <a:gd name="T35" fmla="*/ 429 h 1342"/>
                <a:gd name="T36" fmla="*/ 274 w 1768"/>
                <a:gd name="T37" fmla="*/ 422 h 1342"/>
                <a:gd name="T38" fmla="*/ 210 w 1768"/>
                <a:gd name="T39" fmla="*/ 424 h 1342"/>
                <a:gd name="T40" fmla="*/ 174 w 1768"/>
                <a:gd name="T41" fmla="*/ 412 h 1342"/>
                <a:gd name="T42" fmla="*/ 136 w 1768"/>
                <a:gd name="T43" fmla="*/ 392 h 1342"/>
                <a:gd name="T44" fmla="*/ 55 w 1768"/>
                <a:gd name="T45" fmla="*/ 379 h 1342"/>
                <a:gd name="T46" fmla="*/ 45 w 1768"/>
                <a:gd name="T47" fmla="*/ 356 h 1342"/>
                <a:gd name="T48" fmla="*/ 29 w 1768"/>
                <a:gd name="T49" fmla="*/ 338 h 1342"/>
                <a:gd name="T50" fmla="*/ 16 w 1768"/>
                <a:gd name="T51" fmla="*/ 321 h 1342"/>
                <a:gd name="T52" fmla="*/ 27 w 1768"/>
                <a:gd name="T53" fmla="*/ 302 h 1342"/>
                <a:gd name="T54" fmla="*/ 5 w 1768"/>
                <a:gd name="T55" fmla="*/ 277 h 1342"/>
                <a:gd name="T56" fmla="*/ 5 w 1768"/>
                <a:gd name="T57" fmla="*/ 251 h 1342"/>
                <a:gd name="T58" fmla="*/ 17 w 1768"/>
                <a:gd name="T59" fmla="*/ 234 h 1342"/>
                <a:gd name="T60" fmla="*/ 59 w 1768"/>
                <a:gd name="T61" fmla="*/ 222 h 1342"/>
                <a:gd name="T62" fmla="*/ 78 w 1768"/>
                <a:gd name="T63" fmla="*/ 224 h 1342"/>
                <a:gd name="T64" fmla="*/ 102 w 1768"/>
                <a:gd name="T65" fmla="*/ 232 h 1342"/>
                <a:gd name="T66" fmla="*/ 174 w 1768"/>
                <a:gd name="T67" fmla="*/ 214 h 1342"/>
                <a:gd name="T68" fmla="*/ 237 w 1768"/>
                <a:gd name="T69" fmla="*/ 182 h 1342"/>
                <a:gd name="T70" fmla="*/ 257 w 1768"/>
                <a:gd name="T71" fmla="*/ 168 h 1342"/>
                <a:gd name="T72" fmla="*/ 246 w 1768"/>
                <a:gd name="T73" fmla="*/ 114 h 1342"/>
                <a:gd name="T74" fmla="*/ 301 w 1768"/>
                <a:gd name="T75" fmla="*/ 105 h 1342"/>
                <a:gd name="T76" fmla="*/ 325 w 1768"/>
                <a:gd name="T77" fmla="*/ 114 h 1342"/>
                <a:gd name="T78" fmla="*/ 351 w 1768"/>
                <a:gd name="T79" fmla="*/ 55 h 1342"/>
                <a:gd name="T80" fmla="*/ 397 w 1768"/>
                <a:gd name="T81" fmla="*/ 63 h 1342"/>
                <a:gd name="T82" fmla="*/ 436 w 1768"/>
                <a:gd name="T83" fmla="*/ 27 h 1342"/>
                <a:gd name="T84" fmla="*/ 469 w 1768"/>
                <a:gd name="T85" fmla="*/ 13 h 1342"/>
                <a:gd name="T86" fmla="*/ 498 w 1768"/>
                <a:gd name="T87" fmla="*/ 4 h 13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68" h="1342">
                  <a:moveTo>
                    <a:pt x="1207" y="12"/>
                  </a:moveTo>
                  <a:lnTo>
                    <a:pt x="1225" y="12"/>
                  </a:lnTo>
                  <a:lnTo>
                    <a:pt x="1213" y="48"/>
                  </a:lnTo>
                  <a:lnTo>
                    <a:pt x="1228" y="66"/>
                  </a:lnTo>
                  <a:lnTo>
                    <a:pt x="1231" y="78"/>
                  </a:lnTo>
                  <a:lnTo>
                    <a:pt x="1267" y="114"/>
                  </a:lnTo>
                  <a:lnTo>
                    <a:pt x="1276" y="141"/>
                  </a:lnTo>
                  <a:lnTo>
                    <a:pt x="1324" y="144"/>
                  </a:lnTo>
                  <a:lnTo>
                    <a:pt x="1345" y="162"/>
                  </a:lnTo>
                  <a:lnTo>
                    <a:pt x="1357" y="162"/>
                  </a:lnTo>
                  <a:lnTo>
                    <a:pt x="1384" y="222"/>
                  </a:lnTo>
                  <a:lnTo>
                    <a:pt x="1411" y="294"/>
                  </a:lnTo>
                  <a:lnTo>
                    <a:pt x="1396" y="336"/>
                  </a:lnTo>
                  <a:lnTo>
                    <a:pt x="1399" y="351"/>
                  </a:lnTo>
                  <a:lnTo>
                    <a:pt x="1375" y="396"/>
                  </a:lnTo>
                  <a:lnTo>
                    <a:pt x="1381" y="429"/>
                  </a:lnTo>
                  <a:lnTo>
                    <a:pt x="1471" y="468"/>
                  </a:lnTo>
                  <a:lnTo>
                    <a:pt x="1567" y="480"/>
                  </a:lnTo>
                  <a:lnTo>
                    <a:pt x="1666" y="549"/>
                  </a:lnTo>
                  <a:lnTo>
                    <a:pt x="1696" y="561"/>
                  </a:lnTo>
                  <a:lnTo>
                    <a:pt x="1699" y="579"/>
                  </a:lnTo>
                  <a:lnTo>
                    <a:pt x="1720" y="623"/>
                  </a:lnTo>
                  <a:lnTo>
                    <a:pt x="1741" y="677"/>
                  </a:lnTo>
                  <a:lnTo>
                    <a:pt x="1768" y="725"/>
                  </a:lnTo>
                  <a:lnTo>
                    <a:pt x="1753" y="743"/>
                  </a:lnTo>
                  <a:lnTo>
                    <a:pt x="1753" y="776"/>
                  </a:lnTo>
                  <a:lnTo>
                    <a:pt x="1717" y="791"/>
                  </a:lnTo>
                  <a:lnTo>
                    <a:pt x="1633" y="827"/>
                  </a:lnTo>
                  <a:lnTo>
                    <a:pt x="1579" y="872"/>
                  </a:lnTo>
                  <a:lnTo>
                    <a:pt x="1540" y="890"/>
                  </a:lnTo>
                  <a:lnTo>
                    <a:pt x="1534" y="917"/>
                  </a:lnTo>
                  <a:lnTo>
                    <a:pt x="1546" y="1049"/>
                  </a:lnTo>
                  <a:lnTo>
                    <a:pt x="1513" y="1043"/>
                  </a:lnTo>
                  <a:lnTo>
                    <a:pt x="1498" y="1055"/>
                  </a:lnTo>
                  <a:lnTo>
                    <a:pt x="1291" y="1097"/>
                  </a:lnTo>
                  <a:lnTo>
                    <a:pt x="1261" y="1118"/>
                  </a:lnTo>
                  <a:lnTo>
                    <a:pt x="1264" y="1175"/>
                  </a:lnTo>
                  <a:lnTo>
                    <a:pt x="1327" y="1226"/>
                  </a:lnTo>
                  <a:lnTo>
                    <a:pt x="1306" y="1259"/>
                  </a:lnTo>
                  <a:lnTo>
                    <a:pt x="1276" y="1274"/>
                  </a:lnTo>
                  <a:lnTo>
                    <a:pt x="1273" y="1289"/>
                  </a:lnTo>
                  <a:lnTo>
                    <a:pt x="1279" y="1307"/>
                  </a:lnTo>
                  <a:lnTo>
                    <a:pt x="1294" y="1307"/>
                  </a:lnTo>
                  <a:lnTo>
                    <a:pt x="1303" y="1319"/>
                  </a:lnTo>
                  <a:lnTo>
                    <a:pt x="1243" y="1339"/>
                  </a:lnTo>
                  <a:lnTo>
                    <a:pt x="1207" y="1325"/>
                  </a:lnTo>
                  <a:lnTo>
                    <a:pt x="1189" y="1316"/>
                  </a:lnTo>
                  <a:lnTo>
                    <a:pt x="1141" y="1316"/>
                  </a:lnTo>
                  <a:lnTo>
                    <a:pt x="1061" y="1277"/>
                  </a:lnTo>
                  <a:lnTo>
                    <a:pt x="1010" y="1277"/>
                  </a:lnTo>
                  <a:lnTo>
                    <a:pt x="968" y="1289"/>
                  </a:lnTo>
                  <a:lnTo>
                    <a:pt x="923" y="1289"/>
                  </a:lnTo>
                  <a:lnTo>
                    <a:pt x="851" y="1328"/>
                  </a:lnTo>
                  <a:lnTo>
                    <a:pt x="794" y="1322"/>
                  </a:lnTo>
                  <a:lnTo>
                    <a:pt x="740" y="1342"/>
                  </a:lnTo>
                  <a:lnTo>
                    <a:pt x="692" y="1325"/>
                  </a:lnTo>
                  <a:lnTo>
                    <a:pt x="662" y="1301"/>
                  </a:lnTo>
                  <a:lnTo>
                    <a:pt x="587" y="1289"/>
                  </a:lnTo>
                  <a:lnTo>
                    <a:pt x="536" y="1325"/>
                  </a:lnTo>
                  <a:lnTo>
                    <a:pt x="509" y="1313"/>
                  </a:lnTo>
                  <a:lnTo>
                    <a:pt x="488" y="1295"/>
                  </a:lnTo>
                  <a:lnTo>
                    <a:pt x="431" y="1280"/>
                  </a:lnTo>
                  <a:lnTo>
                    <a:pt x="422" y="1271"/>
                  </a:lnTo>
                  <a:lnTo>
                    <a:pt x="401" y="1271"/>
                  </a:lnTo>
                  <a:lnTo>
                    <a:pt x="365" y="1217"/>
                  </a:lnTo>
                  <a:lnTo>
                    <a:pt x="333" y="1208"/>
                  </a:lnTo>
                  <a:lnTo>
                    <a:pt x="246" y="1235"/>
                  </a:lnTo>
                  <a:lnTo>
                    <a:pt x="210" y="1226"/>
                  </a:lnTo>
                  <a:lnTo>
                    <a:pt x="135" y="1172"/>
                  </a:lnTo>
                  <a:lnTo>
                    <a:pt x="114" y="1169"/>
                  </a:lnTo>
                  <a:lnTo>
                    <a:pt x="99" y="1133"/>
                  </a:lnTo>
                  <a:lnTo>
                    <a:pt x="111" y="1097"/>
                  </a:lnTo>
                  <a:lnTo>
                    <a:pt x="105" y="1079"/>
                  </a:lnTo>
                  <a:lnTo>
                    <a:pt x="78" y="1061"/>
                  </a:lnTo>
                  <a:lnTo>
                    <a:pt x="69" y="1043"/>
                  </a:lnTo>
                  <a:lnTo>
                    <a:pt x="12" y="1010"/>
                  </a:lnTo>
                  <a:lnTo>
                    <a:pt x="12" y="1001"/>
                  </a:lnTo>
                  <a:lnTo>
                    <a:pt x="39" y="989"/>
                  </a:lnTo>
                  <a:lnTo>
                    <a:pt x="57" y="998"/>
                  </a:lnTo>
                  <a:lnTo>
                    <a:pt x="72" y="983"/>
                  </a:lnTo>
                  <a:lnTo>
                    <a:pt x="66" y="929"/>
                  </a:lnTo>
                  <a:lnTo>
                    <a:pt x="72" y="884"/>
                  </a:lnTo>
                  <a:lnTo>
                    <a:pt x="36" y="845"/>
                  </a:lnTo>
                  <a:lnTo>
                    <a:pt x="9" y="854"/>
                  </a:lnTo>
                  <a:lnTo>
                    <a:pt x="0" y="827"/>
                  </a:lnTo>
                  <a:lnTo>
                    <a:pt x="15" y="800"/>
                  </a:lnTo>
                  <a:lnTo>
                    <a:pt x="6" y="773"/>
                  </a:lnTo>
                  <a:lnTo>
                    <a:pt x="30" y="752"/>
                  </a:lnTo>
                  <a:lnTo>
                    <a:pt x="42" y="743"/>
                  </a:lnTo>
                  <a:lnTo>
                    <a:pt x="42" y="722"/>
                  </a:lnTo>
                  <a:lnTo>
                    <a:pt x="75" y="704"/>
                  </a:lnTo>
                  <a:lnTo>
                    <a:pt x="111" y="698"/>
                  </a:lnTo>
                  <a:lnTo>
                    <a:pt x="141" y="686"/>
                  </a:lnTo>
                  <a:lnTo>
                    <a:pt x="165" y="695"/>
                  </a:lnTo>
                  <a:lnTo>
                    <a:pt x="183" y="686"/>
                  </a:lnTo>
                  <a:lnTo>
                    <a:pt x="189" y="692"/>
                  </a:lnTo>
                  <a:lnTo>
                    <a:pt x="192" y="713"/>
                  </a:lnTo>
                  <a:lnTo>
                    <a:pt x="207" y="722"/>
                  </a:lnTo>
                  <a:lnTo>
                    <a:pt x="246" y="719"/>
                  </a:lnTo>
                  <a:lnTo>
                    <a:pt x="291" y="671"/>
                  </a:lnTo>
                  <a:lnTo>
                    <a:pt x="377" y="689"/>
                  </a:lnTo>
                  <a:lnTo>
                    <a:pt x="422" y="659"/>
                  </a:lnTo>
                  <a:lnTo>
                    <a:pt x="554" y="629"/>
                  </a:lnTo>
                  <a:lnTo>
                    <a:pt x="563" y="611"/>
                  </a:lnTo>
                  <a:lnTo>
                    <a:pt x="575" y="561"/>
                  </a:lnTo>
                  <a:lnTo>
                    <a:pt x="611" y="531"/>
                  </a:lnTo>
                  <a:lnTo>
                    <a:pt x="623" y="531"/>
                  </a:lnTo>
                  <a:lnTo>
                    <a:pt x="623" y="516"/>
                  </a:lnTo>
                  <a:lnTo>
                    <a:pt x="626" y="390"/>
                  </a:lnTo>
                  <a:lnTo>
                    <a:pt x="632" y="366"/>
                  </a:lnTo>
                  <a:lnTo>
                    <a:pt x="596" y="351"/>
                  </a:lnTo>
                  <a:lnTo>
                    <a:pt x="593" y="342"/>
                  </a:lnTo>
                  <a:lnTo>
                    <a:pt x="632" y="330"/>
                  </a:lnTo>
                  <a:lnTo>
                    <a:pt x="731" y="321"/>
                  </a:lnTo>
                  <a:lnTo>
                    <a:pt x="746" y="342"/>
                  </a:lnTo>
                  <a:lnTo>
                    <a:pt x="779" y="351"/>
                  </a:lnTo>
                  <a:lnTo>
                    <a:pt x="788" y="351"/>
                  </a:lnTo>
                  <a:lnTo>
                    <a:pt x="803" y="333"/>
                  </a:lnTo>
                  <a:lnTo>
                    <a:pt x="785" y="315"/>
                  </a:lnTo>
                  <a:lnTo>
                    <a:pt x="857" y="168"/>
                  </a:lnTo>
                  <a:lnTo>
                    <a:pt x="869" y="159"/>
                  </a:lnTo>
                  <a:lnTo>
                    <a:pt x="935" y="192"/>
                  </a:lnTo>
                  <a:lnTo>
                    <a:pt x="965" y="192"/>
                  </a:lnTo>
                  <a:lnTo>
                    <a:pt x="977" y="210"/>
                  </a:lnTo>
                  <a:lnTo>
                    <a:pt x="1040" y="192"/>
                  </a:lnTo>
                  <a:lnTo>
                    <a:pt x="1058" y="84"/>
                  </a:lnTo>
                  <a:lnTo>
                    <a:pt x="1085" y="66"/>
                  </a:lnTo>
                  <a:lnTo>
                    <a:pt x="1117" y="66"/>
                  </a:lnTo>
                  <a:lnTo>
                    <a:pt x="1138" y="39"/>
                  </a:lnTo>
                  <a:lnTo>
                    <a:pt x="1147" y="12"/>
                  </a:lnTo>
                  <a:lnTo>
                    <a:pt x="1165" y="0"/>
                  </a:lnTo>
                  <a:lnTo>
                    <a:pt x="1207" y="1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4" name="Freeform 108"/>
            <p:cNvSpPr>
              <a:spLocks/>
            </p:cNvSpPr>
            <p:nvPr/>
          </p:nvSpPr>
          <p:spPr bwMode="auto">
            <a:xfrm>
              <a:off x="395536" y="1820887"/>
              <a:ext cx="2481263" cy="1860550"/>
            </a:xfrm>
            <a:custGeom>
              <a:avLst/>
              <a:gdLst>
                <a:gd name="T0" fmla="*/ 501 w 1768"/>
                <a:gd name="T1" fmla="*/ 15 h 1342"/>
                <a:gd name="T2" fmla="*/ 523 w 1768"/>
                <a:gd name="T3" fmla="*/ 37 h 1342"/>
                <a:gd name="T4" fmla="*/ 556 w 1768"/>
                <a:gd name="T5" fmla="*/ 53 h 1342"/>
                <a:gd name="T6" fmla="*/ 581 w 1768"/>
                <a:gd name="T7" fmla="*/ 96 h 1342"/>
                <a:gd name="T8" fmla="*/ 566 w 1768"/>
                <a:gd name="T9" fmla="*/ 129 h 1342"/>
                <a:gd name="T10" fmla="*/ 646 w 1768"/>
                <a:gd name="T11" fmla="*/ 155 h 1342"/>
                <a:gd name="T12" fmla="*/ 700 w 1768"/>
                <a:gd name="T13" fmla="*/ 189 h 1342"/>
                <a:gd name="T14" fmla="*/ 728 w 1768"/>
                <a:gd name="T15" fmla="*/ 236 h 1342"/>
                <a:gd name="T16" fmla="*/ 707 w 1768"/>
                <a:gd name="T17" fmla="*/ 257 h 1342"/>
                <a:gd name="T18" fmla="*/ 634 w 1768"/>
                <a:gd name="T19" fmla="*/ 289 h 1342"/>
                <a:gd name="T20" fmla="*/ 624 w 1768"/>
                <a:gd name="T21" fmla="*/ 338 h 1342"/>
                <a:gd name="T22" fmla="*/ 519 w 1768"/>
                <a:gd name="T23" fmla="*/ 363 h 1342"/>
                <a:gd name="T24" fmla="*/ 538 w 1768"/>
                <a:gd name="T25" fmla="*/ 408 h 1342"/>
                <a:gd name="T26" fmla="*/ 527 w 1768"/>
                <a:gd name="T27" fmla="*/ 424 h 1342"/>
                <a:gd name="T28" fmla="*/ 512 w 1768"/>
                <a:gd name="T29" fmla="*/ 433 h 1342"/>
                <a:gd name="T30" fmla="*/ 469 w 1768"/>
                <a:gd name="T31" fmla="*/ 427 h 1342"/>
                <a:gd name="T32" fmla="*/ 399 w 1768"/>
                <a:gd name="T33" fmla="*/ 418 h 1342"/>
                <a:gd name="T34" fmla="*/ 328 w 1768"/>
                <a:gd name="T35" fmla="*/ 429 h 1342"/>
                <a:gd name="T36" fmla="*/ 274 w 1768"/>
                <a:gd name="T37" fmla="*/ 422 h 1342"/>
                <a:gd name="T38" fmla="*/ 210 w 1768"/>
                <a:gd name="T39" fmla="*/ 424 h 1342"/>
                <a:gd name="T40" fmla="*/ 174 w 1768"/>
                <a:gd name="T41" fmla="*/ 412 h 1342"/>
                <a:gd name="T42" fmla="*/ 136 w 1768"/>
                <a:gd name="T43" fmla="*/ 392 h 1342"/>
                <a:gd name="T44" fmla="*/ 55 w 1768"/>
                <a:gd name="T45" fmla="*/ 379 h 1342"/>
                <a:gd name="T46" fmla="*/ 45 w 1768"/>
                <a:gd name="T47" fmla="*/ 356 h 1342"/>
                <a:gd name="T48" fmla="*/ 29 w 1768"/>
                <a:gd name="T49" fmla="*/ 338 h 1342"/>
                <a:gd name="T50" fmla="*/ 16 w 1768"/>
                <a:gd name="T51" fmla="*/ 321 h 1342"/>
                <a:gd name="T52" fmla="*/ 27 w 1768"/>
                <a:gd name="T53" fmla="*/ 302 h 1342"/>
                <a:gd name="T54" fmla="*/ 5 w 1768"/>
                <a:gd name="T55" fmla="*/ 277 h 1342"/>
                <a:gd name="T56" fmla="*/ 5 w 1768"/>
                <a:gd name="T57" fmla="*/ 251 h 1342"/>
                <a:gd name="T58" fmla="*/ 17 w 1768"/>
                <a:gd name="T59" fmla="*/ 234 h 1342"/>
                <a:gd name="T60" fmla="*/ 59 w 1768"/>
                <a:gd name="T61" fmla="*/ 222 h 1342"/>
                <a:gd name="T62" fmla="*/ 78 w 1768"/>
                <a:gd name="T63" fmla="*/ 224 h 1342"/>
                <a:gd name="T64" fmla="*/ 102 w 1768"/>
                <a:gd name="T65" fmla="*/ 232 h 1342"/>
                <a:gd name="T66" fmla="*/ 174 w 1768"/>
                <a:gd name="T67" fmla="*/ 214 h 1342"/>
                <a:gd name="T68" fmla="*/ 237 w 1768"/>
                <a:gd name="T69" fmla="*/ 182 h 1342"/>
                <a:gd name="T70" fmla="*/ 257 w 1768"/>
                <a:gd name="T71" fmla="*/ 168 h 1342"/>
                <a:gd name="T72" fmla="*/ 246 w 1768"/>
                <a:gd name="T73" fmla="*/ 114 h 1342"/>
                <a:gd name="T74" fmla="*/ 301 w 1768"/>
                <a:gd name="T75" fmla="*/ 105 h 1342"/>
                <a:gd name="T76" fmla="*/ 325 w 1768"/>
                <a:gd name="T77" fmla="*/ 114 h 1342"/>
                <a:gd name="T78" fmla="*/ 351 w 1768"/>
                <a:gd name="T79" fmla="*/ 55 h 1342"/>
                <a:gd name="T80" fmla="*/ 397 w 1768"/>
                <a:gd name="T81" fmla="*/ 63 h 1342"/>
                <a:gd name="T82" fmla="*/ 436 w 1768"/>
                <a:gd name="T83" fmla="*/ 27 h 1342"/>
                <a:gd name="T84" fmla="*/ 469 w 1768"/>
                <a:gd name="T85" fmla="*/ 13 h 1342"/>
                <a:gd name="T86" fmla="*/ 498 w 1768"/>
                <a:gd name="T87" fmla="*/ 4 h 13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68" h="1342">
                  <a:moveTo>
                    <a:pt x="1207" y="12"/>
                  </a:moveTo>
                  <a:lnTo>
                    <a:pt x="1225" y="12"/>
                  </a:lnTo>
                  <a:lnTo>
                    <a:pt x="1213" y="48"/>
                  </a:lnTo>
                  <a:lnTo>
                    <a:pt x="1228" y="66"/>
                  </a:lnTo>
                  <a:lnTo>
                    <a:pt x="1231" y="78"/>
                  </a:lnTo>
                  <a:lnTo>
                    <a:pt x="1267" y="114"/>
                  </a:lnTo>
                  <a:lnTo>
                    <a:pt x="1276" y="141"/>
                  </a:lnTo>
                  <a:lnTo>
                    <a:pt x="1324" y="144"/>
                  </a:lnTo>
                  <a:lnTo>
                    <a:pt x="1345" y="162"/>
                  </a:lnTo>
                  <a:lnTo>
                    <a:pt x="1357" y="162"/>
                  </a:lnTo>
                  <a:lnTo>
                    <a:pt x="1384" y="222"/>
                  </a:lnTo>
                  <a:lnTo>
                    <a:pt x="1411" y="294"/>
                  </a:lnTo>
                  <a:lnTo>
                    <a:pt x="1396" y="336"/>
                  </a:lnTo>
                  <a:lnTo>
                    <a:pt x="1399" y="351"/>
                  </a:lnTo>
                  <a:lnTo>
                    <a:pt x="1375" y="396"/>
                  </a:lnTo>
                  <a:lnTo>
                    <a:pt x="1381" y="429"/>
                  </a:lnTo>
                  <a:lnTo>
                    <a:pt x="1471" y="468"/>
                  </a:lnTo>
                  <a:lnTo>
                    <a:pt x="1567" y="480"/>
                  </a:lnTo>
                  <a:lnTo>
                    <a:pt x="1666" y="549"/>
                  </a:lnTo>
                  <a:lnTo>
                    <a:pt x="1696" y="561"/>
                  </a:lnTo>
                  <a:lnTo>
                    <a:pt x="1699" y="579"/>
                  </a:lnTo>
                  <a:lnTo>
                    <a:pt x="1720" y="623"/>
                  </a:lnTo>
                  <a:lnTo>
                    <a:pt x="1741" y="677"/>
                  </a:lnTo>
                  <a:lnTo>
                    <a:pt x="1768" y="725"/>
                  </a:lnTo>
                  <a:lnTo>
                    <a:pt x="1753" y="743"/>
                  </a:lnTo>
                  <a:lnTo>
                    <a:pt x="1753" y="776"/>
                  </a:lnTo>
                  <a:lnTo>
                    <a:pt x="1717" y="791"/>
                  </a:lnTo>
                  <a:lnTo>
                    <a:pt x="1633" y="827"/>
                  </a:lnTo>
                  <a:lnTo>
                    <a:pt x="1579" y="872"/>
                  </a:lnTo>
                  <a:lnTo>
                    <a:pt x="1540" y="890"/>
                  </a:lnTo>
                  <a:lnTo>
                    <a:pt x="1534" y="917"/>
                  </a:lnTo>
                  <a:lnTo>
                    <a:pt x="1546" y="1049"/>
                  </a:lnTo>
                  <a:lnTo>
                    <a:pt x="1513" y="1043"/>
                  </a:lnTo>
                  <a:lnTo>
                    <a:pt x="1498" y="1055"/>
                  </a:lnTo>
                  <a:lnTo>
                    <a:pt x="1291" y="1097"/>
                  </a:lnTo>
                  <a:lnTo>
                    <a:pt x="1261" y="1118"/>
                  </a:lnTo>
                  <a:lnTo>
                    <a:pt x="1264" y="1175"/>
                  </a:lnTo>
                  <a:lnTo>
                    <a:pt x="1327" y="1226"/>
                  </a:lnTo>
                  <a:lnTo>
                    <a:pt x="1306" y="1259"/>
                  </a:lnTo>
                  <a:lnTo>
                    <a:pt x="1276" y="1274"/>
                  </a:lnTo>
                  <a:lnTo>
                    <a:pt x="1273" y="1289"/>
                  </a:lnTo>
                  <a:lnTo>
                    <a:pt x="1279" y="1307"/>
                  </a:lnTo>
                  <a:lnTo>
                    <a:pt x="1294" y="1307"/>
                  </a:lnTo>
                  <a:lnTo>
                    <a:pt x="1303" y="1319"/>
                  </a:lnTo>
                  <a:lnTo>
                    <a:pt x="1243" y="1339"/>
                  </a:lnTo>
                  <a:lnTo>
                    <a:pt x="1207" y="1325"/>
                  </a:lnTo>
                  <a:lnTo>
                    <a:pt x="1189" y="1316"/>
                  </a:lnTo>
                  <a:lnTo>
                    <a:pt x="1141" y="1316"/>
                  </a:lnTo>
                  <a:lnTo>
                    <a:pt x="1061" y="1277"/>
                  </a:lnTo>
                  <a:lnTo>
                    <a:pt x="1010" y="1277"/>
                  </a:lnTo>
                  <a:lnTo>
                    <a:pt x="968" y="1289"/>
                  </a:lnTo>
                  <a:lnTo>
                    <a:pt x="923" y="1289"/>
                  </a:lnTo>
                  <a:lnTo>
                    <a:pt x="851" y="1328"/>
                  </a:lnTo>
                  <a:lnTo>
                    <a:pt x="794" y="1322"/>
                  </a:lnTo>
                  <a:lnTo>
                    <a:pt x="740" y="1342"/>
                  </a:lnTo>
                  <a:lnTo>
                    <a:pt x="692" y="1325"/>
                  </a:lnTo>
                  <a:lnTo>
                    <a:pt x="662" y="1301"/>
                  </a:lnTo>
                  <a:lnTo>
                    <a:pt x="587" y="1289"/>
                  </a:lnTo>
                  <a:lnTo>
                    <a:pt x="536" y="1325"/>
                  </a:lnTo>
                  <a:lnTo>
                    <a:pt x="509" y="1313"/>
                  </a:lnTo>
                  <a:lnTo>
                    <a:pt x="488" y="1295"/>
                  </a:lnTo>
                  <a:lnTo>
                    <a:pt x="431" y="1280"/>
                  </a:lnTo>
                  <a:lnTo>
                    <a:pt x="422" y="1271"/>
                  </a:lnTo>
                  <a:lnTo>
                    <a:pt x="401" y="1271"/>
                  </a:lnTo>
                  <a:lnTo>
                    <a:pt x="365" y="1217"/>
                  </a:lnTo>
                  <a:lnTo>
                    <a:pt x="333" y="1208"/>
                  </a:lnTo>
                  <a:lnTo>
                    <a:pt x="246" y="1235"/>
                  </a:lnTo>
                  <a:lnTo>
                    <a:pt x="210" y="1226"/>
                  </a:lnTo>
                  <a:lnTo>
                    <a:pt x="135" y="1172"/>
                  </a:lnTo>
                  <a:lnTo>
                    <a:pt x="114" y="1169"/>
                  </a:lnTo>
                  <a:lnTo>
                    <a:pt x="99" y="1133"/>
                  </a:lnTo>
                  <a:lnTo>
                    <a:pt x="111" y="1097"/>
                  </a:lnTo>
                  <a:lnTo>
                    <a:pt x="105" y="1079"/>
                  </a:lnTo>
                  <a:lnTo>
                    <a:pt x="78" y="1061"/>
                  </a:lnTo>
                  <a:lnTo>
                    <a:pt x="69" y="1043"/>
                  </a:lnTo>
                  <a:lnTo>
                    <a:pt x="12" y="1010"/>
                  </a:lnTo>
                  <a:lnTo>
                    <a:pt x="12" y="1001"/>
                  </a:lnTo>
                  <a:lnTo>
                    <a:pt x="39" y="989"/>
                  </a:lnTo>
                  <a:lnTo>
                    <a:pt x="57" y="998"/>
                  </a:lnTo>
                  <a:lnTo>
                    <a:pt x="72" y="983"/>
                  </a:lnTo>
                  <a:lnTo>
                    <a:pt x="66" y="929"/>
                  </a:lnTo>
                  <a:lnTo>
                    <a:pt x="72" y="884"/>
                  </a:lnTo>
                  <a:lnTo>
                    <a:pt x="36" y="845"/>
                  </a:lnTo>
                  <a:lnTo>
                    <a:pt x="9" y="854"/>
                  </a:lnTo>
                  <a:lnTo>
                    <a:pt x="0" y="827"/>
                  </a:lnTo>
                  <a:lnTo>
                    <a:pt x="15" y="800"/>
                  </a:lnTo>
                  <a:lnTo>
                    <a:pt x="6" y="773"/>
                  </a:lnTo>
                  <a:lnTo>
                    <a:pt x="30" y="752"/>
                  </a:lnTo>
                  <a:lnTo>
                    <a:pt x="42" y="743"/>
                  </a:lnTo>
                  <a:lnTo>
                    <a:pt x="42" y="722"/>
                  </a:lnTo>
                  <a:lnTo>
                    <a:pt x="75" y="704"/>
                  </a:lnTo>
                  <a:lnTo>
                    <a:pt x="111" y="698"/>
                  </a:lnTo>
                  <a:lnTo>
                    <a:pt x="141" y="686"/>
                  </a:lnTo>
                  <a:lnTo>
                    <a:pt x="165" y="695"/>
                  </a:lnTo>
                  <a:lnTo>
                    <a:pt x="183" y="686"/>
                  </a:lnTo>
                  <a:lnTo>
                    <a:pt x="189" y="692"/>
                  </a:lnTo>
                  <a:lnTo>
                    <a:pt x="192" y="713"/>
                  </a:lnTo>
                  <a:lnTo>
                    <a:pt x="207" y="722"/>
                  </a:lnTo>
                  <a:lnTo>
                    <a:pt x="246" y="719"/>
                  </a:lnTo>
                  <a:lnTo>
                    <a:pt x="291" y="671"/>
                  </a:lnTo>
                  <a:lnTo>
                    <a:pt x="377" y="689"/>
                  </a:lnTo>
                  <a:lnTo>
                    <a:pt x="422" y="659"/>
                  </a:lnTo>
                  <a:lnTo>
                    <a:pt x="554" y="629"/>
                  </a:lnTo>
                  <a:lnTo>
                    <a:pt x="563" y="611"/>
                  </a:lnTo>
                  <a:lnTo>
                    <a:pt x="575" y="561"/>
                  </a:lnTo>
                  <a:lnTo>
                    <a:pt x="611" y="531"/>
                  </a:lnTo>
                  <a:lnTo>
                    <a:pt x="623" y="531"/>
                  </a:lnTo>
                  <a:lnTo>
                    <a:pt x="623" y="516"/>
                  </a:lnTo>
                  <a:lnTo>
                    <a:pt x="626" y="390"/>
                  </a:lnTo>
                  <a:lnTo>
                    <a:pt x="632" y="366"/>
                  </a:lnTo>
                  <a:lnTo>
                    <a:pt x="596" y="351"/>
                  </a:lnTo>
                  <a:lnTo>
                    <a:pt x="593" y="342"/>
                  </a:lnTo>
                  <a:lnTo>
                    <a:pt x="632" y="330"/>
                  </a:lnTo>
                  <a:lnTo>
                    <a:pt x="731" y="321"/>
                  </a:lnTo>
                  <a:lnTo>
                    <a:pt x="746" y="342"/>
                  </a:lnTo>
                  <a:lnTo>
                    <a:pt x="779" y="351"/>
                  </a:lnTo>
                  <a:lnTo>
                    <a:pt x="788" y="351"/>
                  </a:lnTo>
                  <a:lnTo>
                    <a:pt x="803" y="333"/>
                  </a:lnTo>
                  <a:lnTo>
                    <a:pt x="785" y="315"/>
                  </a:lnTo>
                  <a:lnTo>
                    <a:pt x="857" y="168"/>
                  </a:lnTo>
                  <a:lnTo>
                    <a:pt x="869" y="159"/>
                  </a:lnTo>
                  <a:lnTo>
                    <a:pt x="935" y="192"/>
                  </a:lnTo>
                  <a:lnTo>
                    <a:pt x="965" y="192"/>
                  </a:lnTo>
                  <a:lnTo>
                    <a:pt x="977" y="210"/>
                  </a:lnTo>
                  <a:lnTo>
                    <a:pt x="1040" y="192"/>
                  </a:lnTo>
                  <a:lnTo>
                    <a:pt x="1058" y="84"/>
                  </a:lnTo>
                  <a:lnTo>
                    <a:pt x="1085" y="66"/>
                  </a:lnTo>
                  <a:lnTo>
                    <a:pt x="1117" y="66"/>
                  </a:lnTo>
                  <a:lnTo>
                    <a:pt x="1138" y="39"/>
                  </a:lnTo>
                  <a:lnTo>
                    <a:pt x="1147" y="12"/>
                  </a:lnTo>
                  <a:lnTo>
                    <a:pt x="1165" y="0"/>
                  </a:lnTo>
                  <a:lnTo>
                    <a:pt x="1207" y="12"/>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5" name="Freeform 109"/>
            <p:cNvSpPr>
              <a:spLocks/>
            </p:cNvSpPr>
            <p:nvPr/>
          </p:nvSpPr>
          <p:spPr bwMode="auto">
            <a:xfrm>
              <a:off x="3903911" y="3241700"/>
              <a:ext cx="608013" cy="1090612"/>
            </a:xfrm>
            <a:custGeom>
              <a:avLst/>
              <a:gdLst>
                <a:gd name="T0" fmla="*/ 148 w 434"/>
                <a:gd name="T1" fmla="*/ 153 h 785"/>
                <a:gd name="T2" fmla="*/ 144 w 434"/>
                <a:gd name="T3" fmla="*/ 87 h 785"/>
                <a:gd name="T4" fmla="*/ 156 w 434"/>
                <a:gd name="T5" fmla="*/ 64 h 785"/>
                <a:gd name="T6" fmla="*/ 156 w 434"/>
                <a:gd name="T7" fmla="*/ 34 h 785"/>
                <a:gd name="T8" fmla="*/ 163 w 434"/>
                <a:gd name="T9" fmla="*/ 13 h 785"/>
                <a:gd name="T10" fmla="*/ 157 w 434"/>
                <a:gd name="T11" fmla="*/ 0 h 785"/>
                <a:gd name="T12" fmla="*/ 130 w 434"/>
                <a:gd name="T13" fmla="*/ 8 h 785"/>
                <a:gd name="T14" fmla="*/ 121 w 434"/>
                <a:gd name="T15" fmla="*/ 27 h 785"/>
                <a:gd name="T16" fmla="*/ 111 w 434"/>
                <a:gd name="T17" fmla="*/ 33 h 785"/>
                <a:gd name="T18" fmla="*/ 76 w 434"/>
                <a:gd name="T19" fmla="*/ 65 h 785"/>
                <a:gd name="T20" fmla="*/ 49 w 434"/>
                <a:gd name="T21" fmla="*/ 64 h 785"/>
                <a:gd name="T22" fmla="*/ 44 w 434"/>
                <a:gd name="T23" fmla="*/ 87 h 785"/>
                <a:gd name="T24" fmla="*/ 76 w 434"/>
                <a:gd name="T25" fmla="*/ 102 h 785"/>
                <a:gd name="T26" fmla="*/ 94 w 434"/>
                <a:gd name="T27" fmla="*/ 118 h 785"/>
                <a:gd name="T28" fmla="*/ 91 w 434"/>
                <a:gd name="T29" fmla="*/ 139 h 785"/>
                <a:gd name="T30" fmla="*/ 66 w 434"/>
                <a:gd name="T31" fmla="*/ 145 h 785"/>
                <a:gd name="T32" fmla="*/ 62 w 434"/>
                <a:gd name="T33" fmla="*/ 150 h 785"/>
                <a:gd name="T34" fmla="*/ 45 w 434"/>
                <a:gd name="T35" fmla="*/ 157 h 785"/>
                <a:gd name="T36" fmla="*/ 25 w 434"/>
                <a:gd name="T37" fmla="*/ 153 h 785"/>
                <a:gd name="T38" fmla="*/ 25 w 434"/>
                <a:gd name="T39" fmla="*/ 160 h 785"/>
                <a:gd name="T40" fmla="*/ 16 w 434"/>
                <a:gd name="T41" fmla="*/ 172 h 785"/>
                <a:gd name="T42" fmla="*/ 20 w 434"/>
                <a:gd name="T43" fmla="*/ 192 h 785"/>
                <a:gd name="T44" fmla="*/ 23 w 434"/>
                <a:gd name="T45" fmla="*/ 202 h 785"/>
                <a:gd name="T46" fmla="*/ 0 w 434"/>
                <a:gd name="T47" fmla="*/ 206 h 785"/>
                <a:gd name="T48" fmla="*/ 5 w 434"/>
                <a:gd name="T49" fmla="*/ 224 h 785"/>
                <a:gd name="T50" fmla="*/ 12 w 434"/>
                <a:gd name="T51" fmla="*/ 233 h 785"/>
                <a:gd name="T52" fmla="*/ 41 w 434"/>
                <a:gd name="T53" fmla="*/ 230 h 785"/>
                <a:gd name="T54" fmla="*/ 48 w 434"/>
                <a:gd name="T55" fmla="*/ 236 h 785"/>
                <a:gd name="T56" fmla="*/ 79 w 434"/>
                <a:gd name="T57" fmla="*/ 247 h 785"/>
                <a:gd name="T58" fmla="*/ 118 w 434"/>
                <a:gd name="T59" fmla="*/ 251 h 785"/>
                <a:gd name="T60" fmla="*/ 135 w 434"/>
                <a:gd name="T61" fmla="*/ 254 h 785"/>
                <a:gd name="T62" fmla="*/ 132 w 434"/>
                <a:gd name="T63" fmla="*/ 240 h 785"/>
                <a:gd name="T64" fmla="*/ 148 w 434"/>
                <a:gd name="T65" fmla="*/ 226 h 785"/>
                <a:gd name="T66" fmla="*/ 144 w 434"/>
                <a:gd name="T67" fmla="*/ 220 h 785"/>
                <a:gd name="T68" fmla="*/ 127 w 434"/>
                <a:gd name="T69" fmla="*/ 210 h 785"/>
                <a:gd name="T70" fmla="*/ 160 w 434"/>
                <a:gd name="T71" fmla="*/ 208 h 785"/>
                <a:gd name="T72" fmla="*/ 169 w 434"/>
                <a:gd name="T73" fmla="*/ 210 h 785"/>
                <a:gd name="T74" fmla="*/ 177 w 434"/>
                <a:gd name="T75" fmla="*/ 197 h 785"/>
                <a:gd name="T76" fmla="*/ 152 w 434"/>
                <a:gd name="T77" fmla="*/ 162 h 7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4" h="785">
                  <a:moveTo>
                    <a:pt x="371" y="497"/>
                  </a:moveTo>
                  <a:lnTo>
                    <a:pt x="362" y="467"/>
                  </a:lnTo>
                  <a:lnTo>
                    <a:pt x="380" y="398"/>
                  </a:lnTo>
                  <a:lnTo>
                    <a:pt x="350" y="264"/>
                  </a:lnTo>
                  <a:lnTo>
                    <a:pt x="371" y="231"/>
                  </a:lnTo>
                  <a:lnTo>
                    <a:pt x="380" y="198"/>
                  </a:lnTo>
                  <a:lnTo>
                    <a:pt x="353" y="144"/>
                  </a:lnTo>
                  <a:lnTo>
                    <a:pt x="380" y="105"/>
                  </a:lnTo>
                  <a:lnTo>
                    <a:pt x="383" y="69"/>
                  </a:lnTo>
                  <a:lnTo>
                    <a:pt x="398" y="42"/>
                  </a:lnTo>
                  <a:lnTo>
                    <a:pt x="395" y="9"/>
                  </a:lnTo>
                  <a:lnTo>
                    <a:pt x="383" y="0"/>
                  </a:lnTo>
                  <a:lnTo>
                    <a:pt x="365" y="21"/>
                  </a:lnTo>
                  <a:lnTo>
                    <a:pt x="317" y="24"/>
                  </a:lnTo>
                  <a:lnTo>
                    <a:pt x="293" y="60"/>
                  </a:lnTo>
                  <a:lnTo>
                    <a:pt x="293" y="81"/>
                  </a:lnTo>
                  <a:lnTo>
                    <a:pt x="290" y="93"/>
                  </a:lnTo>
                  <a:lnTo>
                    <a:pt x="269" y="102"/>
                  </a:lnTo>
                  <a:lnTo>
                    <a:pt x="194" y="207"/>
                  </a:lnTo>
                  <a:lnTo>
                    <a:pt x="185" y="201"/>
                  </a:lnTo>
                  <a:lnTo>
                    <a:pt x="164" y="195"/>
                  </a:lnTo>
                  <a:lnTo>
                    <a:pt x="122" y="198"/>
                  </a:lnTo>
                  <a:lnTo>
                    <a:pt x="107" y="219"/>
                  </a:lnTo>
                  <a:lnTo>
                    <a:pt x="107" y="264"/>
                  </a:lnTo>
                  <a:lnTo>
                    <a:pt x="113" y="276"/>
                  </a:lnTo>
                  <a:lnTo>
                    <a:pt x="185" y="311"/>
                  </a:lnTo>
                  <a:lnTo>
                    <a:pt x="224" y="335"/>
                  </a:lnTo>
                  <a:lnTo>
                    <a:pt x="230" y="359"/>
                  </a:lnTo>
                  <a:lnTo>
                    <a:pt x="209" y="389"/>
                  </a:lnTo>
                  <a:lnTo>
                    <a:pt x="221" y="422"/>
                  </a:lnTo>
                  <a:lnTo>
                    <a:pt x="215" y="440"/>
                  </a:lnTo>
                  <a:lnTo>
                    <a:pt x="161" y="443"/>
                  </a:lnTo>
                  <a:lnTo>
                    <a:pt x="149" y="449"/>
                  </a:lnTo>
                  <a:lnTo>
                    <a:pt x="152" y="461"/>
                  </a:lnTo>
                  <a:lnTo>
                    <a:pt x="152" y="476"/>
                  </a:lnTo>
                  <a:lnTo>
                    <a:pt x="110" y="479"/>
                  </a:lnTo>
                  <a:lnTo>
                    <a:pt x="89" y="467"/>
                  </a:lnTo>
                  <a:lnTo>
                    <a:pt x="60" y="467"/>
                  </a:lnTo>
                  <a:lnTo>
                    <a:pt x="54" y="476"/>
                  </a:lnTo>
                  <a:lnTo>
                    <a:pt x="60" y="491"/>
                  </a:lnTo>
                  <a:lnTo>
                    <a:pt x="45" y="506"/>
                  </a:lnTo>
                  <a:lnTo>
                    <a:pt x="39" y="524"/>
                  </a:lnTo>
                  <a:lnTo>
                    <a:pt x="69" y="548"/>
                  </a:lnTo>
                  <a:lnTo>
                    <a:pt x="48" y="587"/>
                  </a:lnTo>
                  <a:lnTo>
                    <a:pt x="57" y="608"/>
                  </a:lnTo>
                  <a:lnTo>
                    <a:pt x="54" y="620"/>
                  </a:lnTo>
                  <a:lnTo>
                    <a:pt x="24" y="620"/>
                  </a:lnTo>
                  <a:lnTo>
                    <a:pt x="0" y="629"/>
                  </a:lnTo>
                  <a:lnTo>
                    <a:pt x="18" y="656"/>
                  </a:lnTo>
                  <a:lnTo>
                    <a:pt x="6" y="686"/>
                  </a:lnTo>
                  <a:lnTo>
                    <a:pt x="24" y="692"/>
                  </a:lnTo>
                  <a:lnTo>
                    <a:pt x="27" y="713"/>
                  </a:lnTo>
                  <a:lnTo>
                    <a:pt x="42" y="713"/>
                  </a:lnTo>
                  <a:lnTo>
                    <a:pt x="101" y="701"/>
                  </a:lnTo>
                  <a:lnTo>
                    <a:pt x="113" y="707"/>
                  </a:lnTo>
                  <a:lnTo>
                    <a:pt x="116" y="722"/>
                  </a:lnTo>
                  <a:lnTo>
                    <a:pt x="140" y="731"/>
                  </a:lnTo>
                  <a:lnTo>
                    <a:pt x="191" y="755"/>
                  </a:lnTo>
                  <a:lnTo>
                    <a:pt x="221" y="743"/>
                  </a:lnTo>
                  <a:lnTo>
                    <a:pt x="287" y="767"/>
                  </a:lnTo>
                  <a:lnTo>
                    <a:pt x="299" y="785"/>
                  </a:lnTo>
                  <a:lnTo>
                    <a:pt x="332" y="779"/>
                  </a:lnTo>
                  <a:lnTo>
                    <a:pt x="326" y="743"/>
                  </a:lnTo>
                  <a:lnTo>
                    <a:pt x="320" y="734"/>
                  </a:lnTo>
                  <a:lnTo>
                    <a:pt x="326" y="707"/>
                  </a:lnTo>
                  <a:lnTo>
                    <a:pt x="362" y="692"/>
                  </a:lnTo>
                  <a:lnTo>
                    <a:pt x="368" y="677"/>
                  </a:lnTo>
                  <a:lnTo>
                    <a:pt x="350" y="671"/>
                  </a:lnTo>
                  <a:lnTo>
                    <a:pt x="332" y="665"/>
                  </a:lnTo>
                  <a:lnTo>
                    <a:pt x="311" y="644"/>
                  </a:lnTo>
                  <a:lnTo>
                    <a:pt x="320" y="638"/>
                  </a:lnTo>
                  <a:lnTo>
                    <a:pt x="389" y="638"/>
                  </a:lnTo>
                  <a:lnTo>
                    <a:pt x="404" y="638"/>
                  </a:lnTo>
                  <a:lnTo>
                    <a:pt x="413" y="644"/>
                  </a:lnTo>
                  <a:lnTo>
                    <a:pt x="434" y="626"/>
                  </a:lnTo>
                  <a:lnTo>
                    <a:pt x="434" y="599"/>
                  </a:lnTo>
                  <a:lnTo>
                    <a:pt x="371" y="506"/>
                  </a:lnTo>
                  <a:lnTo>
                    <a:pt x="371" y="497"/>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6" name="Freeform 110"/>
            <p:cNvSpPr>
              <a:spLocks/>
            </p:cNvSpPr>
            <p:nvPr/>
          </p:nvSpPr>
          <p:spPr bwMode="auto">
            <a:xfrm>
              <a:off x="3903911" y="3241700"/>
              <a:ext cx="608013" cy="1090612"/>
            </a:xfrm>
            <a:custGeom>
              <a:avLst/>
              <a:gdLst>
                <a:gd name="T0" fmla="*/ 148 w 434"/>
                <a:gd name="T1" fmla="*/ 153 h 785"/>
                <a:gd name="T2" fmla="*/ 144 w 434"/>
                <a:gd name="T3" fmla="*/ 87 h 785"/>
                <a:gd name="T4" fmla="*/ 156 w 434"/>
                <a:gd name="T5" fmla="*/ 64 h 785"/>
                <a:gd name="T6" fmla="*/ 156 w 434"/>
                <a:gd name="T7" fmla="*/ 34 h 785"/>
                <a:gd name="T8" fmla="*/ 163 w 434"/>
                <a:gd name="T9" fmla="*/ 13 h 785"/>
                <a:gd name="T10" fmla="*/ 157 w 434"/>
                <a:gd name="T11" fmla="*/ 0 h 785"/>
                <a:gd name="T12" fmla="*/ 130 w 434"/>
                <a:gd name="T13" fmla="*/ 8 h 785"/>
                <a:gd name="T14" fmla="*/ 121 w 434"/>
                <a:gd name="T15" fmla="*/ 27 h 785"/>
                <a:gd name="T16" fmla="*/ 111 w 434"/>
                <a:gd name="T17" fmla="*/ 33 h 785"/>
                <a:gd name="T18" fmla="*/ 76 w 434"/>
                <a:gd name="T19" fmla="*/ 65 h 785"/>
                <a:gd name="T20" fmla="*/ 49 w 434"/>
                <a:gd name="T21" fmla="*/ 64 h 785"/>
                <a:gd name="T22" fmla="*/ 44 w 434"/>
                <a:gd name="T23" fmla="*/ 87 h 785"/>
                <a:gd name="T24" fmla="*/ 76 w 434"/>
                <a:gd name="T25" fmla="*/ 102 h 785"/>
                <a:gd name="T26" fmla="*/ 94 w 434"/>
                <a:gd name="T27" fmla="*/ 118 h 785"/>
                <a:gd name="T28" fmla="*/ 91 w 434"/>
                <a:gd name="T29" fmla="*/ 139 h 785"/>
                <a:gd name="T30" fmla="*/ 66 w 434"/>
                <a:gd name="T31" fmla="*/ 145 h 785"/>
                <a:gd name="T32" fmla="*/ 62 w 434"/>
                <a:gd name="T33" fmla="*/ 150 h 785"/>
                <a:gd name="T34" fmla="*/ 45 w 434"/>
                <a:gd name="T35" fmla="*/ 157 h 785"/>
                <a:gd name="T36" fmla="*/ 25 w 434"/>
                <a:gd name="T37" fmla="*/ 153 h 785"/>
                <a:gd name="T38" fmla="*/ 25 w 434"/>
                <a:gd name="T39" fmla="*/ 160 h 785"/>
                <a:gd name="T40" fmla="*/ 16 w 434"/>
                <a:gd name="T41" fmla="*/ 172 h 785"/>
                <a:gd name="T42" fmla="*/ 20 w 434"/>
                <a:gd name="T43" fmla="*/ 192 h 785"/>
                <a:gd name="T44" fmla="*/ 23 w 434"/>
                <a:gd name="T45" fmla="*/ 202 h 785"/>
                <a:gd name="T46" fmla="*/ 0 w 434"/>
                <a:gd name="T47" fmla="*/ 206 h 785"/>
                <a:gd name="T48" fmla="*/ 5 w 434"/>
                <a:gd name="T49" fmla="*/ 224 h 785"/>
                <a:gd name="T50" fmla="*/ 12 w 434"/>
                <a:gd name="T51" fmla="*/ 233 h 785"/>
                <a:gd name="T52" fmla="*/ 41 w 434"/>
                <a:gd name="T53" fmla="*/ 230 h 785"/>
                <a:gd name="T54" fmla="*/ 48 w 434"/>
                <a:gd name="T55" fmla="*/ 236 h 785"/>
                <a:gd name="T56" fmla="*/ 79 w 434"/>
                <a:gd name="T57" fmla="*/ 247 h 785"/>
                <a:gd name="T58" fmla="*/ 118 w 434"/>
                <a:gd name="T59" fmla="*/ 251 h 785"/>
                <a:gd name="T60" fmla="*/ 135 w 434"/>
                <a:gd name="T61" fmla="*/ 254 h 785"/>
                <a:gd name="T62" fmla="*/ 132 w 434"/>
                <a:gd name="T63" fmla="*/ 240 h 785"/>
                <a:gd name="T64" fmla="*/ 148 w 434"/>
                <a:gd name="T65" fmla="*/ 226 h 785"/>
                <a:gd name="T66" fmla="*/ 144 w 434"/>
                <a:gd name="T67" fmla="*/ 220 h 785"/>
                <a:gd name="T68" fmla="*/ 127 w 434"/>
                <a:gd name="T69" fmla="*/ 210 h 785"/>
                <a:gd name="T70" fmla="*/ 160 w 434"/>
                <a:gd name="T71" fmla="*/ 208 h 785"/>
                <a:gd name="T72" fmla="*/ 169 w 434"/>
                <a:gd name="T73" fmla="*/ 210 h 785"/>
                <a:gd name="T74" fmla="*/ 177 w 434"/>
                <a:gd name="T75" fmla="*/ 197 h 785"/>
                <a:gd name="T76" fmla="*/ 152 w 434"/>
                <a:gd name="T77" fmla="*/ 162 h 7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4" h="785">
                  <a:moveTo>
                    <a:pt x="371" y="497"/>
                  </a:moveTo>
                  <a:lnTo>
                    <a:pt x="362" y="467"/>
                  </a:lnTo>
                  <a:lnTo>
                    <a:pt x="380" y="398"/>
                  </a:lnTo>
                  <a:lnTo>
                    <a:pt x="350" y="264"/>
                  </a:lnTo>
                  <a:lnTo>
                    <a:pt x="371" y="231"/>
                  </a:lnTo>
                  <a:lnTo>
                    <a:pt x="380" y="198"/>
                  </a:lnTo>
                  <a:lnTo>
                    <a:pt x="353" y="144"/>
                  </a:lnTo>
                  <a:lnTo>
                    <a:pt x="380" y="105"/>
                  </a:lnTo>
                  <a:lnTo>
                    <a:pt x="383" y="69"/>
                  </a:lnTo>
                  <a:lnTo>
                    <a:pt x="398" y="42"/>
                  </a:lnTo>
                  <a:lnTo>
                    <a:pt x="395" y="9"/>
                  </a:lnTo>
                  <a:lnTo>
                    <a:pt x="383" y="0"/>
                  </a:lnTo>
                  <a:lnTo>
                    <a:pt x="365" y="21"/>
                  </a:lnTo>
                  <a:lnTo>
                    <a:pt x="317" y="24"/>
                  </a:lnTo>
                  <a:lnTo>
                    <a:pt x="293" y="60"/>
                  </a:lnTo>
                  <a:lnTo>
                    <a:pt x="293" y="81"/>
                  </a:lnTo>
                  <a:lnTo>
                    <a:pt x="290" y="93"/>
                  </a:lnTo>
                  <a:lnTo>
                    <a:pt x="269" y="102"/>
                  </a:lnTo>
                  <a:lnTo>
                    <a:pt x="194" y="207"/>
                  </a:lnTo>
                  <a:lnTo>
                    <a:pt x="185" y="201"/>
                  </a:lnTo>
                  <a:lnTo>
                    <a:pt x="164" y="195"/>
                  </a:lnTo>
                  <a:lnTo>
                    <a:pt x="122" y="198"/>
                  </a:lnTo>
                  <a:lnTo>
                    <a:pt x="107" y="219"/>
                  </a:lnTo>
                  <a:lnTo>
                    <a:pt x="107" y="264"/>
                  </a:lnTo>
                  <a:lnTo>
                    <a:pt x="113" y="276"/>
                  </a:lnTo>
                  <a:lnTo>
                    <a:pt x="185" y="311"/>
                  </a:lnTo>
                  <a:lnTo>
                    <a:pt x="224" y="335"/>
                  </a:lnTo>
                  <a:lnTo>
                    <a:pt x="230" y="359"/>
                  </a:lnTo>
                  <a:lnTo>
                    <a:pt x="209" y="389"/>
                  </a:lnTo>
                  <a:lnTo>
                    <a:pt x="221" y="422"/>
                  </a:lnTo>
                  <a:lnTo>
                    <a:pt x="215" y="440"/>
                  </a:lnTo>
                  <a:lnTo>
                    <a:pt x="161" y="443"/>
                  </a:lnTo>
                  <a:lnTo>
                    <a:pt x="149" y="449"/>
                  </a:lnTo>
                  <a:lnTo>
                    <a:pt x="152" y="461"/>
                  </a:lnTo>
                  <a:lnTo>
                    <a:pt x="152" y="476"/>
                  </a:lnTo>
                  <a:lnTo>
                    <a:pt x="110" y="479"/>
                  </a:lnTo>
                  <a:lnTo>
                    <a:pt x="89" y="467"/>
                  </a:lnTo>
                  <a:lnTo>
                    <a:pt x="60" y="467"/>
                  </a:lnTo>
                  <a:lnTo>
                    <a:pt x="54" y="476"/>
                  </a:lnTo>
                  <a:lnTo>
                    <a:pt x="60" y="491"/>
                  </a:lnTo>
                  <a:lnTo>
                    <a:pt x="45" y="506"/>
                  </a:lnTo>
                  <a:lnTo>
                    <a:pt x="39" y="524"/>
                  </a:lnTo>
                  <a:lnTo>
                    <a:pt x="69" y="548"/>
                  </a:lnTo>
                  <a:lnTo>
                    <a:pt x="48" y="587"/>
                  </a:lnTo>
                  <a:lnTo>
                    <a:pt x="57" y="608"/>
                  </a:lnTo>
                  <a:lnTo>
                    <a:pt x="54" y="620"/>
                  </a:lnTo>
                  <a:lnTo>
                    <a:pt x="24" y="620"/>
                  </a:lnTo>
                  <a:lnTo>
                    <a:pt x="0" y="629"/>
                  </a:lnTo>
                  <a:lnTo>
                    <a:pt x="18" y="656"/>
                  </a:lnTo>
                  <a:lnTo>
                    <a:pt x="6" y="686"/>
                  </a:lnTo>
                  <a:lnTo>
                    <a:pt x="24" y="692"/>
                  </a:lnTo>
                  <a:lnTo>
                    <a:pt x="27" y="713"/>
                  </a:lnTo>
                  <a:lnTo>
                    <a:pt x="42" y="713"/>
                  </a:lnTo>
                  <a:lnTo>
                    <a:pt x="101" y="701"/>
                  </a:lnTo>
                  <a:lnTo>
                    <a:pt x="113" y="707"/>
                  </a:lnTo>
                  <a:lnTo>
                    <a:pt x="116" y="722"/>
                  </a:lnTo>
                  <a:lnTo>
                    <a:pt x="140" y="731"/>
                  </a:lnTo>
                  <a:lnTo>
                    <a:pt x="191" y="755"/>
                  </a:lnTo>
                  <a:lnTo>
                    <a:pt x="221" y="743"/>
                  </a:lnTo>
                  <a:lnTo>
                    <a:pt x="287" y="767"/>
                  </a:lnTo>
                  <a:lnTo>
                    <a:pt x="299" y="785"/>
                  </a:lnTo>
                  <a:lnTo>
                    <a:pt x="332" y="779"/>
                  </a:lnTo>
                  <a:lnTo>
                    <a:pt x="326" y="743"/>
                  </a:lnTo>
                  <a:lnTo>
                    <a:pt x="320" y="734"/>
                  </a:lnTo>
                  <a:lnTo>
                    <a:pt x="326" y="707"/>
                  </a:lnTo>
                  <a:lnTo>
                    <a:pt x="362" y="692"/>
                  </a:lnTo>
                  <a:lnTo>
                    <a:pt x="368" y="677"/>
                  </a:lnTo>
                  <a:lnTo>
                    <a:pt x="350" y="671"/>
                  </a:lnTo>
                  <a:lnTo>
                    <a:pt x="332" y="665"/>
                  </a:lnTo>
                  <a:lnTo>
                    <a:pt x="311" y="644"/>
                  </a:lnTo>
                  <a:lnTo>
                    <a:pt x="320" y="638"/>
                  </a:lnTo>
                  <a:lnTo>
                    <a:pt x="389" y="638"/>
                  </a:lnTo>
                  <a:lnTo>
                    <a:pt x="404" y="638"/>
                  </a:lnTo>
                  <a:lnTo>
                    <a:pt x="413" y="644"/>
                  </a:lnTo>
                  <a:lnTo>
                    <a:pt x="434" y="626"/>
                  </a:lnTo>
                  <a:lnTo>
                    <a:pt x="434" y="599"/>
                  </a:lnTo>
                  <a:lnTo>
                    <a:pt x="371" y="506"/>
                  </a:lnTo>
                  <a:lnTo>
                    <a:pt x="371" y="497"/>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7" name="Freeform 111"/>
            <p:cNvSpPr>
              <a:spLocks/>
            </p:cNvSpPr>
            <p:nvPr/>
          </p:nvSpPr>
          <p:spPr bwMode="auto">
            <a:xfrm>
              <a:off x="4423024" y="3659212"/>
              <a:ext cx="736600" cy="650875"/>
            </a:xfrm>
            <a:custGeom>
              <a:avLst/>
              <a:gdLst>
                <a:gd name="T0" fmla="*/ 27 w 524"/>
                <a:gd name="T1" fmla="*/ 105 h 470"/>
                <a:gd name="T2" fmla="*/ 57 w 524"/>
                <a:gd name="T3" fmla="*/ 128 h 470"/>
                <a:gd name="T4" fmla="*/ 82 w 524"/>
                <a:gd name="T5" fmla="*/ 131 h 470"/>
                <a:gd name="T6" fmla="*/ 105 w 524"/>
                <a:gd name="T7" fmla="*/ 130 h 470"/>
                <a:gd name="T8" fmla="*/ 114 w 524"/>
                <a:gd name="T9" fmla="*/ 131 h 470"/>
                <a:gd name="T10" fmla="*/ 122 w 524"/>
                <a:gd name="T11" fmla="*/ 128 h 470"/>
                <a:gd name="T12" fmla="*/ 128 w 524"/>
                <a:gd name="T13" fmla="*/ 132 h 470"/>
                <a:gd name="T14" fmla="*/ 132 w 524"/>
                <a:gd name="T15" fmla="*/ 139 h 470"/>
                <a:gd name="T16" fmla="*/ 142 w 524"/>
                <a:gd name="T17" fmla="*/ 147 h 470"/>
                <a:gd name="T18" fmla="*/ 158 w 524"/>
                <a:gd name="T19" fmla="*/ 147 h 470"/>
                <a:gd name="T20" fmla="*/ 169 w 524"/>
                <a:gd name="T21" fmla="*/ 153 h 470"/>
                <a:gd name="T22" fmla="*/ 179 w 524"/>
                <a:gd name="T23" fmla="*/ 147 h 470"/>
                <a:gd name="T24" fmla="*/ 187 w 524"/>
                <a:gd name="T25" fmla="*/ 153 h 470"/>
                <a:gd name="T26" fmla="*/ 193 w 524"/>
                <a:gd name="T27" fmla="*/ 143 h 470"/>
                <a:gd name="T28" fmla="*/ 202 w 524"/>
                <a:gd name="T29" fmla="*/ 139 h 470"/>
                <a:gd name="T30" fmla="*/ 204 w 524"/>
                <a:gd name="T31" fmla="*/ 131 h 470"/>
                <a:gd name="T32" fmla="*/ 201 w 524"/>
                <a:gd name="T33" fmla="*/ 116 h 470"/>
                <a:gd name="T34" fmla="*/ 199 w 524"/>
                <a:gd name="T35" fmla="*/ 114 h 470"/>
                <a:gd name="T36" fmla="*/ 190 w 524"/>
                <a:gd name="T37" fmla="*/ 122 h 470"/>
                <a:gd name="T38" fmla="*/ 176 w 524"/>
                <a:gd name="T39" fmla="*/ 113 h 470"/>
                <a:gd name="T40" fmla="*/ 165 w 524"/>
                <a:gd name="T41" fmla="*/ 104 h 470"/>
                <a:gd name="T42" fmla="*/ 176 w 524"/>
                <a:gd name="T43" fmla="*/ 97 h 470"/>
                <a:gd name="T44" fmla="*/ 179 w 524"/>
                <a:gd name="T45" fmla="*/ 87 h 470"/>
                <a:gd name="T46" fmla="*/ 185 w 524"/>
                <a:gd name="T47" fmla="*/ 83 h 470"/>
                <a:gd name="T48" fmla="*/ 184 w 524"/>
                <a:gd name="T49" fmla="*/ 70 h 470"/>
                <a:gd name="T50" fmla="*/ 188 w 524"/>
                <a:gd name="T51" fmla="*/ 66 h 470"/>
                <a:gd name="T52" fmla="*/ 197 w 524"/>
                <a:gd name="T53" fmla="*/ 71 h 470"/>
                <a:gd name="T54" fmla="*/ 202 w 524"/>
                <a:gd name="T55" fmla="*/ 75 h 470"/>
                <a:gd name="T56" fmla="*/ 215 w 524"/>
                <a:gd name="T57" fmla="*/ 71 h 470"/>
                <a:gd name="T58" fmla="*/ 218 w 524"/>
                <a:gd name="T59" fmla="*/ 67 h 470"/>
                <a:gd name="T60" fmla="*/ 215 w 524"/>
                <a:gd name="T61" fmla="*/ 60 h 470"/>
                <a:gd name="T62" fmla="*/ 202 w 524"/>
                <a:gd name="T63" fmla="*/ 55 h 470"/>
                <a:gd name="T64" fmla="*/ 199 w 524"/>
                <a:gd name="T65" fmla="*/ 47 h 470"/>
                <a:gd name="T66" fmla="*/ 176 w 524"/>
                <a:gd name="T67" fmla="*/ 50 h 470"/>
                <a:gd name="T68" fmla="*/ 161 w 524"/>
                <a:gd name="T69" fmla="*/ 40 h 470"/>
                <a:gd name="T70" fmla="*/ 155 w 524"/>
                <a:gd name="T71" fmla="*/ 38 h 470"/>
                <a:gd name="T72" fmla="*/ 155 w 524"/>
                <a:gd name="T73" fmla="*/ 31 h 470"/>
                <a:gd name="T74" fmla="*/ 187 w 524"/>
                <a:gd name="T75" fmla="*/ 4 h 470"/>
                <a:gd name="T76" fmla="*/ 176 w 524"/>
                <a:gd name="T77" fmla="*/ 4 h 470"/>
                <a:gd name="T78" fmla="*/ 169 w 524"/>
                <a:gd name="T79" fmla="*/ 9 h 470"/>
                <a:gd name="T80" fmla="*/ 165 w 524"/>
                <a:gd name="T81" fmla="*/ 5 h 470"/>
                <a:gd name="T82" fmla="*/ 165 w 524"/>
                <a:gd name="T83" fmla="*/ 3 h 470"/>
                <a:gd name="T84" fmla="*/ 159 w 524"/>
                <a:gd name="T85" fmla="*/ 0 h 470"/>
                <a:gd name="T86" fmla="*/ 145 w 524"/>
                <a:gd name="T87" fmla="*/ 4 h 470"/>
                <a:gd name="T88" fmla="*/ 105 w 524"/>
                <a:gd name="T89" fmla="*/ 0 h 470"/>
                <a:gd name="T90" fmla="*/ 105 w 524"/>
                <a:gd name="T91" fmla="*/ 24 h 470"/>
                <a:gd name="T92" fmla="*/ 87 w 524"/>
                <a:gd name="T93" fmla="*/ 36 h 470"/>
                <a:gd name="T94" fmla="*/ 62 w 524"/>
                <a:gd name="T95" fmla="*/ 40 h 470"/>
                <a:gd name="T96" fmla="*/ 27 w 524"/>
                <a:gd name="T97" fmla="*/ 57 h 470"/>
                <a:gd name="T98" fmla="*/ 0 w 524"/>
                <a:gd name="T99" fmla="*/ 63 h 470"/>
                <a:gd name="T100" fmla="*/ 0 w 524"/>
                <a:gd name="T101" fmla="*/ 67 h 470"/>
                <a:gd name="T102" fmla="*/ 27 w 524"/>
                <a:gd name="T103" fmla="*/ 97 h 470"/>
                <a:gd name="T104" fmla="*/ 27 w 524"/>
                <a:gd name="T105" fmla="*/ 105 h 4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24" h="470">
                  <a:moveTo>
                    <a:pt x="63" y="326"/>
                  </a:moveTo>
                  <a:lnTo>
                    <a:pt x="138" y="395"/>
                  </a:lnTo>
                  <a:lnTo>
                    <a:pt x="198" y="407"/>
                  </a:lnTo>
                  <a:lnTo>
                    <a:pt x="255" y="398"/>
                  </a:lnTo>
                  <a:lnTo>
                    <a:pt x="273" y="407"/>
                  </a:lnTo>
                  <a:lnTo>
                    <a:pt x="294" y="395"/>
                  </a:lnTo>
                  <a:lnTo>
                    <a:pt x="309" y="410"/>
                  </a:lnTo>
                  <a:lnTo>
                    <a:pt x="315" y="431"/>
                  </a:lnTo>
                  <a:lnTo>
                    <a:pt x="342" y="449"/>
                  </a:lnTo>
                  <a:lnTo>
                    <a:pt x="378" y="449"/>
                  </a:lnTo>
                  <a:lnTo>
                    <a:pt x="405" y="470"/>
                  </a:lnTo>
                  <a:lnTo>
                    <a:pt x="429" y="458"/>
                  </a:lnTo>
                  <a:lnTo>
                    <a:pt x="450" y="470"/>
                  </a:lnTo>
                  <a:lnTo>
                    <a:pt x="464" y="440"/>
                  </a:lnTo>
                  <a:lnTo>
                    <a:pt x="485" y="428"/>
                  </a:lnTo>
                  <a:lnTo>
                    <a:pt x="491" y="401"/>
                  </a:lnTo>
                  <a:lnTo>
                    <a:pt x="482" y="356"/>
                  </a:lnTo>
                  <a:lnTo>
                    <a:pt x="479" y="353"/>
                  </a:lnTo>
                  <a:lnTo>
                    <a:pt x="456" y="377"/>
                  </a:lnTo>
                  <a:lnTo>
                    <a:pt x="423" y="347"/>
                  </a:lnTo>
                  <a:lnTo>
                    <a:pt x="396" y="317"/>
                  </a:lnTo>
                  <a:lnTo>
                    <a:pt x="423" y="299"/>
                  </a:lnTo>
                  <a:lnTo>
                    <a:pt x="429" y="266"/>
                  </a:lnTo>
                  <a:lnTo>
                    <a:pt x="444" y="254"/>
                  </a:lnTo>
                  <a:lnTo>
                    <a:pt x="441" y="212"/>
                  </a:lnTo>
                  <a:lnTo>
                    <a:pt x="453" y="203"/>
                  </a:lnTo>
                  <a:lnTo>
                    <a:pt x="473" y="215"/>
                  </a:lnTo>
                  <a:lnTo>
                    <a:pt x="485" y="233"/>
                  </a:lnTo>
                  <a:lnTo>
                    <a:pt x="515" y="215"/>
                  </a:lnTo>
                  <a:lnTo>
                    <a:pt x="524" y="206"/>
                  </a:lnTo>
                  <a:lnTo>
                    <a:pt x="518" y="185"/>
                  </a:lnTo>
                  <a:lnTo>
                    <a:pt x="485" y="167"/>
                  </a:lnTo>
                  <a:lnTo>
                    <a:pt x="479" y="146"/>
                  </a:lnTo>
                  <a:lnTo>
                    <a:pt x="423" y="152"/>
                  </a:lnTo>
                  <a:lnTo>
                    <a:pt x="387" y="122"/>
                  </a:lnTo>
                  <a:lnTo>
                    <a:pt x="372" y="116"/>
                  </a:lnTo>
                  <a:lnTo>
                    <a:pt x="372" y="95"/>
                  </a:lnTo>
                  <a:lnTo>
                    <a:pt x="450" y="8"/>
                  </a:lnTo>
                  <a:lnTo>
                    <a:pt x="423" y="14"/>
                  </a:lnTo>
                  <a:lnTo>
                    <a:pt x="405" y="26"/>
                  </a:lnTo>
                  <a:lnTo>
                    <a:pt x="396" y="17"/>
                  </a:lnTo>
                  <a:lnTo>
                    <a:pt x="396" y="3"/>
                  </a:lnTo>
                  <a:lnTo>
                    <a:pt x="384" y="0"/>
                  </a:lnTo>
                  <a:lnTo>
                    <a:pt x="348" y="11"/>
                  </a:lnTo>
                  <a:lnTo>
                    <a:pt x="255" y="0"/>
                  </a:lnTo>
                  <a:lnTo>
                    <a:pt x="252" y="74"/>
                  </a:lnTo>
                  <a:lnTo>
                    <a:pt x="207" y="110"/>
                  </a:lnTo>
                  <a:lnTo>
                    <a:pt x="150" y="122"/>
                  </a:lnTo>
                  <a:lnTo>
                    <a:pt x="66" y="179"/>
                  </a:lnTo>
                  <a:lnTo>
                    <a:pt x="0" y="197"/>
                  </a:lnTo>
                  <a:lnTo>
                    <a:pt x="0" y="206"/>
                  </a:lnTo>
                  <a:lnTo>
                    <a:pt x="63" y="299"/>
                  </a:lnTo>
                  <a:lnTo>
                    <a:pt x="63" y="326"/>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8" name="Freeform 112"/>
            <p:cNvSpPr>
              <a:spLocks/>
            </p:cNvSpPr>
            <p:nvPr/>
          </p:nvSpPr>
          <p:spPr bwMode="auto">
            <a:xfrm>
              <a:off x="4423024" y="3659212"/>
              <a:ext cx="736600" cy="650875"/>
            </a:xfrm>
            <a:custGeom>
              <a:avLst/>
              <a:gdLst>
                <a:gd name="T0" fmla="*/ 27 w 524"/>
                <a:gd name="T1" fmla="*/ 105 h 470"/>
                <a:gd name="T2" fmla="*/ 57 w 524"/>
                <a:gd name="T3" fmla="*/ 128 h 470"/>
                <a:gd name="T4" fmla="*/ 82 w 524"/>
                <a:gd name="T5" fmla="*/ 131 h 470"/>
                <a:gd name="T6" fmla="*/ 105 w 524"/>
                <a:gd name="T7" fmla="*/ 130 h 470"/>
                <a:gd name="T8" fmla="*/ 114 w 524"/>
                <a:gd name="T9" fmla="*/ 131 h 470"/>
                <a:gd name="T10" fmla="*/ 122 w 524"/>
                <a:gd name="T11" fmla="*/ 128 h 470"/>
                <a:gd name="T12" fmla="*/ 128 w 524"/>
                <a:gd name="T13" fmla="*/ 132 h 470"/>
                <a:gd name="T14" fmla="*/ 132 w 524"/>
                <a:gd name="T15" fmla="*/ 139 h 470"/>
                <a:gd name="T16" fmla="*/ 142 w 524"/>
                <a:gd name="T17" fmla="*/ 147 h 470"/>
                <a:gd name="T18" fmla="*/ 158 w 524"/>
                <a:gd name="T19" fmla="*/ 147 h 470"/>
                <a:gd name="T20" fmla="*/ 169 w 524"/>
                <a:gd name="T21" fmla="*/ 153 h 470"/>
                <a:gd name="T22" fmla="*/ 179 w 524"/>
                <a:gd name="T23" fmla="*/ 147 h 470"/>
                <a:gd name="T24" fmla="*/ 187 w 524"/>
                <a:gd name="T25" fmla="*/ 153 h 470"/>
                <a:gd name="T26" fmla="*/ 193 w 524"/>
                <a:gd name="T27" fmla="*/ 143 h 470"/>
                <a:gd name="T28" fmla="*/ 202 w 524"/>
                <a:gd name="T29" fmla="*/ 139 h 470"/>
                <a:gd name="T30" fmla="*/ 204 w 524"/>
                <a:gd name="T31" fmla="*/ 131 h 470"/>
                <a:gd name="T32" fmla="*/ 201 w 524"/>
                <a:gd name="T33" fmla="*/ 116 h 470"/>
                <a:gd name="T34" fmla="*/ 199 w 524"/>
                <a:gd name="T35" fmla="*/ 114 h 470"/>
                <a:gd name="T36" fmla="*/ 190 w 524"/>
                <a:gd name="T37" fmla="*/ 122 h 470"/>
                <a:gd name="T38" fmla="*/ 176 w 524"/>
                <a:gd name="T39" fmla="*/ 113 h 470"/>
                <a:gd name="T40" fmla="*/ 165 w 524"/>
                <a:gd name="T41" fmla="*/ 104 h 470"/>
                <a:gd name="T42" fmla="*/ 176 w 524"/>
                <a:gd name="T43" fmla="*/ 97 h 470"/>
                <a:gd name="T44" fmla="*/ 179 w 524"/>
                <a:gd name="T45" fmla="*/ 87 h 470"/>
                <a:gd name="T46" fmla="*/ 185 w 524"/>
                <a:gd name="T47" fmla="*/ 83 h 470"/>
                <a:gd name="T48" fmla="*/ 184 w 524"/>
                <a:gd name="T49" fmla="*/ 70 h 470"/>
                <a:gd name="T50" fmla="*/ 188 w 524"/>
                <a:gd name="T51" fmla="*/ 66 h 470"/>
                <a:gd name="T52" fmla="*/ 197 w 524"/>
                <a:gd name="T53" fmla="*/ 71 h 470"/>
                <a:gd name="T54" fmla="*/ 202 w 524"/>
                <a:gd name="T55" fmla="*/ 75 h 470"/>
                <a:gd name="T56" fmla="*/ 215 w 524"/>
                <a:gd name="T57" fmla="*/ 71 h 470"/>
                <a:gd name="T58" fmla="*/ 218 w 524"/>
                <a:gd name="T59" fmla="*/ 67 h 470"/>
                <a:gd name="T60" fmla="*/ 215 w 524"/>
                <a:gd name="T61" fmla="*/ 60 h 470"/>
                <a:gd name="T62" fmla="*/ 202 w 524"/>
                <a:gd name="T63" fmla="*/ 55 h 470"/>
                <a:gd name="T64" fmla="*/ 199 w 524"/>
                <a:gd name="T65" fmla="*/ 47 h 470"/>
                <a:gd name="T66" fmla="*/ 176 w 524"/>
                <a:gd name="T67" fmla="*/ 50 h 470"/>
                <a:gd name="T68" fmla="*/ 161 w 524"/>
                <a:gd name="T69" fmla="*/ 40 h 470"/>
                <a:gd name="T70" fmla="*/ 155 w 524"/>
                <a:gd name="T71" fmla="*/ 38 h 470"/>
                <a:gd name="T72" fmla="*/ 155 w 524"/>
                <a:gd name="T73" fmla="*/ 31 h 470"/>
                <a:gd name="T74" fmla="*/ 187 w 524"/>
                <a:gd name="T75" fmla="*/ 4 h 470"/>
                <a:gd name="T76" fmla="*/ 176 w 524"/>
                <a:gd name="T77" fmla="*/ 4 h 470"/>
                <a:gd name="T78" fmla="*/ 169 w 524"/>
                <a:gd name="T79" fmla="*/ 9 h 470"/>
                <a:gd name="T80" fmla="*/ 165 w 524"/>
                <a:gd name="T81" fmla="*/ 5 h 470"/>
                <a:gd name="T82" fmla="*/ 165 w 524"/>
                <a:gd name="T83" fmla="*/ 3 h 470"/>
                <a:gd name="T84" fmla="*/ 159 w 524"/>
                <a:gd name="T85" fmla="*/ 0 h 470"/>
                <a:gd name="T86" fmla="*/ 145 w 524"/>
                <a:gd name="T87" fmla="*/ 4 h 470"/>
                <a:gd name="T88" fmla="*/ 105 w 524"/>
                <a:gd name="T89" fmla="*/ 0 h 470"/>
                <a:gd name="T90" fmla="*/ 105 w 524"/>
                <a:gd name="T91" fmla="*/ 24 h 470"/>
                <a:gd name="T92" fmla="*/ 87 w 524"/>
                <a:gd name="T93" fmla="*/ 36 h 470"/>
                <a:gd name="T94" fmla="*/ 62 w 524"/>
                <a:gd name="T95" fmla="*/ 40 h 470"/>
                <a:gd name="T96" fmla="*/ 27 w 524"/>
                <a:gd name="T97" fmla="*/ 57 h 470"/>
                <a:gd name="T98" fmla="*/ 0 w 524"/>
                <a:gd name="T99" fmla="*/ 63 h 470"/>
                <a:gd name="T100" fmla="*/ 0 w 524"/>
                <a:gd name="T101" fmla="*/ 67 h 470"/>
                <a:gd name="T102" fmla="*/ 27 w 524"/>
                <a:gd name="T103" fmla="*/ 97 h 470"/>
                <a:gd name="T104" fmla="*/ 27 w 524"/>
                <a:gd name="T105" fmla="*/ 105 h 4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24" h="470">
                  <a:moveTo>
                    <a:pt x="63" y="326"/>
                  </a:moveTo>
                  <a:lnTo>
                    <a:pt x="138" y="395"/>
                  </a:lnTo>
                  <a:lnTo>
                    <a:pt x="198" y="407"/>
                  </a:lnTo>
                  <a:lnTo>
                    <a:pt x="255" y="398"/>
                  </a:lnTo>
                  <a:lnTo>
                    <a:pt x="273" y="407"/>
                  </a:lnTo>
                  <a:lnTo>
                    <a:pt x="294" y="395"/>
                  </a:lnTo>
                  <a:lnTo>
                    <a:pt x="309" y="410"/>
                  </a:lnTo>
                  <a:lnTo>
                    <a:pt x="315" y="431"/>
                  </a:lnTo>
                  <a:lnTo>
                    <a:pt x="342" y="449"/>
                  </a:lnTo>
                  <a:lnTo>
                    <a:pt x="378" y="449"/>
                  </a:lnTo>
                  <a:lnTo>
                    <a:pt x="405" y="470"/>
                  </a:lnTo>
                  <a:lnTo>
                    <a:pt x="429" y="458"/>
                  </a:lnTo>
                  <a:lnTo>
                    <a:pt x="450" y="470"/>
                  </a:lnTo>
                  <a:lnTo>
                    <a:pt x="464" y="440"/>
                  </a:lnTo>
                  <a:lnTo>
                    <a:pt x="485" y="428"/>
                  </a:lnTo>
                  <a:lnTo>
                    <a:pt x="491" y="401"/>
                  </a:lnTo>
                  <a:lnTo>
                    <a:pt x="482" y="356"/>
                  </a:lnTo>
                  <a:lnTo>
                    <a:pt x="479" y="353"/>
                  </a:lnTo>
                  <a:lnTo>
                    <a:pt x="456" y="377"/>
                  </a:lnTo>
                  <a:lnTo>
                    <a:pt x="423" y="347"/>
                  </a:lnTo>
                  <a:lnTo>
                    <a:pt x="396" y="317"/>
                  </a:lnTo>
                  <a:lnTo>
                    <a:pt x="423" y="299"/>
                  </a:lnTo>
                  <a:lnTo>
                    <a:pt x="429" y="266"/>
                  </a:lnTo>
                  <a:lnTo>
                    <a:pt x="444" y="254"/>
                  </a:lnTo>
                  <a:lnTo>
                    <a:pt x="441" y="212"/>
                  </a:lnTo>
                  <a:lnTo>
                    <a:pt x="453" y="203"/>
                  </a:lnTo>
                  <a:lnTo>
                    <a:pt x="473" y="215"/>
                  </a:lnTo>
                  <a:lnTo>
                    <a:pt x="485" y="233"/>
                  </a:lnTo>
                  <a:lnTo>
                    <a:pt x="515" y="215"/>
                  </a:lnTo>
                  <a:lnTo>
                    <a:pt x="524" y="206"/>
                  </a:lnTo>
                  <a:lnTo>
                    <a:pt x="518" y="185"/>
                  </a:lnTo>
                  <a:lnTo>
                    <a:pt x="485" y="167"/>
                  </a:lnTo>
                  <a:lnTo>
                    <a:pt x="479" y="146"/>
                  </a:lnTo>
                  <a:lnTo>
                    <a:pt x="423" y="152"/>
                  </a:lnTo>
                  <a:lnTo>
                    <a:pt x="387" y="122"/>
                  </a:lnTo>
                  <a:lnTo>
                    <a:pt x="372" y="116"/>
                  </a:lnTo>
                  <a:lnTo>
                    <a:pt x="372" y="95"/>
                  </a:lnTo>
                  <a:lnTo>
                    <a:pt x="450" y="8"/>
                  </a:lnTo>
                  <a:lnTo>
                    <a:pt x="423" y="14"/>
                  </a:lnTo>
                  <a:lnTo>
                    <a:pt x="405" y="26"/>
                  </a:lnTo>
                  <a:lnTo>
                    <a:pt x="396" y="17"/>
                  </a:lnTo>
                  <a:lnTo>
                    <a:pt x="396" y="3"/>
                  </a:lnTo>
                  <a:lnTo>
                    <a:pt x="384" y="0"/>
                  </a:lnTo>
                  <a:lnTo>
                    <a:pt x="348" y="11"/>
                  </a:lnTo>
                  <a:lnTo>
                    <a:pt x="255" y="0"/>
                  </a:lnTo>
                  <a:lnTo>
                    <a:pt x="252" y="74"/>
                  </a:lnTo>
                  <a:lnTo>
                    <a:pt x="207" y="110"/>
                  </a:lnTo>
                  <a:lnTo>
                    <a:pt x="150" y="122"/>
                  </a:lnTo>
                  <a:lnTo>
                    <a:pt x="66" y="179"/>
                  </a:lnTo>
                  <a:lnTo>
                    <a:pt x="0" y="197"/>
                  </a:lnTo>
                  <a:lnTo>
                    <a:pt x="0" y="206"/>
                  </a:lnTo>
                  <a:lnTo>
                    <a:pt x="63" y="299"/>
                  </a:lnTo>
                  <a:lnTo>
                    <a:pt x="63" y="326"/>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19" name="Freeform 113"/>
            <p:cNvSpPr>
              <a:spLocks/>
            </p:cNvSpPr>
            <p:nvPr/>
          </p:nvSpPr>
          <p:spPr bwMode="auto">
            <a:xfrm>
              <a:off x="4394449" y="3067075"/>
              <a:ext cx="423862" cy="865187"/>
            </a:xfrm>
            <a:custGeom>
              <a:avLst/>
              <a:gdLst>
                <a:gd name="T0" fmla="*/ 9 w 303"/>
                <a:gd name="T1" fmla="*/ 203 h 623"/>
                <a:gd name="T2" fmla="*/ 36 w 303"/>
                <a:gd name="T3" fmla="*/ 198 h 623"/>
                <a:gd name="T4" fmla="*/ 70 w 303"/>
                <a:gd name="T5" fmla="*/ 179 h 623"/>
                <a:gd name="T6" fmla="*/ 93 w 303"/>
                <a:gd name="T7" fmla="*/ 175 h 623"/>
                <a:gd name="T8" fmla="*/ 112 w 303"/>
                <a:gd name="T9" fmla="*/ 164 h 623"/>
                <a:gd name="T10" fmla="*/ 112 w 303"/>
                <a:gd name="T11" fmla="*/ 139 h 623"/>
                <a:gd name="T12" fmla="*/ 103 w 303"/>
                <a:gd name="T13" fmla="*/ 131 h 623"/>
                <a:gd name="T14" fmla="*/ 108 w 303"/>
                <a:gd name="T15" fmla="*/ 123 h 623"/>
                <a:gd name="T16" fmla="*/ 112 w 303"/>
                <a:gd name="T17" fmla="*/ 117 h 623"/>
                <a:gd name="T18" fmla="*/ 115 w 303"/>
                <a:gd name="T19" fmla="*/ 105 h 623"/>
                <a:gd name="T20" fmla="*/ 121 w 303"/>
                <a:gd name="T21" fmla="*/ 99 h 623"/>
                <a:gd name="T22" fmla="*/ 112 w 303"/>
                <a:gd name="T23" fmla="*/ 84 h 623"/>
                <a:gd name="T24" fmla="*/ 98 w 303"/>
                <a:gd name="T25" fmla="*/ 72 h 623"/>
                <a:gd name="T26" fmla="*/ 105 w 303"/>
                <a:gd name="T27" fmla="*/ 53 h 623"/>
                <a:gd name="T28" fmla="*/ 122 w 303"/>
                <a:gd name="T29" fmla="*/ 45 h 623"/>
                <a:gd name="T30" fmla="*/ 123 w 303"/>
                <a:gd name="T31" fmla="*/ 33 h 623"/>
                <a:gd name="T32" fmla="*/ 117 w 303"/>
                <a:gd name="T33" fmla="*/ 21 h 623"/>
                <a:gd name="T34" fmla="*/ 117 w 303"/>
                <a:gd name="T35" fmla="*/ 7 h 623"/>
                <a:gd name="T36" fmla="*/ 108 w 303"/>
                <a:gd name="T37" fmla="*/ 0 h 623"/>
                <a:gd name="T38" fmla="*/ 83 w 303"/>
                <a:gd name="T39" fmla="*/ 10 h 623"/>
                <a:gd name="T40" fmla="*/ 79 w 303"/>
                <a:gd name="T41" fmla="*/ 7 h 623"/>
                <a:gd name="T42" fmla="*/ 65 w 303"/>
                <a:gd name="T43" fmla="*/ 13 h 623"/>
                <a:gd name="T44" fmla="*/ 56 w 303"/>
                <a:gd name="T45" fmla="*/ 13 h 623"/>
                <a:gd name="T46" fmla="*/ 36 w 303"/>
                <a:gd name="T47" fmla="*/ 37 h 623"/>
                <a:gd name="T48" fmla="*/ 29 w 303"/>
                <a:gd name="T49" fmla="*/ 37 h 623"/>
                <a:gd name="T50" fmla="*/ 18 w 303"/>
                <a:gd name="T51" fmla="*/ 45 h 623"/>
                <a:gd name="T52" fmla="*/ 20 w 303"/>
                <a:gd name="T53" fmla="*/ 55 h 623"/>
                <a:gd name="T54" fmla="*/ 14 w 303"/>
                <a:gd name="T55" fmla="*/ 64 h 623"/>
                <a:gd name="T56" fmla="*/ 13 w 303"/>
                <a:gd name="T57" fmla="*/ 75 h 623"/>
                <a:gd name="T58" fmla="*/ 3 w 303"/>
                <a:gd name="T59" fmla="*/ 88 h 623"/>
                <a:gd name="T60" fmla="*/ 13 w 303"/>
                <a:gd name="T61" fmla="*/ 105 h 623"/>
                <a:gd name="T62" fmla="*/ 9 w 303"/>
                <a:gd name="T63" fmla="*/ 117 h 623"/>
                <a:gd name="T64" fmla="*/ 0 w 303"/>
                <a:gd name="T65" fmla="*/ 127 h 623"/>
                <a:gd name="T66" fmla="*/ 13 w 303"/>
                <a:gd name="T67" fmla="*/ 171 h 623"/>
                <a:gd name="T68" fmla="*/ 5 w 303"/>
                <a:gd name="T69" fmla="*/ 193 h 623"/>
                <a:gd name="T70" fmla="*/ 9 w 303"/>
                <a:gd name="T71" fmla="*/ 203 h 6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03" h="623">
                  <a:moveTo>
                    <a:pt x="21" y="623"/>
                  </a:moveTo>
                  <a:lnTo>
                    <a:pt x="87" y="605"/>
                  </a:lnTo>
                  <a:lnTo>
                    <a:pt x="171" y="548"/>
                  </a:lnTo>
                  <a:lnTo>
                    <a:pt x="228" y="536"/>
                  </a:lnTo>
                  <a:lnTo>
                    <a:pt x="273" y="500"/>
                  </a:lnTo>
                  <a:lnTo>
                    <a:pt x="276" y="426"/>
                  </a:lnTo>
                  <a:lnTo>
                    <a:pt x="255" y="399"/>
                  </a:lnTo>
                  <a:lnTo>
                    <a:pt x="264" y="378"/>
                  </a:lnTo>
                  <a:lnTo>
                    <a:pt x="276" y="357"/>
                  </a:lnTo>
                  <a:lnTo>
                    <a:pt x="282" y="324"/>
                  </a:lnTo>
                  <a:lnTo>
                    <a:pt x="294" y="303"/>
                  </a:lnTo>
                  <a:lnTo>
                    <a:pt x="273" y="258"/>
                  </a:lnTo>
                  <a:lnTo>
                    <a:pt x="240" y="219"/>
                  </a:lnTo>
                  <a:lnTo>
                    <a:pt x="258" y="162"/>
                  </a:lnTo>
                  <a:lnTo>
                    <a:pt x="297" y="135"/>
                  </a:lnTo>
                  <a:lnTo>
                    <a:pt x="303" y="99"/>
                  </a:lnTo>
                  <a:lnTo>
                    <a:pt x="288" y="63"/>
                  </a:lnTo>
                  <a:lnTo>
                    <a:pt x="288" y="21"/>
                  </a:lnTo>
                  <a:lnTo>
                    <a:pt x="264" y="0"/>
                  </a:lnTo>
                  <a:lnTo>
                    <a:pt x="204" y="30"/>
                  </a:lnTo>
                  <a:lnTo>
                    <a:pt x="195" y="21"/>
                  </a:lnTo>
                  <a:lnTo>
                    <a:pt x="162" y="42"/>
                  </a:lnTo>
                  <a:lnTo>
                    <a:pt x="138" y="42"/>
                  </a:lnTo>
                  <a:lnTo>
                    <a:pt x="87" y="114"/>
                  </a:lnTo>
                  <a:lnTo>
                    <a:pt x="72" y="114"/>
                  </a:lnTo>
                  <a:lnTo>
                    <a:pt x="45" y="135"/>
                  </a:lnTo>
                  <a:lnTo>
                    <a:pt x="48" y="168"/>
                  </a:lnTo>
                  <a:lnTo>
                    <a:pt x="33" y="195"/>
                  </a:lnTo>
                  <a:lnTo>
                    <a:pt x="30" y="231"/>
                  </a:lnTo>
                  <a:lnTo>
                    <a:pt x="3" y="270"/>
                  </a:lnTo>
                  <a:lnTo>
                    <a:pt x="30" y="324"/>
                  </a:lnTo>
                  <a:lnTo>
                    <a:pt x="21" y="357"/>
                  </a:lnTo>
                  <a:lnTo>
                    <a:pt x="0" y="390"/>
                  </a:lnTo>
                  <a:lnTo>
                    <a:pt x="30" y="524"/>
                  </a:lnTo>
                  <a:lnTo>
                    <a:pt x="12" y="593"/>
                  </a:lnTo>
                  <a:lnTo>
                    <a:pt x="21" y="623"/>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0" name="Freeform 114"/>
            <p:cNvSpPr>
              <a:spLocks/>
            </p:cNvSpPr>
            <p:nvPr/>
          </p:nvSpPr>
          <p:spPr bwMode="auto">
            <a:xfrm>
              <a:off x="4394449" y="3067075"/>
              <a:ext cx="423862" cy="865187"/>
            </a:xfrm>
            <a:custGeom>
              <a:avLst/>
              <a:gdLst>
                <a:gd name="T0" fmla="*/ 9 w 303"/>
                <a:gd name="T1" fmla="*/ 203 h 623"/>
                <a:gd name="T2" fmla="*/ 36 w 303"/>
                <a:gd name="T3" fmla="*/ 198 h 623"/>
                <a:gd name="T4" fmla="*/ 70 w 303"/>
                <a:gd name="T5" fmla="*/ 179 h 623"/>
                <a:gd name="T6" fmla="*/ 93 w 303"/>
                <a:gd name="T7" fmla="*/ 175 h 623"/>
                <a:gd name="T8" fmla="*/ 112 w 303"/>
                <a:gd name="T9" fmla="*/ 164 h 623"/>
                <a:gd name="T10" fmla="*/ 112 w 303"/>
                <a:gd name="T11" fmla="*/ 139 h 623"/>
                <a:gd name="T12" fmla="*/ 103 w 303"/>
                <a:gd name="T13" fmla="*/ 131 h 623"/>
                <a:gd name="T14" fmla="*/ 108 w 303"/>
                <a:gd name="T15" fmla="*/ 123 h 623"/>
                <a:gd name="T16" fmla="*/ 112 w 303"/>
                <a:gd name="T17" fmla="*/ 117 h 623"/>
                <a:gd name="T18" fmla="*/ 115 w 303"/>
                <a:gd name="T19" fmla="*/ 105 h 623"/>
                <a:gd name="T20" fmla="*/ 121 w 303"/>
                <a:gd name="T21" fmla="*/ 99 h 623"/>
                <a:gd name="T22" fmla="*/ 112 w 303"/>
                <a:gd name="T23" fmla="*/ 84 h 623"/>
                <a:gd name="T24" fmla="*/ 98 w 303"/>
                <a:gd name="T25" fmla="*/ 72 h 623"/>
                <a:gd name="T26" fmla="*/ 105 w 303"/>
                <a:gd name="T27" fmla="*/ 53 h 623"/>
                <a:gd name="T28" fmla="*/ 122 w 303"/>
                <a:gd name="T29" fmla="*/ 45 h 623"/>
                <a:gd name="T30" fmla="*/ 123 w 303"/>
                <a:gd name="T31" fmla="*/ 33 h 623"/>
                <a:gd name="T32" fmla="*/ 117 w 303"/>
                <a:gd name="T33" fmla="*/ 21 h 623"/>
                <a:gd name="T34" fmla="*/ 117 w 303"/>
                <a:gd name="T35" fmla="*/ 7 h 623"/>
                <a:gd name="T36" fmla="*/ 108 w 303"/>
                <a:gd name="T37" fmla="*/ 0 h 623"/>
                <a:gd name="T38" fmla="*/ 83 w 303"/>
                <a:gd name="T39" fmla="*/ 10 h 623"/>
                <a:gd name="T40" fmla="*/ 79 w 303"/>
                <a:gd name="T41" fmla="*/ 7 h 623"/>
                <a:gd name="T42" fmla="*/ 65 w 303"/>
                <a:gd name="T43" fmla="*/ 13 h 623"/>
                <a:gd name="T44" fmla="*/ 56 w 303"/>
                <a:gd name="T45" fmla="*/ 13 h 623"/>
                <a:gd name="T46" fmla="*/ 36 w 303"/>
                <a:gd name="T47" fmla="*/ 37 h 623"/>
                <a:gd name="T48" fmla="*/ 29 w 303"/>
                <a:gd name="T49" fmla="*/ 37 h 623"/>
                <a:gd name="T50" fmla="*/ 18 w 303"/>
                <a:gd name="T51" fmla="*/ 45 h 623"/>
                <a:gd name="T52" fmla="*/ 20 w 303"/>
                <a:gd name="T53" fmla="*/ 55 h 623"/>
                <a:gd name="T54" fmla="*/ 14 w 303"/>
                <a:gd name="T55" fmla="*/ 64 h 623"/>
                <a:gd name="T56" fmla="*/ 13 w 303"/>
                <a:gd name="T57" fmla="*/ 75 h 623"/>
                <a:gd name="T58" fmla="*/ 3 w 303"/>
                <a:gd name="T59" fmla="*/ 88 h 623"/>
                <a:gd name="T60" fmla="*/ 13 w 303"/>
                <a:gd name="T61" fmla="*/ 105 h 623"/>
                <a:gd name="T62" fmla="*/ 9 w 303"/>
                <a:gd name="T63" fmla="*/ 117 h 623"/>
                <a:gd name="T64" fmla="*/ 0 w 303"/>
                <a:gd name="T65" fmla="*/ 127 h 623"/>
                <a:gd name="T66" fmla="*/ 13 w 303"/>
                <a:gd name="T67" fmla="*/ 171 h 623"/>
                <a:gd name="T68" fmla="*/ 5 w 303"/>
                <a:gd name="T69" fmla="*/ 193 h 623"/>
                <a:gd name="T70" fmla="*/ 9 w 303"/>
                <a:gd name="T71" fmla="*/ 203 h 6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03" h="623">
                  <a:moveTo>
                    <a:pt x="21" y="623"/>
                  </a:moveTo>
                  <a:lnTo>
                    <a:pt x="87" y="605"/>
                  </a:lnTo>
                  <a:lnTo>
                    <a:pt x="171" y="548"/>
                  </a:lnTo>
                  <a:lnTo>
                    <a:pt x="228" y="536"/>
                  </a:lnTo>
                  <a:lnTo>
                    <a:pt x="273" y="500"/>
                  </a:lnTo>
                  <a:lnTo>
                    <a:pt x="276" y="426"/>
                  </a:lnTo>
                  <a:lnTo>
                    <a:pt x="255" y="399"/>
                  </a:lnTo>
                  <a:lnTo>
                    <a:pt x="264" y="378"/>
                  </a:lnTo>
                  <a:lnTo>
                    <a:pt x="276" y="357"/>
                  </a:lnTo>
                  <a:lnTo>
                    <a:pt x="282" y="324"/>
                  </a:lnTo>
                  <a:lnTo>
                    <a:pt x="294" y="303"/>
                  </a:lnTo>
                  <a:lnTo>
                    <a:pt x="273" y="258"/>
                  </a:lnTo>
                  <a:lnTo>
                    <a:pt x="240" y="219"/>
                  </a:lnTo>
                  <a:lnTo>
                    <a:pt x="258" y="162"/>
                  </a:lnTo>
                  <a:lnTo>
                    <a:pt x="297" y="135"/>
                  </a:lnTo>
                  <a:lnTo>
                    <a:pt x="303" y="99"/>
                  </a:lnTo>
                  <a:lnTo>
                    <a:pt x="288" y="63"/>
                  </a:lnTo>
                  <a:lnTo>
                    <a:pt x="288" y="21"/>
                  </a:lnTo>
                  <a:lnTo>
                    <a:pt x="264" y="0"/>
                  </a:lnTo>
                  <a:lnTo>
                    <a:pt x="204" y="30"/>
                  </a:lnTo>
                  <a:lnTo>
                    <a:pt x="195" y="21"/>
                  </a:lnTo>
                  <a:lnTo>
                    <a:pt x="162" y="42"/>
                  </a:lnTo>
                  <a:lnTo>
                    <a:pt x="138" y="42"/>
                  </a:lnTo>
                  <a:lnTo>
                    <a:pt x="87" y="114"/>
                  </a:lnTo>
                  <a:lnTo>
                    <a:pt x="72" y="114"/>
                  </a:lnTo>
                  <a:lnTo>
                    <a:pt x="45" y="135"/>
                  </a:lnTo>
                  <a:lnTo>
                    <a:pt x="48" y="168"/>
                  </a:lnTo>
                  <a:lnTo>
                    <a:pt x="33" y="195"/>
                  </a:lnTo>
                  <a:lnTo>
                    <a:pt x="30" y="231"/>
                  </a:lnTo>
                  <a:lnTo>
                    <a:pt x="3" y="270"/>
                  </a:lnTo>
                  <a:lnTo>
                    <a:pt x="30" y="324"/>
                  </a:lnTo>
                  <a:lnTo>
                    <a:pt x="21" y="357"/>
                  </a:lnTo>
                  <a:lnTo>
                    <a:pt x="0" y="390"/>
                  </a:lnTo>
                  <a:lnTo>
                    <a:pt x="30" y="524"/>
                  </a:lnTo>
                  <a:lnTo>
                    <a:pt x="12" y="593"/>
                  </a:lnTo>
                  <a:lnTo>
                    <a:pt x="21" y="623"/>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1" name="Freeform 115"/>
            <p:cNvSpPr>
              <a:spLocks/>
            </p:cNvSpPr>
            <p:nvPr/>
          </p:nvSpPr>
          <p:spPr bwMode="auto">
            <a:xfrm>
              <a:off x="4946899" y="3333775"/>
              <a:ext cx="792162" cy="536575"/>
            </a:xfrm>
            <a:custGeom>
              <a:avLst/>
              <a:gdLst>
                <a:gd name="T0" fmla="*/ 50 w 566"/>
                <a:gd name="T1" fmla="*/ 122 h 386"/>
                <a:gd name="T2" fmla="*/ 53 w 566"/>
                <a:gd name="T3" fmla="*/ 115 h 386"/>
                <a:gd name="T4" fmla="*/ 60 w 566"/>
                <a:gd name="T5" fmla="*/ 111 h 386"/>
                <a:gd name="T6" fmla="*/ 75 w 566"/>
                <a:gd name="T7" fmla="*/ 122 h 386"/>
                <a:gd name="T8" fmla="*/ 79 w 566"/>
                <a:gd name="T9" fmla="*/ 122 h 386"/>
                <a:gd name="T10" fmla="*/ 92 w 566"/>
                <a:gd name="T11" fmla="*/ 121 h 386"/>
                <a:gd name="T12" fmla="*/ 101 w 566"/>
                <a:gd name="T13" fmla="*/ 116 h 386"/>
                <a:gd name="T14" fmla="*/ 112 w 566"/>
                <a:gd name="T15" fmla="*/ 123 h 386"/>
                <a:gd name="T16" fmla="*/ 118 w 566"/>
                <a:gd name="T17" fmla="*/ 116 h 386"/>
                <a:gd name="T18" fmla="*/ 119 w 566"/>
                <a:gd name="T19" fmla="*/ 111 h 386"/>
                <a:gd name="T20" fmla="*/ 127 w 566"/>
                <a:gd name="T21" fmla="*/ 108 h 386"/>
                <a:gd name="T22" fmla="*/ 131 w 566"/>
                <a:gd name="T23" fmla="*/ 99 h 386"/>
                <a:gd name="T24" fmla="*/ 139 w 566"/>
                <a:gd name="T25" fmla="*/ 97 h 386"/>
                <a:gd name="T26" fmla="*/ 164 w 566"/>
                <a:gd name="T27" fmla="*/ 63 h 386"/>
                <a:gd name="T28" fmla="*/ 159 w 566"/>
                <a:gd name="T29" fmla="*/ 57 h 386"/>
                <a:gd name="T30" fmla="*/ 164 w 566"/>
                <a:gd name="T31" fmla="*/ 54 h 386"/>
                <a:gd name="T32" fmla="*/ 172 w 566"/>
                <a:gd name="T33" fmla="*/ 55 h 386"/>
                <a:gd name="T34" fmla="*/ 180 w 566"/>
                <a:gd name="T35" fmla="*/ 51 h 386"/>
                <a:gd name="T36" fmla="*/ 182 w 566"/>
                <a:gd name="T37" fmla="*/ 43 h 386"/>
                <a:gd name="T38" fmla="*/ 206 w 566"/>
                <a:gd name="T39" fmla="*/ 27 h 386"/>
                <a:gd name="T40" fmla="*/ 221 w 566"/>
                <a:gd name="T41" fmla="*/ 23 h 386"/>
                <a:gd name="T42" fmla="*/ 229 w 566"/>
                <a:gd name="T43" fmla="*/ 17 h 386"/>
                <a:gd name="T44" fmla="*/ 227 w 566"/>
                <a:gd name="T45" fmla="*/ 4 h 386"/>
                <a:gd name="T46" fmla="*/ 216 w 566"/>
                <a:gd name="T47" fmla="*/ 4 h 386"/>
                <a:gd name="T48" fmla="*/ 189 w 566"/>
                <a:gd name="T49" fmla="*/ 6 h 386"/>
                <a:gd name="T50" fmla="*/ 173 w 566"/>
                <a:gd name="T51" fmla="*/ 0 h 386"/>
                <a:gd name="T52" fmla="*/ 164 w 566"/>
                <a:gd name="T53" fmla="*/ 3 h 386"/>
                <a:gd name="T54" fmla="*/ 137 w 566"/>
                <a:gd name="T55" fmla="*/ 27 h 386"/>
                <a:gd name="T56" fmla="*/ 131 w 566"/>
                <a:gd name="T57" fmla="*/ 31 h 386"/>
                <a:gd name="T58" fmla="*/ 114 w 566"/>
                <a:gd name="T59" fmla="*/ 26 h 386"/>
                <a:gd name="T60" fmla="*/ 112 w 566"/>
                <a:gd name="T61" fmla="*/ 19 h 386"/>
                <a:gd name="T62" fmla="*/ 110 w 566"/>
                <a:gd name="T63" fmla="*/ 7 h 386"/>
                <a:gd name="T64" fmla="*/ 101 w 566"/>
                <a:gd name="T65" fmla="*/ 4 h 386"/>
                <a:gd name="T66" fmla="*/ 84 w 566"/>
                <a:gd name="T67" fmla="*/ 6 h 386"/>
                <a:gd name="T68" fmla="*/ 76 w 566"/>
                <a:gd name="T69" fmla="*/ 0 h 386"/>
                <a:gd name="T70" fmla="*/ 62 w 566"/>
                <a:gd name="T71" fmla="*/ 15 h 386"/>
                <a:gd name="T72" fmla="*/ 47 w 566"/>
                <a:gd name="T73" fmla="*/ 17 h 386"/>
                <a:gd name="T74" fmla="*/ 28 w 566"/>
                <a:gd name="T75" fmla="*/ 32 h 386"/>
                <a:gd name="T76" fmla="*/ 5 w 566"/>
                <a:gd name="T77" fmla="*/ 64 h 386"/>
                <a:gd name="T78" fmla="*/ 12 w 566"/>
                <a:gd name="T79" fmla="*/ 73 h 386"/>
                <a:gd name="T80" fmla="*/ 10 w 566"/>
                <a:gd name="T81" fmla="*/ 78 h 386"/>
                <a:gd name="T82" fmla="*/ 10 w 566"/>
                <a:gd name="T83" fmla="*/ 81 h 386"/>
                <a:gd name="T84" fmla="*/ 14 w 566"/>
                <a:gd name="T85" fmla="*/ 84 h 386"/>
                <a:gd name="T86" fmla="*/ 21 w 566"/>
                <a:gd name="T87" fmla="*/ 80 h 386"/>
                <a:gd name="T88" fmla="*/ 31 w 566"/>
                <a:gd name="T89" fmla="*/ 79 h 386"/>
                <a:gd name="T90" fmla="*/ 0 w 566"/>
                <a:gd name="T91" fmla="*/ 107 h 386"/>
                <a:gd name="T92" fmla="*/ 0 w 566"/>
                <a:gd name="T93" fmla="*/ 114 h 386"/>
                <a:gd name="T94" fmla="*/ 5 w 566"/>
                <a:gd name="T95" fmla="*/ 116 h 386"/>
                <a:gd name="T96" fmla="*/ 21 w 566"/>
                <a:gd name="T97" fmla="*/ 125 h 386"/>
                <a:gd name="T98" fmla="*/ 44 w 566"/>
                <a:gd name="T99" fmla="*/ 124 h 386"/>
                <a:gd name="T100" fmla="*/ 50 w 566"/>
                <a:gd name="T101" fmla="*/ 122 h 3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66" h="386">
                  <a:moveTo>
                    <a:pt x="125" y="374"/>
                  </a:moveTo>
                  <a:lnTo>
                    <a:pt x="128" y="353"/>
                  </a:lnTo>
                  <a:lnTo>
                    <a:pt x="149" y="344"/>
                  </a:lnTo>
                  <a:lnTo>
                    <a:pt x="185" y="374"/>
                  </a:lnTo>
                  <a:lnTo>
                    <a:pt x="197" y="374"/>
                  </a:lnTo>
                  <a:lnTo>
                    <a:pt x="230" y="371"/>
                  </a:lnTo>
                  <a:lnTo>
                    <a:pt x="251" y="356"/>
                  </a:lnTo>
                  <a:lnTo>
                    <a:pt x="278" y="377"/>
                  </a:lnTo>
                  <a:lnTo>
                    <a:pt x="290" y="356"/>
                  </a:lnTo>
                  <a:lnTo>
                    <a:pt x="293" y="344"/>
                  </a:lnTo>
                  <a:lnTo>
                    <a:pt x="314" y="332"/>
                  </a:lnTo>
                  <a:lnTo>
                    <a:pt x="323" y="305"/>
                  </a:lnTo>
                  <a:lnTo>
                    <a:pt x="344" y="299"/>
                  </a:lnTo>
                  <a:lnTo>
                    <a:pt x="407" y="195"/>
                  </a:lnTo>
                  <a:lnTo>
                    <a:pt x="395" y="177"/>
                  </a:lnTo>
                  <a:lnTo>
                    <a:pt x="407" y="165"/>
                  </a:lnTo>
                  <a:lnTo>
                    <a:pt x="422" y="168"/>
                  </a:lnTo>
                  <a:lnTo>
                    <a:pt x="443" y="159"/>
                  </a:lnTo>
                  <a:lnTo>
                    <a:pt x="452" y="132"/>
                  </a:lnTo>
                  <a:lnTo>
                    <a:pt x="506" y="84"/>
                  </a:lnTo>
                  <a:lnTo>
                    <a:pt x="545" y="72"/>
                  </a:lnTo>
                  <a:lnTo>
                    <a:pt x="566" y="54"/>
                  </a:lnTo>
                  <a:lnTo>
                    <a:pt x="560" y="15"/>
                  </a:lnTo>
                  <a:lnTo>
                    <a:pt x="533" y="12"/>
                  </a:lnTo>
                  <a:lnTo>
                    <a:pt x="470" y="18"/>
                  </a:lnTo>
                  <a:lnTo>
                    <a:pt x="428" y="0"/>
                  </a:lnTo>
                  <a:lnTo>
                    <a:pt x="404" y="3"/>
                  </a:lnTo>
                  <a:lnTo>
                    <a:pt x="341" y="84"/>
                  </a:lnTo>
                  <a:lnTo>
                    <a:pt x="323" y="96"/>
                  </a:lnTo>
                  <a:lnTo>
                    <a:pt x="281" y="78"/>
                  </a:lnTo>
                  <a:lnTo>
                    <a:pt x="278" y="57"/>
                  </a:lnTo>
                  <a:lnTo>
                    <a:pt x="269" y="21"/>
                  </a:lnTo>
                  <a:lnTo>
                    <a:pt x="248" y="9"/>
                  </a:lnTo>
                  <a:lnTo>
                    <a:pt x="209" y="18"/>
                  </a:lnTo>
                  <a:lnTo>
                    <a:pt x="188" y="0"/>
                  </a:lnTo>
                  <a:lnTo>
                    <a:pt x="152" y="45"/>
                  </a:lnTo>
                  <a:lnTo>
                    <a:pt x="116" y="54"/>
                  </a:lnTo>
                  <a:lnTo>
                    <a:pt x="69" y="99"/>
                  </a:lnTo>
                  <a:lnTo>
                    <a:pt x="12" y="198"/>
                  </a:lnTo>
                  <a:lnTo>
                    <a:pt x="27" y="225"/>
                  </a:lnTo>
                  <a:lnTo>
                    <a:pt x="24" y="237"/>
                  </a:lnTo>
                  <a:lnTo>
                    <a:pt x="24" y="251"/>
                  </a:lnTo>
                  <a:lnTo>
                    <a:pt x="33" y="260"/>
                  </a:lnTo>
                  <a:lnTo>
                    <a:pt x="51" y="248"/>
                  </a:lnTo>
                  <a:lnTo>
                    <a:pt x="78" y="242"/>
                  </a:lnTo>
                  <a:lnTo>
                    <a:pt x="0" y="329"/>
                  </a:lnTo>
                  <a:lnTo>
                    <a:pt x="0" y="350"/>
                  </a:lnTo>
                  <a:lnTo>
                    <a:pt x="15" y="356"/>
                  </a:lnTo>
                  <a:lnTo>
                    <a:pt x="51" y="386"/>
                  </a:lnTo>
                  <a:lnTo>
                    <a:pt x="107" y="380"/>
                  </a:lnTo>
                  <a:lnTo>
                    <a:pt x="125" y="374"/>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2" name="Freeform 116"/>
            <p:cNvSpPr>
              <a:spLocks/>
            </p:cNvSpPr>
            <p:nvPr/>
          </p:nvSpPr>
          <p:spPr bwMode="auto">
            <a:xfrm>
              <a:off x="4946899" y="3333775"/>
              <a:ext cx="792162" cy="536575"/>
            </a:xfrm>
            <a:custGeom>
              <a:avLst/>
              <a:gdLst>
                <a:gd name="T0" fmla="*/ 50 w 566"/>
                <a:gd name="T1" fmla="*/ 122 h 386"/>
                <a:gd name="T2" fmla="*/ 53 w 566"/>
                <a:gd name="T3" fmla="*/ 115 h 386"/>
                <a:gd name="T4" fmla="*/ 60 w 566"/>
                <a:gd name="T5" fmla="*/ 111 h 386"/>
                <a:gd name="T6" fmla="*/ 75 w 566"/>
                <a:gd name="T7" fmla="*/ 122 h 386"/>
                <a:gd name="T8" fmla="*/ 79 w 566"/>
                <a:gd name="T9" fmla="*/ 122 h 386"/>
                <a:gd name="T10" fmla="*/ 92 w 566"/>
                <a:gd name="T11" fmla="*/ 121 h 386"/>
                <a:gd name="T12" fmla="*/ 101 w 566"/>
                <a:gd name="T13" fmla="*/ 116 h 386"/>
                <a:gd name="T14" fmla="*/ 112 w 566"/>
                <a:gd name="T15" fmla="*/ 123 h 386"/>
                <a:gd name="T16" fmla="*/ 118 w 566"/>
                <a:gd name="T17" fmla="*/ 116 h 386"/>
                <a:gd name="T18" fmla="*/ 119 w 566"/>
                <a:gd name="T19" fmla="*/ 111 h 386"/>
                <a:gd name="T20" fmla="*/ 127 w 566"/>
                <a:gd name="T21" fmla="*/ 108 h 386"/>
                <a:gd name="T22" fmla="*/ 131 w 566"/>
                <a:gd name="T23" fmla="*/ 99 h 386"/>
                <a:gd name="T24" fmla="*/ 139 w 566"/>
                <a:gd name="T25" fmla="*/ 97 h 386"/>
                <a:gd name="T26" fmla="*/ 164 w 566"/>
                <a:gd name="T27" fmla="*/ 63 h 386"/>
                <a:gd name="T28" fmla="*/ 159 w 566"/>
                <a:gd name="T29" fmla="*/ 57 h 386"/>
                <a:gd name="T30" fmla="*/ 164 w 566"/>
                <a:gd name="T31" fmla="*/ 54 h 386"/>
                <a:gd name="T32" fmla="*/ 172 w 566"/>
                <a:gd name="T33" fmla="*/ 55 h 386"/>
                <a:gd name="T34" fmla="*/ 180 w 566"/>
                <a:gd name="T35" fmla="*/ 51 h 386"/>
                <a:gd name="T36" fmla="*/ 182 w 566"/>
                <a:gd name="T37" fmla="*/ 43 h 386"/>
                <a:gd name="T38" fmla="*/ 206 w 566"/>
                <a:gd name="T39" fmla="*/ 27 h 386"/>
                <a:gd name="T40" fmla="*/ 221 w 566"/>
                <a:gd name="T41" fmla="*/ 23 h 386"/>
                <a:gd name="T42" fmla="*/ 229 w 566"/>
                <a:gd name="T43" fmla="*/ 17 h 386"/>
                <a:gd name="T44" fmla="*/ 227 w 566"/>
                <a:gd name="T45" fmla="*/ 4 h 386"/>
                <a:gd name="T46" fmla="*/ 216 w 566"/>
                <a:gd name="T47" fmla="*/ 4 h 386"/>
                <a:gd name="T48" fmla="*/ 189 w 566"/>
                <a:gd name="T49" fmla="*/ 6 h 386"/>
                <a:gd name="T50" fmla="*/ 173 w 566"/>
                <a:gd name="T51" fmla="*/ 0 h 386"/>
                <a:gd name="T52" fmla="*/ 164 w 566"/>
                <a:gd name="T53" fmla="*/ 3 h 386"/>
                <a:gd name="T54" fmla="*/ 137 w 566"/>
                <a:gd name="T55" fmla="*/ 27 h 386"/>
                <a:gd name="T56" fmla="*/ 131 w 566"/>
                <a:gd name="T57" fmla="*/ 31 h 386"/>
                <a:gd name="T58" fmla="*/ 114 w 566"/>
                <a:gd name="T59" fmla="*/ 26 h 386"/>
                <a:gd name="T60" fmla="*/ 112 w 566"/>
                <a:gd name="T61" fmla="*/ 19 h 386"/>
                <a:gd name="T62" fmla="*/ 110 w 566"/>
                <a:gd name="T63" fmla="*/ 7 h 386"/>
                <a:gd name="T64" fmla="*/ 101 w 566"/>
                <a:gd name="T65" fmla="*/ 4 h 386"/>
                <a:gd name="T66" fmla="*/ 84 w 566"/>
                <a:gd name="T67" fmla="*/ 6 h 386"/>
                <a:gd name="T68" fmla="*/ 76 w 566"/>
                <a:gd name="T69" fmla="*/ 0 h 386"/>
                <a:gd name="T70" fmla="*/ 62 w 566"/>
                <a:gd name="T71" fmla="*/ 15 h 386"/>
                <a:gd name="T72" fmla="*/ 47 w 566"/>
                <a:gd name="T73" fmla="*/ 17 h 386"/>
                <a:gd name="T74" fmla="*/ 28 w 566"/>
                <a:gd name="T75" fmla="*/ 32 h 386"/>
                <a:gd name="T76" fmla="*/ 5 w 566"/>
                <a:gd name="T77" fmla="*/ 64 h 386"/>
                <a:gd name="T78" fmla="*/ 12 w 566"/>
                <a:gd name="T79" fmla="*/ 73 h 386"/>
                <a:gd name="T80" fmla="*/ 10 w 566"/>
                <a:gd name="T81" fmla="*/ 78 h 386"/>
                <a:gd name="T82" fmla="*/ 10 w 566"/>
                <a:gd name="T83" fmla="*/ 81 h 386"/>
                <a:gd name="T84" fmla="*/ 14 w 566"/>
                <a:gd name="T85" fmla="*/ 84 h 386"/>
                <a:gd name="T86" fmla="*/ 21 w 566"/>
                <a:gd name="T87" fmla="*/ 80 h 386"/>
                <a:gd name="T88" fmla="*/ 31 w 566"/>
                <a:gd name="T89" fmla="*/ 79 h 386"/>
                <a:gd name="T90" fmla="*/ 0 w 566"/>
                <a:gd name="T91" fmla="*/ 107 h 386"/>
                <a:gd name="T92" fmla="*/ 0 w 566"/>
                <a:gd name="T93" fmla="*/ 114 h 386"/>
                <a:gd name="T94" fmla="*/ 5 w 566"/>
                <a:gd name="T95" fmla="*/ 116 h 386"/>
                <a:gd name="T96" fmla="*/ 21 w 566"/>
                <a:gd name="T97" fmla="*/ 125 h 386"/>
                <a:gd name="T98" fmla="*/ 44 w 566"/>
                <a:gd name="T99" fmla="*/ 124 h 386"/>
                <a:gd name="T100" fmla="*/ 50 w 566"/>
                <a:gd name="T101" fmla="*/ 122 h 3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66" h="386">
                  <a:moveTo>
                    <a:pt x="125" y="374"/>
                  </a:moveTo>
                  <a:lnTo>
                    <a:pt x="128" y="353"/>
                  </a:lnTo>
                  <a:lnTo>
                    <a:pt x="149" y="344"/>
                  </a:lnTo>
                  <a:lnTo>
                    <a:pt x="185" y="374"/>
                  </a:lnTo>
                  <a:lnTo>
                    <a:pt x="197" y="374"/>
                  </a:lnTo>
                  <a:lnTo>
                    <a:pt x="230" y="371"/>
                  </a:lnTo>
                  <a:lnTo>
                    <a:pt x="251" y="356"/>
                  </a:lnTo>
                  <a:lnTo>
                    <a:pt x="278" y="377"/>
                  </a:lnTo>
                  <a:lnTo>
                    <a:pt x="290" y="356"/>
                  </a:lnTo>
                  <a:lnTo>
                    <a:pt x="293" y="344"/>
                  </a:lnTo>
                  <a:lnTo>
                    <a:pt x="314" y="332"/>
                  </a:lnTo>
                  <a:lnTo>
                    <a:pt x="323" y="305"/>
                  </a:lnTo>
                  <a:lnTo>
                    <a:pt x="344" y="299"/>
                  </a:lnTo>
                  <a:lnTo>
                    <a:pt x="407" y="195"/>
                  </a:lnTo>
                  <a:lnTo>
                    <a:pt x="395" y="177"/>
                  </a:lnTo>
                  <a:lnTo>
                    <a:pt x="407" y="165"/>
                  </a:lnTo>
                  <a:lnTo>
                    <a:pt x="422" y="168"/>
                  </a:lnTo>
                  <a:lnTo>
                    <a:pt x="443" y="159"/>
                  </a:lnTo>
                  <a:lnTo>
                    <a:pt x="452" y="132"/>
                  </a:lnTo>
                  <a:lnTo>
                    <a:pt x="506" y="84"/>
                  </a:lnTo>
                  <a:lnTo>
                    <a:pt x="545" y="72"/>
                  </a:lnTo>
                  <a:lnTo>
                    <a:pt x="566" y="54"/>
                  </a:lnTo>
                  <a:lnTo>
                    <a:pt x="560" y="15"/>
                  </a:lnTo>
                  <a:lnTo>
                    <a:pt x="533" y="12"/>
                  </a:lnTo>
                  <a:lnTo>
                    <a:pt x="470" y="18"/>
                  </a:lnTo>
                  <a:lnTo>
                    <a:pt x="428" y="0"/>
                  </a:lnTo>
                  <a:lnTo>
                    <a:pt x="404" y="3"/>
                  </a:lnTo>
                  <a:lnTo>
                    <a:pt x="341" y="84"/>
                  </a:lnTo>
                  <a:lnTo>
                    <a:pt x="323" y="96"/>
                  </a:lnTo>
                  <a:lnTo>
                    <a:pt x="281" y="78"/>
                  </a:lnTo>
                  <a:lnTo>
                    <a:pt x="278" y="57"/>
                  </a:lnTo>
                  <a:lnTo>
                    <a:pt x="269" y="21"/>
                  </a:lnTo>
                  <a:lnTo>
                    <a:pt x="248" y="9"/>
                  </a:lnTo>
                  <a:lnTo>
                    <a:pt x="209" y="18"/>
                  </a:lnTo>
                  <a:lnTo>
                    <a:pt x="188" y="0"/>
                  </a:lnTo>
                  <a:lnTo>
                    <a:pt x="152" y="45"/>
                  </a:lnTo>
                  <a:lnTo>
                    <a:pt x="116" y="54"/>
                  </a:lnTo>
                  <a:lnTo>
                    <a:pt x="69" y="99"/>
                  </a:lnTo>
                  <a:lnTo>
                    <a:pt x="12" y="198"/>
                  </a:lnTo>
                  <a:lnTo>
                    <a:pt x="27" y="225"/>
                  </a:lnTo>
                  <a:lnTo>
                    <a:pt x="24" y="237"/>
                  </a:lnTo>
                  <a:lnTo>
                    <a:pt x="24" y="251"/>
                  </a:lnTo>
                  <a:lnTo>
                    <a:pt x="33" y="260"/>
                  </a:lnTo>
                  <a:lnTo>
                    <a:pt x="51" y="248"/>
                  </a:lnTo>
                  <a:lnTo>
                    <a:pt x="78" y="242"/>
                  </a:lnTo>
                  <a:lnTo>
                    <a:pt x="0" y="329"/>
                  </a:lnTo>
                  <a:lnTo>
                    <a:pt x="0" y="350"/>
                  </a:lnTo>
                  <a:lnTo>
                    <a:pt x="15" y="356"/>
                  </a:lnTo>
                  <a:lnTo>
                    <a:pt x="51" y="386"/>
                  </a:lnTo>
                  <a:lnTo>
                    <a:pt x="107" y="380"/>
                  </a:lnTo>
                  <a:lnTo>
                    <a:pt x="125" y="374"/>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3" name="Freeform 117"/>
            <p:cNvSpPr>
              <a:spLocks/>
            </p:cNvSpPr>
            <p:nvPr/>
          </p:nvSpPr>
          <p:spPr bwMode="auto">
            <a:xfrm>
              <a:off x="4723061" y="2735287"/>
              <a:ext cx="658813" cy="938213"/>
            </a:xfrm>
            <a:custGeom>
              <a:avLst/>
              <a:gdLst>
                <a:gd name="T0" fmla="*/ 77 w 470"/>
                <a:gd name="T1" fmla="*/ 213 h 677"/>
                <a:gd name="T2" fmla="*/ 94 w 470"/>
                <a:gd name="T3" fmla="*/ 172 h 677"/>
                <a:gd name="T4" fmla="*/ 128 w 470"/>
                <a:gd name="T5" fmla="*/ 155 h 677"/>
                <a:gd name="T6" fmla="*/ 135 w 470"/>
                <a:gd name="T7" fmla="*/ 138 h 677"/>
                <a:gd name="T8" fmla="*/ 121 w 470"/>
                <a:gd name="T9" fmla="*/ 131 h 677"/>
                <a:gd name="T10" fmla="*/ 102 w 470"/>
                <a:gd name="T11" fmla="*/ 124 h 677"/>
                <a:gd name="T12" fmla="*/ 93 w 470"/>
                <a:gd name="T13" fmla="*/ 104 h 677"/>
                <a:gd name="T14" fmla="*/ 74 w 470"/>
                <a:gd name="T15" fmla="*/ 105 h 677"/>
                <a:gd name="T16" fmla="*/ 55 w 470"/>
                <a:gd name="T17" fmla="*/ 100 h 677"/>
                <a:gd name="T18" fmla="*/ 70 w 470"/>
                <a:gd name="T19" fmla="*/ 79 h 677"/>
                <a:gd name="T20" fmla="*/ 85 w 470"/>
                <a:gd name="T21" fmla="*/ 56 h 677"/>
                <a:gd name="T22" fmla="*/ 113 w 470"/>
                <a:gd name="T23" fmla="*/ 65 h 677"/>
                <a:gd name="T24" fmla="*/ 122 w 470"/>
                <a:gd name="T25" fmla="*/ 80 h 677"/>
                <a:gd name="T26" fmla="*/ 124 w 470"/>
                <a:gd name="T27" fmla="*/ 94 h 677"/>
                <a:gd name="T28" fmla="*/ 140 w 470"/>
                <a:gd name="T29" fmla="*/ 105 h 677"/>
                <a:gd name="T30" fmla="*/ 177 w 470"/>
                <a:gd name="T31" fmla="*/ 98 h 677"/>
                <a:gd name="T32" fmla="*/ 193 w 470"/>
                <a:gd name="T33" fmla="*/ 73 h 677"/>
                <a:gd name="T34" fmla="*/ 174 w 470"/>
                <a:gd name="T35" fmla="*/ 60 h 677"/>
                <a:gd name="T36" fmla="*/ 162 w 470"/>
                <a:gd name="T37" fmla="*/ 39 h 677"/>
                <a:gd name="T38" fmla="*/ 128 w 470"/>
                <a:gd name="T39" fmla="*/ 24 h 677"/>
                <a:gd name="T40" fmla="*/ 110 w 470"/>
                <a:gd name="T41" fmla="*/ 0 h 677"/>
                <a:gd name="T42" fmla="*/ 85 w 470"/>
                <a:gd name="T43" fmla="*/ 15 h 677"/>
                <a:gd name="T44" fmla="*/ 86 w 470"/>
                <a:gd name="T45" fmla="*/ 26 h 677"/>
                <a:gd name="T46" fmla="*/ 63 w 470"/>
                <a:gd name="T47" fmla="*/ 31 h 677"/>
                <a:gd name="T48" fmla="*/ 49 w 470"/>
                <a:gd name="T49" fmla="*/ 34 h 677"/>
                <a:gd name="T50" fmla="*/ 28 w 470"/>
                <a:gd name="T51" fmla="*/ 40 h 677"/>
                <a:gd name="T52" fmla="*/ 23 w 470"/>
                <a:gd name="T53" fmla="*/ 26 h 677"/>
                <a:gd name="T54" fmla="*/ 5 w 470"/>
                <a:gd name="T55" fmla="*/ 45 h 677"/>
                <a:gd name="T56" fmla="*/ 13 w 470"/>
                <a:gd name="T57" fmla="*/ 78 h 677"/>
                <a:gd name="T58" fmla="*/ 23 w 470"/>
                <a:gd name="T59" fmla="*/ 98 h 677"/>
                <a:gd name="T60" fmla="*/ 26 w 470"/>
                <a:gd name="T61" fmla="*/ 122 h 677"/>
                <a:gd name="T62" fmla="*/ 5 w 470"/>
                <a:gd name="T63" fmla="*/ 148 h 677"/>
                <a:gd name="T64" fmla="*/ 25 w 470"/>
                <a:gd name="T65" fmla="*/ 176 h 677"/>
                <a:gd name="T66" fmla="*/ 17 w 470"/>
                <a:gd name="T67" fmla="*/ 194 h 677"/>
                <a:gd name="T68" fmla="*/ 9 w 470"/>
                <a:gd name="T69" fmla="*/ 207 h 677"/>
                <a:gd name="T70" fmla="*/ 55 w 470"/>
                <a:gd name="T71" fmla="*/ 220 h 677"/>
                <a:gd name="T72" fmla="*/ 75 w 470"/>
                <a:gd name="T73" fmla="*/ 217 h 6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70" h="677">
                  <a:moveTo>
                    <a:pt x="183" y="669"/>
                  </a:moveTo>
                  <a:lnTo>
                    <a:pt x="186" y="657"/>
                  </a:lnTo>
                  <a:lnTo>
                    <a:pt x="171" y="630"/>
                  </a:lnTo>
                  <a:lnTo>
                    <a:pt x="228" y="531"/>
                  </a:lnTo>
                  <a:lnTo>
                    <a:pt x="275" y="486"/>
                  </a:lnTo>
                  <a:lnTo>
                    <a:pt x="311" y="477"/>
                  </a:lnTo>
                  <a:lnTo>
                    <a:pt x="347" y="432"/>
                  </a:lnTo>
                  <a:lnTo>
                    <a:pt x="332" y="423"/>
                  </a:lnTo>
                  <a:lnTo>
                    <a:pt x="320" y="393"/>
                  </a:lnTo>
                  <a:lnTo>
                    <a:pt x="293" y="402"/>
                  </a:lnTo>
                  <a:lnTo>
                    <a:pt x="251" y="393"/>
                  </a:lnTo>
                  <a:lnTo>
                    <a:pt x="248" y="381"/>
                  </a:lnTo>
                  <a:lnTo>
                    <a:pt x="248" y="306"/>
                  </a:lnTo>
                  <a:lnTo>
                    <a:pt x="225" y="318"/>
                  </a:lnTo>
                  <a:lnTo>
                    <a:pt x="210" y="330"/>
                  </a:lnTo>
                  <a:lnTo>
                    <a:pt x="180" y="321"/>
                  </a:lnTo>
                  <a:lnTo>
                    <a:pt x="141" y="327"/>
                  </a:lnTo>
                  <a:lnTo>
                    <a:pt x="135" y="309"/>
                  </a:lnTo>
                  <a:lnTo>
                    <a:pt x="141" y="276"/>
                  </a:lnTo>
                  <a:lnTo>
                    <a:pt x="171" y="243"/>
                  </a:lnTo>
                  <a:lnTo>
                    <a:pt x="177" y="204"/>
                  </a:lnTo>
                  <a:lnTo>
                    <a:pt x="207" y="174"/>
                  </a:lnTo>
                  <a:lnTo>
                    <a:pt x="257" y="201"/>
                  </a:lnTo>
                  <a:lnTo>
                    <a:pt x="272" y="201"/>
                  </a:lnTo>
                  <a:lnTo>
                    <a:pt x="281" y="240"/>
                  </a:lnTo>
                  <a:lnTo>
                    <a:pt x="296" y="246"/>
                  </a:lnTo>
                  <a:lnTo>
                    <a:pt x="302" y="270"/>
                  </a:lnTo>
                  <a:lnTo>
                    <a:pt x="302" y="288"/>
                  </a:lnTo>
                  <a:lnTo>
                    <a:pt x="332" y="309"/>
                  </a:lnTo>
                  <a:lnTo>
                    <a:pt x="338" y="327"/>
                  </a:lnTo>
                  <a:lnTo>
                    <a:pt x="365" y="339"/>
                  </a:lnTo>
                  <a:lnTo>
                    <a:pt x="431" y="303"/>
                  </a:lnTo>
                  <a:lnTo>
                    <a:pt x="431" y="282"/>
                  </a:lnTo>
                  <a:lnTo>
                    <a:pt x="470" y="225"/>
                  </a:lnTo>
                  <a:lnTo>
                    <a:pt x="443" y="186"/>
                  </a:lnTo>
                  <a:lnTo>
                    <a:pt x="422" y="186"/>
                  </a:lnTo>
                  <a:lnTo>
                    <a:pt x="383" y="159"/>
                  </a:lnTo>
                  <a:lnTo>
                    <a:pt x="395" y="120"/>
                  </a:lnTo>
                  <a:lnTo>
                    <a:pt x="338" y="114"/>
                  </a:lnTo>
                  <a:lnTo>
                    <a:pt x="311" y="75"/>
                  </a:lnTo>
                  <a:lnTo>
                    <a:pt x="314" y="54"/>
                  </a:lnTo>
                  <a:lnTo>
                    <a:pt x="266" y="0"/>
                  </a:lnTo>
                  <a:lnTo>
                    <a:pt x="234" y="18"/>
                  </a:lnTo>
                  <a:lnTo>
                    <a:pt x="207" y="45"/>
                  </a:lnTo>
                  <a:lnTo>
                    <a:pt x="216" y="66"/>
                  </a:lnTo>
                  <a:lnTo>
                    <a:pt x="210" y="78"/>
                  </a:lnTo>
                  <a:lnTo>
                    <a:pt x="171" y="81"/>
                  </a:lnTo>
                  <a:lnTo>
                    <a:pt x="153" y="96"/>
                  </a:lnTo>
                  <a:lnTo>
                    <a:pt x="135" y="90"/>
                  </a:lnTo>
                  <a:lnTo>
                    <a:pt x="120" y="105"/>
                  </a:lnTo>
                  <a:lnTo>
                    <a:pt x="84" y="132"/>
                  </a:lnTo>
                  <a:lnTo>
                    <a:pt x="69" y="123"/>
                  </a:lnTo>
                  <a:lnTo>
                    <a:pt x="69" y="84"/>
                  </a:lnTo>
                  <a:lnTo>
                    <a:pt x="54" y="78"/>
                  </a:lnTo>
                  <a:lnTo>
                    <a:pt x="33" y="87"/>
                  </a:lnTo>
                  <a:lnTo>
                    <a:pt x="9" y="141"/>
                  </a:lnTo>
                  <a:lnTo>
                    <a:pt x="0" y="189"/>
                  </a:lnTo>
                  <a:lnTo>
                    <a:pt x="30" y="240"/>
                  </a:lnTo>
                  <a:lnTo>
                    <a:pt x="54" y="261"/>
                  </a:lnTo>
                  <a:lnTo>
                    <a:pt x="54" y="303"/>
                  </a:lnTo>
                  <a:lnTo>
                    <a:pt x="69" y="339"/>
                  </a:lnTo>
                  <a:lnTo>
                    <a:pt x="63" y="375"/>
                  </a:lnTo>
                  <a:lnTo>
                    <a:pt x="24" y="402"/>
                  </a:lnTo>
                  <a:lnTo>
                    <a:pt x="6" y="459"/>
                  </a:lnTo>
                  <a:lnTo>
                    <a:pt x="39" y="498"/>
                  </a:lnTo>
                  <a:lnTo>
                    <a:pt x="60" y="543"/>
                  </a:lnTo>
                  <a:lnTo>
                    <a:pt x="48" y="564"/>
                  </a:lnTo>
                  <a:lnTo>
                    <a:pt x="42" y="597"/>
                  </a:lnTo>
                  <a:lnTo>
                    <a:pt x="30" y="618"/>
                  </a:lnTo>
                  <a:lnTo>
                    <a:pt x="21" y="639"/>
                  </a:lnTo>
                  <a:lnTo>
                    <a:pt x="42" y="666"/>
                  </a:lnTo>
                  <a:lnTo>
                    <a:pt x="135" y="677"/>
                  </a:lnTo>
                  <a:lnTo>
                    <a:pt x="171" y="666"/>
                  </a:lnTo>
                  <a:lnTo>
                    <a:pt x="183" y="669"/>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4" name="Freeform 118"/>
            <p:cNvSpPr>
              <a:spLocks/>
            </p:cNvSpPr>
            <p:nvPr/>
          </p:nvSpPr>
          <p:spPr bwMode="auto">
            <a:xfrm>
              <a:off x="4723061" y="2735287"/>
              <a:ext cx="658813" cy="938213"/>
            </a:xfrm>
            <a:custGeom>
              <a:avLst/>
              <a:gdLst>
                <a:gd name="T0" fmla="*/ 77 w 470"/>
                <a:gd name="T1" fmla="*/ 213 h 677"/>
                <a:gd name="T2" fmla="*/ 94 w 470"/>
                <a:gd name="T3" fmla="*/ 172 h 677"/>
                <a:gd name="T4" fmla="*/ 128 w 470"/>
                <a:gd name="T5" fmla="*/ 155 h 677"/>
                <a:gd name="T6" fmla="*/ 135 w 470"/>
                <a:gd name="T7" fmla="*/ 138 h 677"/>
                <a:gd name="T8" fmla="*/ 121 w 470"/>
                <a:gd name="T9" fmla="*/ 131 h 677"/>
                <a:gd name="T10" fmla="*/ 102 w 470"/>
                <a:gd name="T11" fmla="*/ 124 h 677"/>
                <a:gd name="T12" fmla="*/ 93 w 470"/>
                <a:gd name="T13" fmla="*/ 104 h 677"/>
                <a:gd name="T14" fmla="*/ 74 w 470"/>
                <a:gd name="T15" fmla="*/ 105 h 677"/>
                <a:gd name="T16" fmla="*/ 55 w 470"/>
                <a:gd name="T17" fmla="*/ 100 h 677"/>
                <a:gd name="T18" fmla="*/ 70 w 470"/>
                <a:gd name="T19" fmla="*/ 79 h 677"/>
                <a:gd name="T20" fmla="*/ 85 w 470"/>
                <a:gd name="T21" fmla="*/ 56 h 677"/>
                <a:gd name="T22" fmla="*/ 113 w 470"/>
                <a:gd name="T23" fmla="*/ 65 h 677"/>
                <a:gd name="T24" fmla="*/ 122 w 470"/>
                <a:gd name="T25" fmla="*/ 80 h 677"/>
                <a:gd name="T26" fmla="*/ 124 w 470"/>
                <a:gd name="T27" fmla="*/ 94 h 677"/>
                <a:gd name="T28" fmla="*/ 140 w 470"/>
                <a:gd name="T29" fmla="*/ 105 h 677"/>
                <a:gd name="T30" fmla="*/ 177 w 470"/>
                <a:gd name="T31" fmla="*/ 98 h 677"/>
                <a:gd name="T32" fmla="*/ 193 w 470"/>
                <a:gd name="T33" fmla="*/ 73 h 677"/>
                <a:gd name="T34" fmla="*/ 174 w 470"/>
                <a:gd name="T35" fmla="*/ 60 h 677"/>
                <a:gd name="T36" fmla="*/ 162 w 470"/>
                <a:gd name="T37" fmla="*/ 39 h 677"/>
                <a:gd name="T38" fmla="*/ 128 w 470"/>
                <a:gd name="T39" fmla="*/ 24 h 677"/>
                <a:gd name="T40" fmla="*/ 110 w 470"/>
                <a:gd name="T41" fmla="*/ 0 h 677"/>
                <a:gd name="T42" fmla="*/ 85 w 470"/>
                <a:gd name="T43" fmla="*/ 15 h 677"/>
                <a:gd name="T44" fmla="*/ 86 w 470"/>
                <a:gd name="T45" fmla="*/ 26 h 677"/>
                <a:gd name="T46" fmla="*/ 63 w 470"/>
                <a:gd name="T47" fmla="*/ 31 h 677"/>
                <a:gd name="T48" fmla="*/ 49 w 470"/>
                <a:gd name="T49" fmla="*/ 34 h 677"/>
                <a:gd name="T50" fmla="*/ 28 w 470"/>
                <a:gd name="T51" fmla="*/ 40 h 677"/>
                <a:gd name="T52" fmla="*/ 23 w 470"/>
                <a:gd name="T53" fmla="*/ 26 h 677"/>
                <a:gd name="T54" fmla="*/ 5 w 470"/>
                <a:gd name="T55" fmla="*/ 45 h 677"/>
                <a:gd name="T56" fmla="*/ 13 w 470"/>
                <a:gd name="T57" fmla="*/ 78 h 677"/>
                <a:gd name="T58" fmla="*/ 23 w 470"/>
                <a:gd name="T59" fmla="*/ 98 h 677"/>
                <a:gd name="T60" fmla="*/ 26 w 470"/>
                <a:gd name="T61" fmla="*/ 122 h 677"/>
                <a:gd name="T62" fmla="*/ 5 w 470"/>
                <a:gd name="T63" fmla="*/ 148 h 677"/>
                <a:gd name="T64" fmla="*/ 25 w 470"/>
                <a:gd name="T65" fmla="*/ 176 h 677"/>
                <a:gd name="T66" fmla="*/ 17 w 470"/>
                <a:gd name="T67" fmla="*/ 194 h 677"/>
                <a:gd name="T68" fmla="*/ 9 w 470"/>
                <a:gd name="T69" fmla="*/ 207 h 677"/>
                <a:gd name="T70" fmla="*/ 55 w 470"/>
                <a:gd name="T71" fmla="*/ 220 h 677"/>
                <a:gd name="T72" fmla="*/ 75 w 470"/>
                <a:gd name="T73" fmla="*/ 217 h 6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70" h="677">
                  <a:moveTo>
                    <a:pt x="183" y="669"/>
                  </a:moveTo>
                  <a:lnTo>
                    <a:pt x="186" y="657"/>
                  </a:lnTo>
                  <a:lnTo>
                    <a:pt x="171" y="630"/>
                  </a:lnTo>
                  <a:lnTo>
                    <a:pt x="228" y="531"/>
                  </a:lnTo>
                  <a:lnTo>
                    <a:pt x="275" y="486"/>
                  </a:lnTo>
                  <a:lnTo>
                    <a:pt x="311" y="477"/>
                  </a:lnTo>
                  <a:lnTo>
                    <a:pt x="347" y="432"/>
                  </a:lnTo>
                  <a:lnTo>
                    <a:pt x="332" y="423"/>
                  </a:lnTo>
                  <a:lnTo>
                    <a:pt x="320" y="393"/>
                  </a:lnTo>
                  <a:lnTo>
                    <a:pt x="293" y="402"/>
                  </a:lnTo>
                  <a:lnTo>
                    <a:pt x="251" y="393"/>
                  </a:lnTo>
                  <a:lnTo>
                    <a:pt x="248" y="381"/>
                  </a:lnTo>
                  <a:lnTo>
                    <a:pt x="248" y="306"/>
                  </a:lnTo>
                  <a:lnTo>
                    <a:pt x="225" y="318"/>
                  </a:lnTo>
                  <a:lnTo>
                    <a:pt x="210" y="330"/>
                  </a:lnTo>
                  <a:lnTo>
                    <a:pt x="180" y="321"/>
                  </a:lnTo>
                  <a:lnTo>
                    <a:pt x="141" y="327"/>
                  </a:lnTo>
                  <a:lnTo>
                    <a:pt x="135" y="309"/>
                  </a:lnTo>
                  <a:lnTo>
                    <a:pt x="141" y="276"/>
                  </a:lnTo>
                  <a:lnTo>
                    <a:pt x="171" y="243"/>
                  </a:lnTo>
                  <a:lnTo>
                    <a:pt x="177" y="204"/>
                  </a:lnTo>
                  <a:lnTo>
                    <a:pt x="207" y="174"/>
                  </a:lnTo>
                  <a:lnTo>
                    <a:pt x="257" y="201"/>
                  </a:lnTo>
                  <a:lnTo>
                    <a:pt x="272" y="201"/>
                  </a:lnTo>
                  <a:lnTo>
                    <a:pt x="281" y="240"/>
                  </a:lnTo>
                  <a:lnTo>
                    <a:pt x="296" y="246"/>
                  </a:lnTo>
                  <a:lnTo>
                    <a:pt x="302" y="270"/>
                  </a:lnTo>
                  <a:lnTo>
                    <a:pt x="302" y="288"/>
                  </a:lnTo>
                  <a:lnTo>
                    <a:pt x="332" y="309"/>
                  </a:lnTo>
                  <a:lnTo>
                    <a:pt x="338" y="327"/>
                  </a:lnTo>
                  <a:lnTo>
                    <a:pt x="365" y="339"/>
                  </a:lnTo>
                  <a:lnTo>
                    <a:pt x="431" y="303"/>
                  </a:lnTo>
                  <a:lnTo>
                    <a:pt x="431" y="282"/>
                  </a:lnTo>
                  <a:lnTo>
                    <a:pt x="470" y="225"/>
                  </a:lnTo>
                  <a:lnTo>
                    <a:pt x="443" y="186"/>
                  </a:lnTo>
                  <a:lnTo>
                    <a:pt x="422" y="186"/>
                  </a:lnTo>
                  <a:lnTo>
                    <a:pt x="383" y="159"/>
                  </a:lnTo>
                  <a:lnTo>
                    <a:pt x="395" y="120"/>
                  </a:lnTo>
                  <a:lnTo>
                    <a:pt x="338" y="114"/>
                  </a:lnTo>
                  <a:lnTo>
                    <a:pt x="311" y="75"/>
                  </a:lnTo>
                  <a:lnTo>
                    <a:pt x="314" y="54"/>
                  </a:lnTo>
                  <a:lnTo>
                    <a:pt x="266" y="0"/>
                  </a:lnTo>
                  <a:lnTo>
                    <a:pt x="234" y="18"/>
                  </a:lnTo>
                  <a:lnTo>
                    <a:pt x="207" y="45"/>
                  </a:lnTo>
                  <a:lnTo>
                    <a:pt x="216" y="66"/>
                  </a:lnTo>
                  <a:lnTo>
                    <a:pt x="210" y="78"/>
                  </a:lnTo>
                  <a:lnTo>
                    <a:pt x="171" y="81"/>
                  </a:lnTo>
                  <a:lnTo>
                    <a:pt x="153" y="96"/>
                  </a:lnTo>
                  <a:lnTo>
                    <a:pt x="135" y="90"/>
                  </a:lnTo>
                  <a:lnTo>
                    <a:pt x="120" y="105"/>
                  </a:lnTo>
                  <a:lnTo>
                    <a:pt x="84" y="132"/>
                  </a:lnTo>
                  <a:lnTo>
                    <a:pt x="69" y="123"/>
                  </a:lnTo>
                  <a:lnTo>
                    <a:pt x="69" y="84"/>
                  </a:lnTo>
                  <a:lnTo>
                    <a:pt x="54" y="78"/>
                  </a:lnTo>
                  <a:lnTo>
                    <a:pt x="33" y="87"/>
                  </a:lnTo>
                  <a:lnTo>
                    <a:pt x="9" y="141"/>
                  </a:lnTo>
                  <a:lnTo>
                    <a:pt x="0" y="189"/>
                  </a:lnTo>
                  <a:lnTo>
                    <a:pt x="30" y="240"/>
                  </a:lnTo>
                  <a:lnTo>
                    <a:pt x="54" y="261"/>
                  </a:lnTo>
                  <a:lnTo>
                    <a:pt x="54" y="303"/>
                  </a:lnTo>
                  <a:lnTo>
                    <a:pt x="69" y="339"/>
                  </a:lnTo>
                  <a:lnTo>
                    <a:pt x="63" y="375"/>
                  </a:lnTo>
                  <a:lnTo>
                    <a:pt x="24" y="402"/>
                  </a:lnTo>
                  <a:lnTo>
                    <a:pt x="6" y="459"/>
                  </a:lnTo>
                  <a:lnTo>
                    <a:pt x="39" y="498"/>
                  </a:lnTo>
                  <a:lnTo>
                    <a:pt x="60" y="543"/>
                  </a:lnTo>
                  <a:lnTo>
                    <a:pt x="48" y="564"/>
                  </a:lnTo>
                  <a:lnTo>
                    <a:pt x="42" y="597"/>
                  </a:lnTo>
                  <a:lnTo>
                    <a:pt x="30" y="618"/>
                  </a:lnTo>
                  <a:lnTo>
                    <a:pt x="21" y="639"/>
                  </a:lnTo>
                  <a:lnTo>
                    <a:pt x="42" y="666"/>
                  </a:lnTo>
                  <a:lnTo>
                    <a:pt x="135" y="677"/>
                  </a:lnTo>
                  <a:lnTo>
                    <a:pt x="171" y="666"/>
                  </a:lnTo>
                  <a:lnTo>
                    <a:pt x="183" y="669"/>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5" name="Freeform 119"/>
            <p:cNvSpPr>
              <a:spLocks/>
            </p:cNvSpPr>
            <p:nvPr/>
          </p:nvSpPr>
          <p:spPr bwMode="auto">
            <a:xfrm>
              <a:off x="5070724" y="3067075"/>
              <a:ext cx="125412" cy="225425"/>
            </a:xfrm>
            <a:custGeom>
              <a:avLst/>
              <a:gdLst>
                <a:gd name="T0" fmla="*/ 29 w 90"/>
                <a:gd name="T1" fmla="*/ 51 h 162"/>
                <a:gd name="T2" fmla="*/ 18 w 90"/>
                <a:gd name="T3" fmla="*/ 53 h 162"/>
                <a:gd name="T4" fmla="*/ 3 w 90"/>
                <a:gd name="T5" fmla="*/ 51 h 162"/>
                <a:gd name="T6" fmla="*/ 0 w 90"/>
                <a:gd name="T7" fmla="*/ 47 h 162"/>
                <a:gd name="T8" fmla="*/ 0 w 90"/>
                <a:gd name="T9" fmla="*/ 21 h 162"/>
                <a:gd name="T10" fmla="*/ 11 w 90"/>
                <a:gd name="T11" fmla="*/ 17 h 162"/>
                <a:gd name="T12" fmla="*/ 10 w 90"/>
                <a:gd name="T13" fmla="*/ 13 h 162"/>
                <a:gd name="T14" fmla="*/ 12 w 90"/>
                <a:gd name="T15" fmla="*/ 4 h 162"/>
                <a:gd name="T16" fmla="*/ 13 w 90"/>
                <a:gd name="T17" fmla="*/ 0 h 162"/>
                <a:gd name="T18" fmla="*/ 19 w 90"/>
                <a:gd name="T19" fmla="*/ 4 h 162"/>
                <a:gd name="T20" fmla="*/ 22 w 90"/>
                <a:gd name="T21" fmla="*/ 10 h 162"/>
                <a:gd name="T22" fmla="*/ 22 w 90"/>
                <a:gd name="T23" fmla="*/ 15 h 162"/>
                <a:gd name="T24" fmla="*/ 33 w 90"/>
                <a:gd name="T25" fmla="*/ 22 h 162"/>
                <a:gd name="T26" fmla="*/ 35 w 90"/>
                <a:gd name="T27" fmla="*/ 29 h 162"/>
                <a:gd name="T28" fmla="*/ 29 w 90"/>
                <a:gd name="T29" fmla="*/ 34 h 162"/>
                <a:gd name="T30" fmla="*/ 25 w 90"/>
                <a:gd name="T31" fmla="*/ 44 h 162"/>
                <a:gd name="T32" fmla="*/ 29 w 90"/>
                <a:gd name="T33" fmla="*/ 51 h 1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162">
                  <a:moveTo>
                    <a:pt x="72" y="153"/>
                  </a:moveTo>
                  <a:lnTo>
                    <a:pt x="45" y="162"/>
                  </a:lnTo>
                  <a:lnTo>
                    <a:pt x="3" y="153"/>
                  </a:lnTo>
                  <a:lnTo>
                    <a:pt x="0" y="141"/>
                  </a:lnTo>
                  <a:lnTo>
                    <a:pt x="0" y="66"/>
                  </a:lnTo>
                  <a:lnTo>
                    <a:pt x="27" y="54"/>
                  </a:lnTo>
                  <a:lnTo>
                    <a:pt x="24" y="42"/>
                  </a:lnTo>
                  <a:lnTo>
                    <a:pt x="30" y="12"/>
                  </a:lnTo>
                  <a:lnTo>
                    <a:pt x="33" y="0"/>
                  </a:lnTo>
                  <a:lnTo>
                    <a:pt x="48" y="6"/>
                  </a:lnTo>
                  <a:lnTo>
                    <a:pt x="54" y="30"/>
                  </a:lnTo>
                  <a:lnTo>
                    <a:pt x="54" y="48"/>
                  </a:lnTo>
                  <a:lnTo>
                    <a:pt x="84" y="69"/>
                  </a:lnTo>
                  <a:lnTo>
                    <a:pt x="90" y="87"/>
                  </a:lnTo>
                  <a:lnTo>
                    <a:pt x="72" y="102"/>
                  </a:lnTo>
                  <a:lnTo>
                    <a:pt x="63" y="132"/>
                  </a:lnTo>
                  <a:lnTo>
                    <a:pt x="72" y="153"/>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6" name="Freeform 120"/>
            <p:cNvSpPr>
              <a:spLocks/>
            </p:cNvSpPr>
            <p:nvPr/>
          </p:nvSpPr>
          <p:spPr bwMode="auto">
            <a:xfrm>
              <a:off x="5070724" y="3067075"/>
              <a:ext cx="125412" cy="225425"/>
            </a:xfrm>
            <a:custGeom>
              <a:avLst/>
              <a:gdLst>
                <a:gd name="T0" fmla="*/ 29 w 90"/>
                <a:gd name="T1" fmla="*/ 51 h 162"/>
                <a:gd name="T2" fmla="*/ 18 w 90"/>
                <a:gd name="T3" fmla="*/ 53 h 162"/>
                <a:gd name="T4" fmla="*/ 3 w 90"/>
                <a:gd name="T5" fmla="*/ 51 h 162"/>
                <a:gd name="T6" fmla="*/ 0 w 90"/>
                <a:gd name="T7" fmla="*/ 47 h 162"/>
                <a:gd name="T8" fmla="*/ 0 w 90"/>
                <a:gd name="T9" fmla="*/ 21 h 162"/>
                <a:gd name="T10" fmla="*/ 11 w 90"/>
                <a:gd name="T11" fmla="*/ 17 h 162"/>
                <a:gd name="T12" fmla="*/ 10 w 90"/>
                <a:gd name="T13" fmla="*/ 13 h 162"/>
                <a:gd name="T14" fmla="*/ 12 w 90"/>
                <a:gd name="T15" fmla="*/ 4 h 162"/>
                <a:gd name="T16" fmla="*/ 13 w 90"/>
                <a:gd name="T17" fmla="*/ 0 h 162"/>
                <a:gd name="T18" fmla="*/ 19 w 90"/>
                <a:gd name="T19" fmla="*/ 4 h 162"/>
                <a:gd name="T20" fmla="*/ 22 w 90"/>
                <a:gd name="T21" fmla="*/ 10 h 162"/>
                <a:gd name="T22" fmla="*/ 22 w 90"/>
                <a:gd name="T23" fmla="*/ 15 h 162"/>
                <a:gd name="T24" fmla="*/ 33 w 90"/>
                <a:gd name="T25" fmla="*/ 22 h 162"/>
                <a:gd name="T26" fmla="*/ 35 w 90"/>
                <a:gd name="T27" fmla="*/ 29 h 162"/>
                <a:gd name="T28" fmla="*/ 29 w 90"/>
                <a:gd name="T29" fmla="*/ 34 h 162"/>
                <a:gd name="T30" fmla="*/ 25 w 90"/>
                <a:gd name="T31" fmla="*/ 44 h 162"/>
                <a:gd name="T32" fmla="*/ 29 w 90"/>
                <a:gd name="T33" fmla="*/ 51 h 1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162">
                  <a:moveTo>
                    <a:pt x="72" y="153"/>
                  </a:moveTo>
                  <a:lnTo>
                    <a:pt x="45" y="162"/>
                  </a:lnTo>
                  <a:lnTo>
                    <a:pt x="3" y="153"/>
                  </a:lnTo>
                  <a:lnTo>
                    <a:pt x="0" y="141"/>
                  </a:lnTo>
                  <a:lnTo>
                    <a:pt x="0" y="66"/>
                  </a:lnTo>
                  <a:lnTo>
                    <a:pt x="27" y="54"/>
                  </a:lnTo>
                  <a:lnTo>
                    <a:pt x="24" y="42"/>
                  </a:lnTo>
                  <a:lnTo>
                    <a:pt x="30" y="12"/>
                  </a:lnTo>
                  <a:lnTo>
                    <a:pt x="33" y="0"/>
                  </a:lnTo>
                  <a:lnTo>
                    <a:pt x="48" y="6"/>
                  </a:lnTo>
                  <a:lnTo>
                    <a:pt x="54" y="30"/>
                  </a:lnTo>
                  <a:lnTo>
                    <a:pt x="54" y="48"/>
                  </a:lnTo>
                  <a:lnTo>
                    <a:pt x="84" y="69"/>
                  </a:lnTo>
                  <a:lnTo>
                    <a:pt x="90" y="87"/>
                  </a:lnTo>
                  <a:lnTo>
                    <a:pt x="72" y="102"/>
                  </a:lnTo>
                  <a:lnTo>
                    <a:pt x="63" y="132"/>
                  </a:lnTo>
                  <a:lnTo>
                    <a:pt x="72" y="153"/>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7" name="Freeform 121"/>
            <p:cNvSpPr>
              <a:spLocks/>
            </p:cNvSpPr>
            <p:nvPr/>
          </p:nvSpPr>
          <p:spPr bwMode="auto">
            <a:xfrm>
              <a:off x="4911974" y="2975000"/>
              <a:ext cx="204787" cy="217487"/>
            </a:xfrm>
            <a:custGeom>
              <a:avLst/>
              <a:gdLst>
                <a:gd name="T0" fmla="*/ 45 w 146"/>
                <a:gd name="T1" fmla="*/ 44 h 156"/>
                <a:gd name="T2" fmla="*/ 43 w 146"/>
                <a:gd name="T3" fmla="*/ 39 h 156"/>
                <a:gd name="T4" fmla="*/ 40 w 146"/>
                <a:gd name="T5" fmla="*/ 32 h 156"/>
                <a:gd name="T6" fmla="*/ 56 w 146"/>
                <a:gd name="T7" fmla="*/ 27 h 156"/>
                <a:gd name="T8" fmla="*/ 57 w 146"/>
                <a:gd name="T9" fmla="*/ 22 h 156"/>
                <a:gd name="T10" fmla="*/ 55 w 146"/>
                <a:gd name="T11" fmla="*/ 10 h 156"/>
                <a:gd name="T12" fmla="*/ 48 w 146"/>
                <a:gd name="T13" fmla="*/ 10 h 156"/>
                <a:gd name="T14" fmla="*/ 29 w 146"/>
                <a:gd name="T15" fmla="*/ 0 h 156"/>
                <a:gd name="T16" fmla="*/ 16 w 146"/>
                <a:gd name="T17" fmla="*/ 11 h 156"/>
                <a:gd name="T18" fmla="*/ 14 w 146"/>
                <a:gd name="T19" fmla="*/ 23 h 156"/>
                <a:gd name="T20" fmla="*/ 5 w 146"/>
                <a:gd name="T21" fmla="*/ 35 h 156"/>
                <a:gd name="T22" fmla="*/ 0 w 146"/>
                <a:gd name="T23" fmla="*/ 46 h 156"/>
                <a:gd name="T24" fmla="*/ 5 w 146"/>
                <a:gd name="T25" fmla="*/ 52 h 156"/>
                <a:gd name="T26" fmla="*/ 18 w 146"/>
                <a:gd name="T27" fmla="*/ 49 h 156"/>
                <a:gd name="T28" fmla="*/ 29 w 146"/>
                <a:gd name="T29" fmla="*/ 53 h 156"/>
                <a:gd name="T30" fmla="*/ 35 w 146"/>
                <a:gd name="T31" fmla="*/ 48 h 156"/>
                <a:gd name="T32" fmla="*/ 45 w 146"/>
                <a:gd name="T33" fmla="*/ 44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6" h="156">
                  <a:moveTo>
                    <a:pt x="113" y="132"/>
                  </a:moveTo>
                  <a:lnTo>
                    <a:pt x="110" y="111"/>
                  </a:lnTo>
                  <a:lnTo>
                    <a:pt x="102" y="96"/>
                  </a:lnTo>
                  <a:lnTo>
                    <a:pt x="143" y="78"/>
                  </a:lnTo>
                  <a:lnTo>
                    <a:pt x="146" y="66"/>
                  </a:lnTo>
                  <a:lnTo>
                    <a:pt x="137" y="27"/>
                  </a:lnTo>
                  <a:lnTo>
                    <a:pt x="122" y="27"/>
                  </a:lnTo>
                  <a:lnTo>
                    <a:pt x="72" y="0"/>
                  </a:lnTo>
                  <a:lnTo>
                    <a:pt x="42" y="30"/>
                  </a:lnTo>
                  <a:lnTo>
                    <a:pt x="36" y="69"/>
                  </a:lnTo>
                  <a:lnTo>
                    <a:pt x="6" y="102"/>
                  </a:lnTo>
                  <a:lnTo>
                    <a:pt x="0" y="135"/>
                  </a:lnTo>
                  <a:lnTo>
                    <a:pt x="6" y="153"/>
                  </a:lnTo>
                  <a:lnTo>
                    <a:pt x="45" y="147"/>
                  </a:lnTo>
                  <a:lnTo>
                    <a:pt x="75" y="156"/>
                  </a:lnTo>
                  <a:lnTo>
                    <a:pt x="90" y="144"/>
                  </a:lnTo>
                  <a:lnTo>
                    <a:pt x="113" y="13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8" name="Freeform 122"/>
            <p:cNvSpPr>
              <a:spLocks/>
            </p:cNvSpPr>
            <p:nvPr/>
          </p:nvSpPr>
          <p:spPr bwMode="auto">
            <a:xfrm>
              <a:off x="4911974" y="2975000"/>
              <a:ext cx="204787" cy="217487"/>
            </a:xfrm>
            <a:custGeom>
              <a:avLst/>
              <a:gdLst>
                <a:gd name="T0" fmla="*/ 45 w 146"/>
                <a:gd name="T1" fmla="*/ 44 h 156"/>
                <a:gd name="T2" fmla="*/ 43 w 146"/>
                <a:gd name="T3" fmla="*/ 39 h 156"/>
                <a:gd name="T4" fmla="*/ 40 w 146"/>
                <a:gd name="T5" fmla="*/ 32 h 156"/>
                <a:gd name="T6" fmla="*/ 56 w 146"/>
                <a:gd name="T7" fmla="*/ 27 h 156"/>
                <a:gd name="T8" fmla="*/ 57 w 146"/>
                <a:gd name="T9" fmla="*/ 22 h 156"/>
                <a:gd name="T10" fmla="*/ 55 w 146"/>
                <a:gd name="T11" fmla="*/ 10 h 156"/>
                <a:gd name="T12" fmla="*/ 48 w 146"/>
                <a:gd name="T13" fmla="*/ 10 h 156"/>
                <a:gd name="T14" fmla="*/ 29 w 146"/>
                <a:gd name="T15" fmla="*/ 0 h 156"/>
                <a:gd name="T16" fmla="*/ 16 w 146"/>
                <a:gd name="T17" fmla="*/ 11 h 156"/>
                <a:gd name="T18" fmla="*/ 14 w 146"/>
                <a:gd name="T19" fmla="*/ 23 h 156"/>
                <a:gd name="T20" fmla="*/ 5 w 146"/>
                <a:gd name="T21" fmla="*/ 35 h 156"/>
                <a:gd name="T22" fmla="*/ 0 w 146"/>
                <a:gd name="T23" fmla="*/ 46 h 156"/>
                <a:gd name="T24" fmla="*/ 5 w 146"/>
                <a:gd name="T25" fmla="*/ 52 h 156"/>
                <a:gd name="T26" fmla="*/ 18 w 146"/>
                <a:gd name="T27" fmla="*/ 49 h 156"/>
                <a:gd name="T28" fmla="*/ 29 w 146"/>
                <a:gd name="T29" fmla="*/ 53 h 156"/>
                <a:gd name="T30" fmla="*/ 35 w 146"/>
                <a:gd name="T31" fmla="*/ 48 h 156"/>
                <a:gd name="T32" fmla="*/ 45 w 146"/>
                <a:gd name="T33" fmla="*/ 44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6" h="156">
                  <a:moveTo>
                    <a:pt x="113" y="132"/>
                  </a:moveTo>
                  <a:lnTo>
                    <a:pt x="110" y="111"/>
                  </a:lnTo>
                  <a:lnTo>
                    <a:pt x="102" y="96"/>
                  </a:lnTo>
                  <a:lnTo>
                    <a:pt x="143" y="78"/>
                  </a:lnTo>
                  <a:lnTo>
                    <a:pt x="146" y="66"/>
                  </a:lnTo>
                  <a:lnTo>
                    <a:pt x="137" y="27"/>
                  </a:lnTo>
                  <a:lnTo>
                    <a:pt x="122" y="27"/>
                  </a:lnTo>
                  <a:lnTo>
                    <a:pt x="72" y="0"/>
                  </a:lnTo>
                  <a:lnTo>
                    <a:pt x="42" y="30"/>
                  </a:lnTo>
                  <a:lnTo>
                    <a:pt x="36" y="69"/>
                  </a:lnTo>
                  <a:lnTo>
                    <a:pt x="6" y="102"/>
                  </a:lnTo>
                  <a:lnTo>
                    <a:pt x="0" y="135"/>
                  </a:lnTo>
                  <a:lnTo>
                    <a:pt x="6" y="153"/>
                  </a:lnTo>
                  <a:lnTo>
                    <a:pt x="45" y="147"/>
                  </a:lnTo>
                  <a:lnTo>
                    <a:pt x="75" y="156"/>
                  </a:lnTo>
                  <a:lnTo>
                    <a:pt x="90" y="144"/>
                  </a:lnTo>
                  <a:lnTo>
                    <a:pt x="113" y="132"/>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29" name="Freeform 123"/>
            <p:cNvSpPr>
              <a:spLocks/>
            </p:cNvSpPr>
            <p:nvPr/>
          </p:nvSpPr>
          <p:spPr bwMode="auto">
            <a:xfrm>
              <a:off x="3738811" y="3289325"/>
              <a:ext cx="334963" cy="568325"/>
            </a:xfrm>
            <a:custGeom>
              <a:avLst/>
              <a:gdLst>
                <a:gd name="T0" fmla="*/ 90 w 239"/>
                <a:gd name="T1" fmla="*/ 74 h 410"/>
                <a:gd name="T2" fmla="*/ 90 w 239"/>
                <a:gd name="T3" fmla="*/ 60 h 410"/>
                <a:gd name="T4" fmla="*/ 96 w 239"/>
                <a:gd name="T5" fmla="*/ 53 h 410"/>
                <a:gd name="T6" fmla="*/ 92 w 239"/>
                <a:gd name="T7" fmla="*/ 46 h 410"/>
                <a:gd name="T8" fmla="*/ 62 w 239"/>
                <a:gd name="T9" fmla="*/ 37 h 410"/>
                <a:gd name="T10" fmla="*/ 67 w 239"/>
                <a:gd name="T11" fmla="*/ 28 h 410"/>
                <a:gd name="T12" fmla="*/ 75 w 239"/>
                <a:gd name="T13" fmla="*/ 19 h 410"/>
                <a:gd name="T14" fmla="*/ 68 w 239"/>
                <a:gd name="T15" fmla="*/ 4 h 410"/>
                <a:gd name="T16" fmla="*/ 67 w 239"/>
                <a:gd name="T17" fmla="*/ 0 h 410"/>
                <a:gd name="T18" fmla="*/ 47 w 239"/>
                <a:gd name="T19" fmla="*/ 11 h 410"/>
                <a:gd name="T20" fmla="*/ 39 w 239"/>
                <a:gd name="T21" fmla="*/ 34 h 410"/>
                <a:gd name="T22" fmla="*/ 36 w 239"/>
                <a:gd name="T23" fmla="*/ 50 h 410"/>
                <a:gd name="T24" fmla="*/ 21 w 239"/>
                <a:gd name="T25" fmla="*/ 60 h 410"/>
                <a:gd name="T26" fmla="*/ 13 w 239"/>
                <a:gd name="T27" fmla="*/ 62 h 410"/>
                <a:gd name="T28" fmla="*/ 0 w 239"/>
                <a:gd name="T29" fmla="*/ 64 h 410"/>
                <a:gd name="T30" fmla="*/ 25 w 239"/>
                <a:gd name="T31" fmla="*/ 87 h 410"/>
                <a:gd name="T32" fmla="*/ 30 w 239"/>
                <a:gd name="T33" fmla="*/ 107 h 410"/>
                <a:gd name="T34" fmla="*/ 27 w 239"/>
                <a:gd name="T35" fmla="*/ 115 h 410"/>
                <a:gd name="T36" fmla="*/ 44 w 239"/>
                <a:gd name="T37" fmla="*/ 122 h 410"/>
                <a:gd name="T38" fmla="*/ 44 w 239"/>
                <a:gd name="T39" fmla="*/ 129 h 410"/>
                <a:gd name="T40" fmla="*/ 60 w 239"/>
                <a:gd name="T41" fmla="*/ 132 h 410"/>
                <a:gd name="T42" fmla="*/ 65 w 239"/>
                <a:gd name="T43" fmla="*/ 132 h 410"/>
                <a:gd name="T44" fmla="*/ 65 w 239"/>
                <a:gd name="T45" fmla="*/ 122 h 410"/>
                <a:gd name="T46" fmla="*/ 76 w 239"/>
                <a:gd name="T47" fmla="*/ 121 h 410"/>
                <a:gd name="T48" fmla="*/ 80 w 239"/>
                <a:gd name="T49" fmla="*/ 108 h 410"/>
                <a:gd name="T50" fmla="*/ 70 w 239"/>
                <a:gd name="T51" fmla="*/ 103 h 410"/>
                <a:gd name="T52" fmla="*/ 65 w 239"/>
                <a:gd name="T53" fmla="*/ 97 h 410"/>
                <a:gd name="T54" fmla="*/ 67 w 239"/>
                <a:gd name="T55" fmla="*/ 74 h 410"/>
                <a:gd name="T56" fmla="*/ 75 w 239"/>
                <a:gd name="T57" fmla="*/ 71 h 410"/>
                <a:gd name="T58" fmla="*/ 84 w 239"/>
                <a:gd name="T59" fmla="*/ 76 h 410"/>
                <a:gd name="T60" fmla="*/ 90 w 239"/>
                <a:gd name="T61" fmla="*/ 74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9" h="410">
                  <a:moveTo>
                    <a:pt x="224" y="231"/>
                  </a:moveTo>
                  <a:lnTo>
                    <a:pt x="224" y="186"/>
                  </a:lnTo>
                  <a:lnTo>
                    <a:pt x="239" y="165"/>
                  </a:lnTo>
                  <a:lnTo>
                    <a:pt x="233" y="144"/>
                  </a:lnTo>
                  <a:lnTo>
                    <a:pt x="159" y="117"/>
                  </a:lnTo>
                  <a:lnTo>
                    <a:pt x="165" y="87"/>
                  </a:lnTo>
                  <a:lnTo>
                    <a:pt x="189" y="57"/>
                  </a:lnTo>
                  <a:lnTo>
                    <a:pt x="174" y="6"/>
                  </a:lnTo>
                  <a:lnTo>
                    <a:pt x="168" y="0"/>
                  </a:lnTo>
                  <a:lnTo>
                    <a:pt x="120" y="33"/>
                  </a:lnTo>
                  <a:lnTo>
                    <a:pt x="96" y="105"/>
                  </a:lnTo>
                  <a:lnTo>
                    <a:pt x="90" y="156"/>
                  </a:lnTo>
                  <a:lnTo>
                    <a:pt x="51" y="186"/>
                  </a:lnTo>
                  <a:lnTo>
                    <a:pt x="30" y="195"/>
                  </a:lnTo>
                  <a:lnTo>
                    <a:pt x="0" y="201"/>
                  </a:lnTo>
                  <a:lnTo>
                    <a:pt x="63" y="275"/>
                  </a:lnTo>
                  <a:lnTo>
                    <a:pt x="75" y="332"/>
                  </a:lnTo>
                  <a:lnTo>
                    <a:pt x="69" y="359"/>
                  </a:lnTo>
                  <a:lnTo>
                    <a:pt x="111" y="383"/>
                  </a:lnTo>
                  <a:lnTo>
                    <a:pt x="111" y="401"/>
                  </a:lnTo>
                  <a:lnTo>
                    <a:pt x="150" y="410"/>
                  </a:lnTo>
                  <a:lnTo>
                    <a:pt x="162" y="410"/>
                  </a:lnTo>
                  <a:lnTo>
                    <a:pt x="162" y="377"/>
                  </a:lnTo>
                  <a:lnTo>
                    <a:pt x="192" y="374"/>
                  </a:lnTo>
                  <a:lnTo>
                    <a:pt x="198" y="335"/>
                  </a:lnTo>
                  <a:lnTo>
                    <a:pt x="177" y="320"/>
                  </a:lnTo>
                  <a:lnTo>
                    <a:pt x="162" y="302"/>
                  </a:lnTo>
                  <a:lnTo>
                    <a:pt x="168" y="231"/>
                  </a:lnTo>
                  <a:lnTo>
                    <a:pt x="186" y="222"/>
                  </a:lnTo>
                  <a:lnTo>
                    <a:pt x="212" y="234"/>
                  </a:lnTo>
                  <a:lnTo>
                    <a:pt x="224" y="231"/>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0" name="Freeform 124"/>
            <p:cNvSpPr>
              <a:spLocks/>
            </p:cNvSpPr>
            <p:nvPr/>
          </p:nvSpPr>
          <p:spPr bwMode="auto">
            <a:xfrm>
              <a:off x="3738811" y="3289325"/>
              <a:ext cx="334963" cy="568325"/>
            </a:xfrm>
            <a:custGeom>
              <a:avLst/>
              <a:gdLst>
                <a:gd name="T0" fmla="*/ 90 w 239"/>
                <a:gd name="T1" fmla="*/ 74 h 410"/>
                <a:gd name="T2" fmla="*/ 90 w 239"/>
                <a:gd name="T3" fmla="*/ 60 h 410"/>
                <a:gd name="T4" fmla="*/ 96 w 239"/>
                <a:gd name="T5" fmla="*/ 53 h 410"/>
                <a:gd name="T6" fmla="*/ 92 w 239"/>
                <a:gd name="T7" fmla="*/ 46 h 410"/>
                <a:gd name="T8" fmla="*/ 62 w 239"/>
                <a:gd name="T9" fmla="*/ 37 h 410"/>
                <a:gd name="T10" fmla="*/ 67 w 239"/>
                <a:gd name="T11" fmla="*/ 28 h 410"/>
                <a:gd name="T12" fmla="*/ 75 w 239"/>
                <a:gd name="T13" fmla="*/ 19 h 410"/>
                <a:gd name="T14" fmla="*/ 68 w 239"/>
                <a:gd name="T15" fmla="*/ 4 h 410"/>
                <a:gd name="T16" fmla="*/ 67 w 239"/>
                <a:gd name="T17" fmla="*/ 0 h 410"/>
                <a:gd name="T18" fmla="*/ 47 w 239"/>
                <a:gd name="T19" fmla="*/ 11 h 410"/>
                <a:gd name="T20" fmla="*/ 39 w 239"/>
                <a:gd name="T21" fmla="*/ 34 h 410"/>
                <a:gd name="T22" fmla="*/ 36 w 239"/>
                <a:gd name="T23" fmla="*/ 50 h 410"/>
                <a:gd name="T24" fmla="*/ 21 w 239"/>
                <a:gd name="T25" fmla="*/ 60 h 410"/>
                <a:gd name="T26" fmla="*/ 13 w 239"/>
                <a:gd name="T27" fmla="*/ 62 h 410"/>
                <a:gd name="T28" fmla="*/ 0 w 239"/>
                <a:gd name="T29" fmla="*/ 64 h 410"/>
                <a:gd name="T30" fmla="*/ 25 w 239"/>
                <a:gd name="T31" fmla="*/ 87 h 410"/>
                <a:gd name="T32" fmla="*/ 30 w 239"/>
                <a:gd name="T33" fmla="*/ 107 h 410"/>
                <a:gd name="T34" fmla="*/ 27 w 239"/>
                <a:gd name="T35" fmla="*/ 115 h 410"/>
                <a:gd name="T36" fmla="*/ 44 w 239"/>
                <a:gd name="T37" fmla="*/ 122 h 410"/>
                <a:gd name="T38" fmla="*/ 44 w 239"/>
                <a:gd name="T39" fmla="*/ 129 h 410"/>
                <a:gd name="T40" fmla="*/ 60 w 239"/>
                <a:gd name="T41" fmla="*/ 132 h 410"/>
                <a:gd name="T42" fmla="*/ 65 w 239"/>
                <a:gd name="T43" fmla="*/ 132 h 410"/>
                <a:gd name="T44" fmla="*/ 65 w 239"/>
                <a:gd name="T45" fmla="*/ 122 h 410"/>
                <a:gd name="T46" fmla="*/ 76 w 239"/>
                <a:gd name="T47" fmla="*/ 121 h 410"/>
                <a:gd name="T48" fmla="*/ 80 w 239"/>
                <a:gd name="T49" fmla="*/ 108 h 410"/>
                <a:gd name="T50" fmla="*/ 70 w 239"/>
                <a:gd name="T51" fmla="*/ 103 h 410"/>
                <a:gd name="T52" fmla="*/ 65 w 239"/>
                <a:gd name="T53" fmla="*/ 97 h 410"/>
                <a:gd name="T54" fmla="*/ 67 w 239"/>
                <a:gd name="T55" fmla="*/ 74 h 410"/>
                <a:gd name="T56" fmla="*/ 75 w 239"/>
                <a:gd name="T57" fmla="*/ 71 h 410"/>
                <a:gd name="T58" fmla="*/ 84 w 239"/>
                <a:gd name="T59" fmla="*/ 76 h 410"/>
                <a:gd name="T60" fmla="*/ 90 w 239"/>
                <a:gd name="T61" fmla="*/ 74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9" h="410">
                  <a:moveTo>
                    <a:pt x="224" y="231"/>
                  </a:moveTo>
                  <a:lnTo>
                    <a:pt x="224" y="186"/>
                  </a:lnTo>
                  <a:lnTo>
                    <a:pt x="239" y="165"/>
                  </a:lnTo>
                  <a:lnTo>
                    <a:pt x="233" y="144"/>
                  </a:lnTo>
                  <a:lnTo>
                    <a:pt x="159" y="117"/>
                  </a:lnTo>
                  <a:lnTo>
                    <a:pt x="165" y="87"/>
                  </a:lnTo>
                  <a:lnTo>
                    <a:pt x="189" y="57"/>
                  </a:lnTo>
                  <a:lnTo>
                    <a:pt x="174" y="6"/>
                  </a:lnTo>
                  <a:lnTo>
                    <a:pt x="168" y="0"/>
                  </a:lnTo>
                  <a:lnTo>
                    <a:pt x="120" y="33"/>
                  </a:lnTo>
                  <a:lnTo>
                    <a:pt x="96" y="105"/>
                  </a:lnTo>
                  <a:lnTo>
                    <a:pt x="90" y="156"/>
                  </a:lnTo>
                  <a:lnTo>
                    <a:pt x="51" y="186"/>
                  </a:lnTo>
                  <a:lnTo>
                    <a:pt x="30" y="195"/>
                  </a:lnTo>
                  <a:lnTo>
                    <a:pt x="0" y="201"/>
                  </a:lnTo>
                  <a:lnTo>
                    <a:pt x="63" y="275"/>
                  </a:lnTo>
                  <a:lnTo>
                    <a:pt x="75" y="332"/>
                  </a:lnTo>
                  <a:lnTo>
                    <a:pt x="69" y="359"/>
                  </a:lnTo>
                  <a:lnTo>
                    <a:pt x="111" y="383"/>
                  </a:lnTo>
                  <a:lnTo>
                    <a:pt x="111" y="401"/>
                  </a:lnTo>
                  <a:lnTo>
                    <a:pt x="150" y="410"/>
                  </a:lnTo>
                  <a:lnTo>
                    <a:pt x="162" y="410"/>
                  </a:lnTo>
                  <a:lnTo>
                    <a:pt x="162" y="377"/>
                  </a:lnTo>
                  <a:lnTo>
                    <a:pt x="192" y="374"/>
                  </a:lnTo>
                  <a:lnTo>
                    <a:pt x="198" y="335"/>
                  </a:lnTo>
                  <a:lnTo>
                    <a:pt x="177" y="320"/>
                  </a:lnTo>
                  <a:lnTo>
                    <a:pt x="162" y="302"/>
                  </a:lnTo>
                  <a:lnTo>
                    <a:pt x="168" y="231"/>
                  </a:lnTo>
                  <a:lnTo>
                    <a:pt x="186" y="222"/>
                  </a:lnTo>
                  <a:lnTo>
                    <a:pt x="212" y="234"/>
                  </a:lnTo>
                  <a:lnTo>
                    <a:pt x="224" y="231"/>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1" name="Freeform 125"/>
            <p:cNvSpPr>
              <a:spLocks/>
            </p:cNvSpPr>
            <p:nvPr/>
          </p:nvSpPr>
          <p:spPr bwMode="auto">
            <a:xfrm>
              <a:off x="2973636" y="1146200"/>
              <a:ext cx="2728913" cy="2430462"/>
            </a:xfrm>
            <a:custGeom>
              <a:avLst/>
              <a:gdLst>
                <a:gd name="T0" fmla="*/ 262 w 1944"/>
                <a:gd name="T1" fmla="*/ 555 h 1750"/>
                <a:gd name="T2" fmla="*/ 296 w 1944"/>
                <a:gd name="T3" fmla="*/ 506 h 1750"/>
                <a:gd name="T4" fmla="*/ 320 w 1944"/>
                <a:gd name="T5" fmla="*/ 552 h 1750"/>
                <a:gd name="T6" fmla="*/ 351 w 1944"/>
                <a:gd name="T7" fmla="*/ 562 h 1750"/>
                <a:gd name="T8" fmla="*/ 393 w 1944"/>
                <a:gd name="T9" fmla="*/ 513 h 1750"/>
                <a:gd name="T10" fmla="*/ 435 w 1944"/>
                <a:gd name="T11" fmla="*/ 496 h 1750"/>
                <a:gd name="T12" fmla="*/ 483 w 1944"/>
                <a:gd name="T13" fmla="*/ 466 h 1750"/>
                <a:gd name="T14" fmla="*/ 512 w 1944"/>
                <a:gd name="T15" fmla="*/ 436 h 1750"/>
                <a:gd name="T16" fmla="*/ 541 w 1944"/>
                <a:gd name="T17" fmla="*/ 402 h 1750"/>
                <a:gd name="T18" fmla="*/ 569 w 1944"/>
                <a:gd name="T19" fmla="*/ 403 h 1750"/>
                <a:gd name="T20" fmla="*/ 601 w 1944"/>
                <a:gd name="T21" fmla="*/ 396 h 1750"/>
                <a:gd name="T22" fmla="*/ 642 w 1944"/>
                <a:gd name="T23" fmla="*/ 392 h 1750"/>
                <a:gd name="T24" fmla="*/ 682 w 1944"/>
                <a:gd name="T25" fmla="*/ 403 h 1750"/>
                <a:gd name="T26" fmla="*/ 703 w 1944"/>
                <a:gd name="T27" fmla="*/ 392 h 1750"/>
                <a:gd name="T28" fmla="*/ 745 w 1944"/>
                <a:gd name="T29" fmla="*/ 361 h 1750"/>
                <a:gd name="T30" fmla="*/ 780 w 1944"/>
                <a:gd name="T31" fmla="*/ 346 h 1750"/>
                <a:gd name="T32" fmla="*/ 790 w 1944"/>
                <a:gd name="T33" fmla="*/ 320 h 1750"/>
                <a:gd name="T34" fmla="*/ 745 w 1944"/>
                <a:gd name="T35" fmla="*/ 300 h 1750"/>
                <a:gd name="T36" fmla="*/ 735 w 1944"/>
                <a:gd name="T37" fmla="*/ 262 h 1750"/>
                <a:gd name="T38" fmla="*/ 749 w 1944"/>
                <a:gd name="T39" fmla="*/ 250 h 1750"/>
                <a:gd name="T40" fmla="*/ 754 w 1944"/>
                <a:gd name="T41" fmla="*/ 220 h 1750"/>
                <a:gd name="T42" fmla="*/ 754 w 1944"/>
                <a:gd name="T43" fmla="*/ 213 h 1750"/>
                <a:gd name="T44" fmla="*/ 764 w 1944"/>
                <a:gd name="T45" fmla="*/ 157 h 1750"/>
                <a:gd name="T46" fmla="*/ 779 w 1944"/>
                <a:gd name="T47" fmla="*/ 162 h 1750"/>
                <a:gd name="T48" fmla="*/ 784 w 1944"/>
                <a:gd name="T49" fmla="*/ 90 h 1750"/>
                <a:gd name="T50" fmla="*/ 735 w 1944"/>
                <a:gd name="T51" fmla="*/ 58 h 1750"/>
                <a:gd name="T52" fmla="*/ 695 w 1944"/>
                <a:gd name="T53" fmla="*/ 39 h 1750"/>
                <a:gd name="T54" fmla="*/ 656 w 1944"/>
                <a:gd name="T55" fmla="*/ 30 h 1750"/>
                <a:gd name="T56" fmla="*/ 648 w 1944"/>
                <a:gd name="T57" fmla="*/ 0 h 1750"/>
                <a:gd name="T58" fmla="*/ 633 w 1944"/>
                <a:gd name="T59" fmla="*/ 30 h 1750"/>
                <a:gd name="T60" fmla="*/ 614 w 1944"/>
                <a:gd name="T61" fmla="*/ 107 h 1750"/>
                <a:gd name="T62" fmla="*/ 561 w 1944"/>
                <a:gd name="T63" fmla="*/ 139 h 1750"/>
                <a:gd name="T64" fmla="*/ 527 w 1944"/>
                <a:gd name="T65" fmla="*/ 196 h 1750"/>
                <a:gd name="T66" fmla="*/ 581 w 1944"/>
                <a:gd name="T67" fmla="*/ 206 h 1750"/>
                <a:gd name="T68" fmla="*/ 657 w 1944"/>
                <a:gd name="T69" fmla="*/ 225 h 1750"/>
                <a:gd name="T70" fmla="*/ 604 w 1944"/>
                <a:gd name="T71" fmla="*/ 243 h 1750"/>
                <a:gd name="T72" fmla="*/ 560 w 1944"/>
                <a:gd name="T73" fmla="*/ 267 h 1750"/>
                <a:gd name="T74" fmla="*/ 501 w 1944"/>
                <a:gd name="T75" fmla="*/ 309 h 1750"/>
                <a:gd name="T76" fmla="*/ 433 w 1944"/>
                <a:gd name="T77" fmla="*/ 317 h 1750"/>
                <a:gd name="T78" fmla="*/ 417 w 1944"/>
                <a:gd name="T79" fmla="*/ 370 h 1750"/>
                <a:gd name="T80" fmla="*/ 310 w 1944"/>
                <a:gd name="T81" fmla="*/ 404 h 1750"/>
                <a:gd name="T82" fmla="*/ 221 w 1944"/>
                <a:gd name="T83" fmla="*/ 427 h 1750"/>
                <a:gd name="T84" fmla="*/ 79 w 1944"/>
                <a:gd name="T85" fmla="*/ 402 h 1750"/>
                <a:gd name="T86" fmla="*/ 5 w 1944"/>
                <a:gd name="T87" fmla="*/ 420 h 1750"/>
                <a:gd name="T88" fmla="*/ 46 w 1944"/>
                <a:gd name="T89" fmla="*/ 459 h 1750"/>
                <a:gd name="T90" fmla="*/ 90 w 1944"/>
                <a:gd name="T91" fmla="*/ 474 h 1750"/>
                <a:gd name="T92" fmla="*/ 103 w 1944"/>
                <a:gd name="T93" fmla="*/ 505 h 1750"/>
                <a:gd name="T94" fmla="*/ 148 w 1944"/>
                <a:gd name="T95" fmla="*/ 525 h 1750"/>
                <a:gd name="T96" fmla="*/ 212 w 1944"/>
                <a:gd name="T97" fmla="*/ 520 h 1750"/>
                <a:gd name="T98" fmla="*/ 193 w 1944"/>
                <a:gd name="T99" fmla="*/ 548 h 17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44" h="1750">
                  <a:moveTo>
                    <a:pt x="545" y="1744"/>
                  </a:moveTo>
                  <a:lnTo>
                    <a:pt x="575" y="1738"/>
                  </a:lnTo>
                  <a:lnTo>
                    <a:pt x="596" y="1729"/>
                  </a:lnTo>
                  <a:lnTo>
                    <a:pt x="635" y="1699"/>
                  </a:lnTo>
                  <a:lnTo>
                    <a:pt x="641" y="1648"/>
                  </a:lnTo>
                  <a:lnTo>
                    <a:pt x="665" y="1576"/>
                  </a:lnTo>
                  <a:lnTo>
                    <a:pt x="713" y="1543"/>
                  </a:lnTo>
                  <a:lnTo>
                    <a:pt x="719" y="1549"/>
                  </a:lnTo>
                  <a:lnTo>
                    <a:pt x="734" y="1600"/>
                  </a:lnTo>
                  <a:lnTo>
                    <a:pt x="710" y="1630"/>
                  </a:lnTo>
                  <a:lnTo>
                    <a:pt x="704" y="1660"/>
                  </a:lnTo>
                  <a:lnTo>
                    <a:pt x="778" y="1687"/>
                  </a:lnTo>
                  <a:lnTo>
                    <a:pt x="784" y="1708"/>
                  </a:lnTo>
                  <a:lnTo>
                    <a:pt x="826" y="1705"/>
                  </a:lnTo>
                  <a:lnTo>
                    <a:pt x="847" y="1711"/>
                  </a:lnTo>
                  <a:lnTo>
                    <a:pt x="856" y="1717"/>
                  </a:lnTo>
                  <a:lnTo>
                    <a:pt x="931" y="1612"/>
                  </a:lnTo>
                  <a:lnTo>
                    <a:pt x="952" y="1603"/>
                  </a:lnTo>
                  <a:lnTo>
                    <a:pt x="955" y="1591"/>
                  </a:lnTo>
                  <a:lnTo>
                    <a:pt x="955" y="1570"/>
                  </a:lnTo>
                  <a:lnTo>
                    <a:pt x="979" y="1534"/>
                  </a:lnTo>
                  <a:lnTo>
                    <a:pt x="1027" y="1531"/>
                  </a:lnTo>
                  <a:lnTo>
                    <a:pt x="1045" y="1510"/>
                  </a:lnTo>
                  <a:lnTo>
                    <a:pt x="1057" y="1519"/>
                  </a:lnTo>
                  <a:lnTo>
                    <a:pt x="1084" y="1498"/>
                  </a:lnTo>
                  <a:lnTo>
                    <a:pt x="1099" y="1498"/>
                  </a:lnTo>
                  <a:lnTo>
                    <a:pt x="1150" y="1426"/>
                  </a:lnTo>
                  <a:lnTo>
                    <a:pt x="1174" y="1426"/>
                  </a:lnTo>
                  <a:lnTo>
                    <a:pt x="1207" y="1405"/>
                  </a:lnTo>
                  <a:lnTo>
                    <a:pt x="1216" y="1414"/>
                  </a:lnTo>
                  <a:lnTo>
                    <a:pt x="1276" y="1384"/>
                  </a:lnTo>
                  <a:lnTo>
                    <a:pt x="1246" y="1333"/>
                  </a:lnTo>
                  <a:lnTo>
                    <a:pt x="1255" y="1285"/>
                  </a:lnTo>
                  <a:lnTo>
                    <a:pt x="1279" y="1231"/>
                  </a:lnTo>
                  <a:lnTo>
                    <a:pt x="1300" y="1222"/>
                  </a:lnTo>
                  <a:lnTo>
                    <a:pt x="1315" y="1228"/>
                  </a:lnTo>
                  <a:lnTo>
                    <a:pt x="1315" y="1267"/>
                  </a:lnTo>
                  <a:lnTo>
                    <a:pt x="1330" y="1276"/>
                  </a:lnTo>
                  <a:lnTo>
                    <a:pt x="1366" y="1249"/>
                  </a:lnTo>
                  <a:lnTo>
                    <a:pt x="1381" y="1234"/>
                  </a:lnTo>
                  <a:lnTo>
                    <a:pt x="1399" y="1240"/>
                  </a:lnTo>
                  <a:lnTo>
                    <a:pt x="1417" y="1225"/>
                  </a:lnTo>
                  <a:lnTo>
                    <a:pt x="1456" y="1222"/>
                  </a:lnTo>
                  <a:lnTo>
                    <a:pt x="1462" y="1210"/>
                  </a:lnTo>
                  <a:lnTo>
                    <a:pt x="1453" y="1189"/>
                  </a:lnTo>
                  <a:lnTo>
                    <a:pt x="1480" y="1162"/>
                  </a:lnTo>
                  <a:lnTo>
                    <a:pt x="1512" y="1144"/>
                  </a:lnTo>
                  <a:lnTo>
                    <a:pt x="1560" y="1198"/>
                  </a:lnTo>
                  <a:lnTo>
                    <a:pt x="1557" y="1219"/>
                  </a:lnTo>
                  <a:lnTo>
                    <a:pt x="1584" y="1258"/>
                  </a:lnTo>
                  <a:lnTo>
                    <a:pt x="1641" y="1264"/>
                  </a:lnTo>
                  <a:lnTo>
                    <a:pt x="1656" y="1234"/>
                  </a:lnTo>
                  <a:lnTo>
                    <a:pt x="1641" y="1156"/>
                  </a:lnTo>
                  <a:lnTo>
                    <a:pt x="1653" y="1144"/>
                  </a:lnTo>
                  <a:lnTo>
                    <a:pt x="1680" y="1162"/>
                  </a:lnTo>
                  <a:lnTo>
                    <a:pt x="1707" y="1198"/>
                  </a:lnTo>
                  <a:lnTo>
                    <a:pt x="1746" y="1138"/>
                  </a:lnTo>
                  <a:lnTo>
                    <a:pt x="1764" y="1132"/>
                  </a:lnTo>
                  <a:lnTo>
                    <a:pt x="1791" y="1105"/>
                  </a:lnTo>
                  <a:lnTo>
                    <a:pt x="1806" y="1105"/>
                  </a:lnTo>
                  <a:lnTo>
                    <a:pt x="1830" y="1078"/>
                  </a:lnTo>
                  <a:lnTo>
                    <a:pt x="1845" y="1078"/>
                  </a:lnTo>
                  <a:lnTo>
                    <a:pt x="1857" y="1058"/>
                  </a:lnTo>
                  <a:lnTo>
                    <a:pt x="1893" y="1058"/>
                  </a:lnTo>
                  <a:lnTo>
                    <a:pt x="1926" y="1025"/>
                  </a:lnTo>
                  <a:lnTo>
                    <a:pt x="1944" y="1010"/>
                  </a:lnTo>
                  <a:lnTo>
                    <a:pt x="1944" y="992"/>
                  </a:lnTo>
                  <a:lnTo>
                    <a:pt x="1917" y="977"/>
                  </a:lnTo>
                  <a:lnTo>
                    <a:pt x="1917" y="944"/>
                  </a:lnTo>
                  <a:lnTo>
                    <a:pt x="1869" y="884"/>
                  </a:lnTo>
                  <a:lnTo>
                    <a:pt x="1824" y="929"/>
                  </a:lnTo>
                  <a:lnTo>
                    <a:pt x="1812" y="917"/>
                  </a:lnTo>
                  <a:lnTo>
                    <a:pt x="1809" y="893"/>
                  </a:lnTo>
                  <a:lnTo>
                    <a:pt x="1791" y="866"/>
                  </a:lnTo>
                  <a:lnTo>
                    <a:pt x="1785" y="836"/>
                  </a:lnTo>
                  <a:lnTo>
                    <a:pt x="1785" y="803"/>
                  </a:lnTo>
                  <a:lnTo>
                    <a:pt x="1755" y="779"/>
                  </a:lnTo>
                  <a:lnTo>
                    <a:pt x="1749" y="767"/>
                  </a:lnTo>
                  <a:lnTo>
                    <a:pt x="1758" y="749"/>
                  </a:lnTo>
                  <a:lnTo>
                    <a:pt x="1818" y="764"/>
                  </a:lnTo>
                  <a:lnTo>
                    <a:pt x="1818" y="737"/>
                  </a:lnTo>
                  <a:lnTo>
                    <a:pt x="1839" y="713"/>
                  </a:lnTo>
                  <a:lnTo>
                    <a:pt x="1827" y="698"/>
                  </a:lnTo>
                  <a:lnTo>
                    <a:pt x="1830" y="674"/>
                  </a:lnTo>
                  <a:lnTo>
                    <a:pt x="1857" y="659"/>
                  </a:lnTo>
                  <a:lnTo>
                    <a:pt x="1866" y="650"/>
                  </a:lnTo>
                  <a:lnTo>
                    <a:pt x="1860" y="641"/>
                  </a:lnTo>
                  <a:lnTo>
                    <a:pt x="1830" y="650"/>
                  </a:lnTo>
                  <a:lnTo>
                    <a:pt x="1773" y="611"/>
                  </a:lnTo>
                  <a:lnTo>
                    <a:pt x="1770" y="599"/>
                  </a:lnTo>
                  <a:lnTo>
                    <a:pt x="1797" y="563"/>
                  </a:lnTo>
                  <a:lnTo>
                    <a:pt x="1854" y="479"/>
                  </a:lnTo>
                  <a:lnTo>
                    <a:pt x="1857" y="470"/>
                  </a:lnTo>
                  <a:lnTo>
                    <a:pt x="1869" y="470"/>
                  </a:lnTo>
                  <a:lnTo>
                    <a:pt x="1887" y="494"/>
                  </a:lnTo>
                  <a:lnTo>
                    <a:pt x="1890" y="497"/>
                  </a:lnTo>
                  <a:lnTo>
                    <a:pt x="1893" y="392"/>
                  </a:lnTo>
                  <a:lnTo>
                    <a:pt x="1911" y="383"/>
                  </a:lnTo>
                  <a:lnTo>
                    <a:pt x="1911" y="341"/>
                  </a:lnTo>
                  <a:lnTo>
                    <a:pt x="1905" y="276"/>
                  </a:lnTo>
                  <a:lnTo>
                    <a:pt x="1929" y="183"/>
                  </a:lnTo>
                  <a:lnTo>
                    <a:pt x="1860" y="132"/>
                  </a:lnTo>
                  <a:lnTo>
                    <a:pt x="1809" y="177"/>
                  </a:lnTo>
                  <a:lnTo>
                    <a:pt x="1782" y="180"/>
                  </a:lnTo>
                  <a:lnTo>
                    <a:pt x="1767" y="195"/>
                  </a:lnTo>
                  <a:lnTo>
                    <a:pt x="1722" y="189"/>
                  </a:lnTo>
                  <a:lnTo>
                    <a:pt x="1698" y="162"/>
                  </a:lnTo>
                  <a:lnTo>
                    <a:pt x="1686" y="120"/>
                  </a:lnTo>
                  <a:lnTo>
                    <a:pt x="1689" y="105"/>
                  </a:lnTo>
                  <a:lnTo>
                    <a:pt x="1653" y="84"/>
                  </a:lnTo>
                  <a:lnTo>
                    <a:pt x="1632" y="117"/>
                  </a:lnTo>
                  <a:lnTo>
                    <a:pt x="1593" y="93"/>
                  </a:lnTo>
                  <a:lnTo>
                    <a:pt x="1584" y="84"/>
                  </a:lnTo>
                  <a:lnTo>
                    <a:pt x="1608" y="27"/>
                  </a:lnTo>
                  <a:lnTo>
                    <a:pt x="1590" y="0"/>
                  </a:lnTo>
                  <a:lnTo>
                    <a:pt x="1575" y="0"/>
                  </a:lnTo>
                  <a:lnTo>
                    <a:pt x="1533" y="30"/>
                  </a:lnTo>
                  <a:lnTo>
                    <a:pt x="1500" y="81"/>
                  </a:lnTo>
                  <a:lnTo>
                    <a:pt x="1512" y="90"/>
                  </a:lnTo>
                  <a:lnTo>
                    <a:pt x="1539" y="93"/>
                  </a:lnTo>
                  <a:lnTo>
                    <a:pt x="1557" y="144"/>
                  </a:lnTo>
                  <a:lnTo>
                    <a:pt x="1548" y="165"/>
                  </a:lnTo>
                  <a:lnTo>
                    <a:pt x="1527" y="195"/>
                  </a:lnTo>
                  <a:lnTo>
                    <a:pt x="1491" y="329"/>
                  </a:lnTo>
                  <a:lnTo>
                    <a:pt x="1503" y="353"/>
                  </a:lnTo>
                  <a:lnTo>
                    <a:pt x="1494" y="371"/>
                  </a:lnTo>
                  <a:lnTo>
                    <a:pt x="1408" y="434"/>
                  </a:lnTo>
                  <a:lnTo>
                    <a:pt x="1363" y="425"/>
                  </a:lnTo>
                  <a:lnTo>
                    <a:pt x="1339" y="416"/>
                  </a:lnTo>
                  <a:lnTo>
                    <a:pt x="1333" y="428"/>
                  </a:lnTo>
                  <a:lnTo>
                    <a:pt x="1297" y="578"/>
                  </a:lnTo>
                  <a:lnTo>
                    <a:pt x="1279" y="596"/>
                  </a:lnTo>
                  <a:lnTo>
                    <a:pt x="1288" y="623"/>
                  </a:lnTo>
                  <a:lnTo>
                    <a:pt x="1312" y="641"/>
                  </a:lnTo>
                  <a:lnTo>
                    <a:pt x="1351" y="620"/>
                  </a:lnTo>
                  <a:lnTo>
                    <a:pt x="1411" y="626"/>
                  </a:lnTo>
                  <a:lnTo>
                    <a:pt x="1429" y="596"/>
                  </a:lnTo>
                  <a:lnTo>
                    <a:pt x="1462" y="587"/>
                  </a:lnTo>
                  <a:lnTo>
                    <a:pt x="1521" y="611"/>
                  </a:lnTo>
                  <a:lnTo>
                    <a:pt x="1596" y="689"/>
                  </a:lnTo>
                  <a:lnTo>
                    <a:pt x="1596" y="704"/>
                  </a:lnTo>
                  <a:lnTo>
                    <a:pt x="1581" y="716"/>
                  </a:lnTo>
                  <a:lnTo>
                    <a:pt x="1494" y="722"/>
                  </a:lnTo>
                  <a:lnTo>
                    <a:pt x="1465" y="743"/>
                  </a:lnTo>
                  <a:lnTo>
                    <a:pt x="1444" y="740"/>
                  </a:lnTo>
                  <a:lnTo>
                    <a:pt x="1426" y="767"/>
                  </a:lnTo>
                  <a:lnTo>
                    <a:pt x="1387" y="776"/>
                  </a:lnTo>
                  <a:lnTo>
                    <a:pt x="1360" y="815"/>
                  </a:lnTo>
                  <a:lnTo>
                    <a:pt x="1354" y="845"/>
                  </a:lnTo>
                  <a:lnTo>
                    <a:pt x="1297" y="884"/>
                  </a:lnTo>
                  <a:lnTo>
                    <a:pt x="1258" y="890"/>
                  </a:lnTo>
                  <a:lnTo>
                    <a:pt x="1219" y="944"/>
                  </a:lnTo>
                  <a:lnTo>
                    <a:pt x="1180" y="965"/>
                  </a:lnTo>
                  <a:lnTo>
                    <a:pt x="1105" y="950"/>
                  </a:lnTo>
                  <a:lnTo>
                    <a:pt x="1081" y="938"/>
                  </a:lnTo>
                  <a:lnTo>
                    <a:pt x="1051" y="968"/>
                  </a:lnTo>
                  <a:lnTo>
                    <a:pt x="1036" y="1019"/>
                  </a:lnTo>
                  <a:lnTo>
                    <a:pt x="1078" y="1078"/>
                  </a:lnTo>
                  <a:lnTo>
                    <a:pt x="1051" y="1108"/>
                  </a:lnTo>
                  <a:lnTo>
                    <a:pt x="1012" y="1129"/>
                  </a:lnTo>
                  <a:lnTo>
                    <a:pt x="958" y="1198"/>
                  </a:lnTo>
                  <a:lnTo>
                    <a:pt x="889" y="1228"/>
                  </a:lnTo>
                  <a:lnTo>
                    <a:pt x="772" y="1240"/>
                  </a:lnTo>
                  <a:lnTo>
                    <a:pt x="754" y="1237"/>
                  </a:lnTo>
                  <a:lnTo>
                    <a:pt x="620" y="1294"/>
                  </a:lnTo>
                  <a:lnTo>
                    <a:pt x="560" y="1333"/>
                  </a:lnTo>
                  <a:lnTo>
                    <a:pt x="542" y="1324"/>
                  </a:lnTo>
                  <a:lnTo>
                    <a:pt x="536" y="1306"/>
                  </a:lnTo>
                  <a:lnTo>
                    <a:pt x="452" y="1303"/>
                  </a:lnTo>
                  <a:lnTo>
                    <a:pt x="359" y="1273"/>
                  </a:lnTo>
                  <a:lnTo>
                    <a:pt x="332" y="1243"/>
                  </a:lnTo>
                  <a:lnTo>
                    <a:pt x="194" y="1228"/>
                  </a:lnTo>
                  <a:lnTo>
                    <a:pt x="167" y="1237"/>
                  </a:lnTo>
                  <a:lnTo>
                    <a:pt x="0" y="1222"/>
                  </a:lnTo>
                  <a:lnTo>
                    <a:pt x="0" y="1246"/>
                  </a:lnTo>
                  <a:lnTo>
                    <a:pt x="8" y="1285"/>
                  </a:lnTo>
                  <a:lnTo>
                    <a:pt x="3" y="1348"/>
                  </a:lnTo>
                  <a:lnTo>
                    <a:pt x="50" y="1420"/>
                  </a:lnTo>
                  <a:lnTo>
                    <a:pt x="74" y="1435"/>
                  </a:lnTo>
                  <a:lnTo>
                    <a:pt x="113" y="1405"/>
                  </a:lnTo>
                  <a:lnTo>
                    <a:pt x="197" y="1405"/>
                  </a:lnTo>
                  <a:lnTo>
                    <a:pt x="215" y="1414"/>
                  </a:lnTo>
                  <a:lnTo>
                    <a:pt x="227" y="1432"/>
                  </a:lnTo>
                  <a:lnTo>
                    <a:pt x="218" y="1450"/>
                  </a:lnTo>
                  <a:lnTo>
                    <a:pt x="173" y="1489"/>
                  </a:lnTo>
                  <a:lnTo>
                    <a:pt x="179" y="1507"/>
                  </a:lnTo>
                  <a:lnTo>
                    <a:pt x="230" y="1546"/>
                  </a:lnTo>
                  <a:lnTo>
                    <a:pt x="251" y="1546"/>
                  </a:lnTo>
                  <a:lnTo>
                    <a:pt x="257" y="1555"/>
                  </a:lnTo>
                  <a:lnTo>
                    <a:pt x="251" y="1570"/>
                  </a:lnTo>
                  <a:lnTo>
                    <a:pt x="284" y="1594"/>
                  </a:lnTo>
                  <a:lnTo>
                    <a:pt x="359" y="1606"/>
                  </a:lnTo>
                  <a:lnTo>
                    <a:pt x="395" y="1597"/>
                  </a:lnTo>
                  <a:lnTo>
                    <a:pt x="440" y="1552"/>
                  </a:lnTo>
                  <a:lnTo>
                    <a:pt x="497" y="1558"/>
                  </a:lnTo>
                  <a:lnTo>
                    <a:pt x="518" y="1591"/>
                  </a:lnTo>
                  <a:lnTo>
                    <a:pt x="506" y="1621"/>
                  </a:lnTo>
                  <a:lnTo>
                    <a:pt x="509" y="1642"/>
                  </a:lnTo>
                  <a:lnTo>
                    <a:pt x="479" y="1660"/>
                  </a:lnTo>
                  <a:lnTo>
                    <a:pt x="467" y="1675"/>
                  </a:lnTo>
                  <a:lnTo>
                    <a:pt x="470" y="1714"/>
                  </a:lnTo>
                  <a:lnTo>
                    <a:pt x="524" y="1750"/>
                  </a:lnTo>
                  <a:lnTo>
                    <a:pt x="545" y="1744"/>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2" name="Freeform 126"/>
            <p:cNvSpPr>
              <a:spLocks/>
            </p:cNvSpPr>
            <p:nvPr/>
          </p:nvSpPr>
          <p:spPr bwMode="auto">
            <a:xfrm>
              <a:off x="2973636" y="1146200"/>
              <a:ext cx="2728913" cy="2430462"/>
            </a:xfrm>
            <a:custGeom>
              <a:avLst/>
              <a:gdLst>
                <a:gd name="T0" fmla="*/ 262 w 1944"/>
                <a:gd name="T1" fmla="*/ 555 h 1750"/>
                <a:gd name="T2" fmla="*/ 296 w 1944"/>
                <a:gd name="T3" fmla="*/ 506 h 1750"/>
                <a:gd name="T4" fmla="*/ 320 w 1944"/>
                <a:gd name="T5" fmla="*/ 552 h 1750"/>
                <a:gd name="T6" fmla="*/ 351 w 1944"/>
                <a:gd name="T7" fmla="*/ 562 h 1750"/>
                <a:gd name="T8" fmla="*/ 393 w 1944"/>
                <a:gd name="T9" fmla="*/ 513 h 1750"/>
                <a:gd name="T10" fmla="*/ 435 w 1944"/>
                <a:gd name="T11" fmla="*/ 496 h 1750"/>
                <a:gd name="T12" fmla="*/ 483 w 1944"/>
                <a:gd name="T13" fmla="*/ 466 h 1750"/>
                <a:gd name="T14" fmla="*/ 512 w 1944"/>
                <a:gd name="T15" fmla="*/ 436 h 1750"/>
                <a:gd name="T16" fmla="*/ 541 w 1944"/>
                <a:gd name="T17" fmla="*/ 402 h 1750"/>
                <a:gd name="T18" fmla="*/ 569 w 1944"/>
                <a:gd name="T19" fmla="*/ 403 h 1750"/>
                <a:gd name="T20" fmla="*/ 601 w 1944"/>
                <a:gd name="T21" fmla="*/ 396 h 1750"/>
                <a:gd name="T22" fmla="*/ 642 w 1944"/>
                <a:gd name="T23" fmla="*/ 392 h 1750"/>
                <a:gd name="T24" fmla="*/ 682 w 1944"/>
                <a:gd name="T25" fmla="*/ 403 h 1750"/>
                <a:gd name="T26" fmla="*/ 703 w 1944"/>
                <a:gd name="T27" fmla="*/ 392 h 1750"/>
                <a:gd name="T28" fmla="*/ 745 w 1944"/>
                <a:gd name="T29" fmla="*/ 361 h 1750"/>
                <a:gd name="T30" fmla="*/ 780 w 1944"/>
                <a:gd name="T31" fmla="*/ 346 h 1750"/>
                <a:gd name="T32" fmla="*/ 790 w 1944"/>
                <a:gd name="T33" fmla="*/ 320 h 1750"/>
                <a:gd name="T34" fmla="*/ 745 w 1944"/>
                <a:gd name="T35" fmla="*/ 300 h 1750"/>
                <a:gd name="T36" fmla="*/ 735 w 1944"/>
                <a:gd name="T37" fmla="*/ 262 h 1750"/>
                <a:gd name="T38" fmla="*/ 749 w 1944"/>
                <a:gd name="T39" fmla="*/ 250 h 1750"/>
                <a:gd name="T40" fmla="*/ 754 w 1944"/>
                <a:gd name="T41" fmla="*/ 220 h 1750"/>
                <a:gd name="T42" fmla="*/ 754 w 1944"/>
                <a:gd name="T43" fmla="*/ 213 h 1750"/>
                <a:gd name="T44" fmla="*/ 764 w 1944"/>
                <a:gd name="T45" fmla="*/ 157 h 1750"/>
                <a:gd name="T46" fmla="*/ 779 w 1944"/>
                <a:gd name="T47" fmla="*/ 162 h 1750"/>
                <a:gd name="T48" fmla="*/ 784 w 1944"/>
                <a:gd name="T49" fmla="*/ 90 h 1750"/>
                <a:gd name="T50" fmla="*/ 735 w 1944"/>
                <a:gd name="T51" fmla="*/ 58 h 1750"/>
                <a:gd name="T52" fmla="*/ 695 w 1944"/>
                <a:gd name="T53" fmla="*/ 39 h 1750"/>
                <a:gd name="T54" fmla="*/ 656 w 1944"/>
                <a:gd name="T55" fmla="*/ 30 h 1750"/>
                <a:gd name="T56" fmla="*/ 648 w 1944"/>
                <a:gd name="T57" fmla="*/ 0 h 1750"/>
                <a:gd name="T58" fmla="*/ 633 w 1944"/>
                <a:gd name="T59" fmla="*/ 30 h 1750"/>
                <a:gd name="T60" fmla="*/ 614 w 1944"/>
                <a:gd name="T61" fmla="*/ 107 h 1750"/>
                <a:gd name="T62" fmla="*/ 561 w 1944"/>
                <a:gd name="T63" fmla="*/ 139 h 1750"/>
                <a:gd name="T64" fmla="*/ 527 w 1944"/>
                <a:gd name="T65" fmla="*/ 196 h 1750"/>
                <a:gd name="T66" fmla="*/ 581 w 1944"/>
                <a:gd name="T67" fmla="*/ 206 h 1750"/>
                <a:gd name="T68" fmla="*/ 657 w 1944"/>
                <a:gd name="T69" fmla="*/ 225 h 1750"/>
                <a:gd name="T70" fmla="*/ 604 w 1944"/>
                <a:gd name="T71" fmla="*/ 243 h 1750"/>
                <a:gd name="T72" fmla="*/ 560 w 1944"/>
                <a:gd name="T73" fmla="*/ 267 h 1750"/>
                <a:gd name="T74" fmla="*/ 501 w 1944"/>
                <a:gd name="T75" fmla="*/ 309 h 1750"/>
                <a:gd name="T76" fmla="*/ 433 w 1944"/>
                <a:gd name="T77" fmla="*/ 317 h 1750"/>
                <a:gd name="T78" fmla="*/ 417 w 1944"/>
                <a:gd name="T79" fmla="*/ 370 h 1750"/>
                <a:gd name="T80" fmla="*/ 310 w 1944"/>
                <a:gd name="T81" fmla="*/ 404 h 1750"/>
                <a:gd name="T82" fmla="*/ 221 w 1944"/>
                <a:gd name="T83" fmla="*/ 427 h 1750"/>
                <a:gd name="T84" fmla="*/ 79 w 1944"/>
                <a:gd name="T85" fmla="*/ 402 h 1750"/>
                <a:gd name="T86" fmla="*/ 5 w 1944"/>
                <a:gd name="T87" fmla="*/ 420 h 1750"/>
                <a:gd name="T88" fmla="*/ 46 w 1944"/>
                <a:gd name="T89" fmla="*/ 459 h 1750"/>
                <a:gd name="T90" fmla="*/ 90 w 1944"/>
                <a:gd name="T91" fmla="*/ 474 h 1750"/>
                <a:gd name="T92" fmla="*/ 103 w 1944"/>
                <a:gd name="T93" fmla="*/ 505 h 1750"/>
                <a:gd name="T94" fmla="*/ 148 w 1944"/>
                <a:gd name="T95" fmla="*/ 525 h 1750"/>
                <a:gd name="T96" fmla="*/ 212 w 1944"/>
                <a:gd name="T97" fmla="*/ 520 h 1750"/>
                <a:gd name="T98" fmla="*/ 193 w 1944"/>
                <a:gd name="T99" fmla="*/ 548 h 17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44" h="1750">
                  <a:moveTo>
                    <a:pt x="545" y="1744"/>
                  </a:moveTo>
                  <a:lnTo>
                    <a:pt x="575" y="1738"/>
                  </a:lnTo>
                  <a:lnTo>
                    <a:pt x="596" y="1729"/>
                  </a:lnTo>
                  <a:lnTo>
                    <a:pt x="635" y="1699"/>
                  </a:lnTo>
                  <a:lnTo>
                    <a:pt x="641" y="1648"/>
                  </a:lnTo>
                  <a:lnTo>
                    <a:pt x="665" y="1576"/>
                  </a:lnTo>
                  <a:lnTo>
                    <a:pt x="713" y="1543"/>
                  </a:lnTo>
                  <a:lnTo>
                    <a:pt x="719" y="1549"/>
                  </a:lnTo>
                  <a:lnTo>
                    <a:pt x="734" y="1600"/>
                  </a:lnTo>
                  <a:lnTo>
                    <a:pt x="710" y="1630"/>
                  </a:lnTo>
                  <a:lnTo>
                    <a:pt x="704" y="1660"/>
                  </a:lnTo>
                  <a:lnTo>
                    <a:pt x="778" y="1687"/>
                  </a:lnTo>
                  <a:lnTo>
                    <a:pt x="784" y="1708"/>
                  </a:lnTo>
                  <a:lnTo>
                    <a:pt x="826" y="1705"/>
                  </a:lnTo>
                  <a:lnTo>
                    <a:pt x="847" y="1711"/>
                  </a:lnTo>
                  <a:lnTo>
                    <a:pt x="856" y="1717"/>
                  </a:lnTo>
                  <a:lnTo>
                    <a:pt x="931" y="1612"/>
                  </a:lnTo>
                  <a:lnTo>
                    <a:pt x="952" y="1603"/>
                  </a:lnTo>
                  <a:lnTo>
                    <a:pt x="955" y="1591"/>
                  </a:lnTo>
                  <a:lnTo>
                    <a:pt x="955" y="1570"/>
                  </a:lnTo>
                  <a:lnTo>
                    <a:pt x="979" y="1534"/>
                  </a:lnTo>
                  <a:lnTo>
                    <a:pt x="1027" y="1531"/>
                  </a:lnTo>
                  <a:lnTo>
                    <a:pt x="1045" y="1510"/>
                  </a:lnTo>
                  <a:lnTo>
                    <a:pt x="1057" y="1519"/>
                  </a:lnTo>
                  <a:lnTo>
                    <a:pt x="1084" y="1498"/>
                  </a:lnTo>
                  <a:lnTo>
                    <a:pt x="1099" y="1498"/>
                  </a:lnTo>
                  <a:lnTo>
                    <a:pt x="1150" y="1426"/>
                  </a:lnTo>
                  <a:lnTo>
                    <a:pt x="1174" y="1426"/>
                  </a:lnTo>
                  <a:lnTo>
                    <a:pt x="1207" y="1405"/>
                  </a:lnTo>
                  <a:lnTo>
                    <a:pt x="1216" y="1414"/>
                  </a:lnTo>
                  <a:lnTo>
                    <a:pt x="1276" y="1384"/>
                  </a:lnTo>
                  <a:lnTo>
                    <a:pt x="1246" y="1333"/>
                  </a:lnTo>
                  <a:lnTo>
                    <a:pt x="1255" y="1285"/>
                  </a:lnTo>
                  <a:lnTo>
                    <a:pt x="1279" y="1231"/>
                  </a:lnTo>
                  <a:lnTo>
                    <a:pt x="1300" y="1222"/>
                  </a:lnTo>
                  <a:lnTo>
                    <a:pt x="1315" y="1228"/>
                  </a:lnTo>
                  <a:lnTo>
                    <a:pt x="1315" y="1267"/>
                  </a:lnTo>
                  <a:lnTo>
                    <a:pt x="1330" y="1276"/>
                  </a:lnTo>
                  <a:lnTo>
                    <a:pt x="1366" y="1249"/>
                  </a:lnTo>
                  <a:lnTo>
                    <a:pt x="1381" y="1234"/>
                  </a:lnTo>
                  <a:lnTo>
                    <a:pt x="1399" y="1240"/>
                  </a:lnTo>
                  <a:lnTo>
                    <a:pt x="1417" y="1225"/>
                  </a:lnTo>
                  <a:lnTo>
                    <a:pt x="1456" y="1222"/>
                  </a:lnTo>
                  <a:lnTo>
                    <a:pt x="1462" y="1210"/>
                  </a:lnTo>
                  <a:lnTo>
                    <a:pt x="1453" y="1189"/>
                  </a:lnTo>
                  <a:lnTo>
                    <a:pt x="1480" y="1162"/>
                  </a:lnTo>
                  <a:lnTo>
                    <a:pt x="1512" y="1144"/>
                  </a:lnTo>
                  <a:lnTo>
                    <a:pt x="1560" y="1198"/>
                  </a:lnTo>
                  <a:lnTo>
                    <a:pt x="1557" y="1219"/>
                  </a:lnTo>
                  <a:lnTo>
                    <a:pt x="1584" y="1258"/>
                  </a:lnTo>
                  <a:lnTo>
                    <a:pt x="1641" y="1264"/>
                  </a:lnTo>
                  <a:lnTo>
                    <a:pt x="1656" y="1234"/>
                  </a:lnTo>
                  <a:lnTo>
                    <a:pt x="1641" y="1156"/>
                  </a:lnTo>
                  <a:lnTo>
                    <a:pt x="1653" y="1144"/>
                  </a:lnTo>
                  <a:lnTo>
                    <a:pt x="1680" y="1162"/>
                  </a:lnTo>
                  <a:lnTo>
                    <a:pt x="1707" y="1198"/>
                  </a:lnTo>
                  <a:lnTo>
                    <a:pt x="1746" y="1138"/>
                  </a:lnTo>
                  <a:lnTo>
                    <a:pt x="1764" y="1132"/>
                  </a:lnTo>
                  <a:lnTo>
                    <a:pt x="1791" y="1105"/>
                  </a:lnTo>
                  <a:lnTo>
                    <a:pt x="1806" y="1105"/>
                  </a:lnTo>
                  <a:lnTo>
                    <a:pt x="1830" y="1078"/>
                  </a:lnTo>
                  <a:lnTo>
                    <a:pt x="1845" y="1078"/>
                  </a:lnTo>
                  <a:lnTo>
                    <a:pt x="1857" y="1058"/>
                  </a:lnTo>
                  <a:lnTo>
                    <a:pt x="1893" y="1058"/>
                  </a:lnTo>
                  <a:lnTo>
                    <a:pt x="1926" y="1025"/>
                  </a:lnTo>
                  <a:lnTo>
                    <a:pt x="1944" y="1010"/>
                  </a:lnTo>
                  <a:lnTo>
                    <a:pt x="1944" y="992"/>
                  </a:lnTo>
                  <a:lnTo>
                    <a:pt x="1917" y="977"/>
                  </a:lnTo>
                  <a:lnTo>
                    <a:pt x="1917" y="944"/>
                  </a:lnTo>
                  <a:lnTo>
                    <a:pt x="1869" y="884"/>
                  </a:lnTo>
                  <a:lnTo>
                    <a:pt x="1824" y="929"/>
                  </a:lnTo>
                  <a:lnTo>
                    <a:pt x="1812" y="917"/>
                  </a:lnTo>
                  <a:lnTo>
                    <a:pt x="1809" y="893"/>
                  </a:lnTo>
                  <a:lnTo>
                    <a:pt x="1791" y="866"/>
                  </a:lnTo>
                  <a:lnTo>
                    <a:pt x="1785" y="836"/>
                  </a:lnTo>
                  <a:lnTo>
                    <a:pt x="1785" y="803"/>
                  </a:lnTo>
                  <a:lnTo>
                    <a:pt x="1755" y="779"/>
                  </a:lnTo>
                  <a:lnTo>
                    <a:pt x="1749" y="767"/>
                  </a:lnTo>
                  <a:lnTo>
                    <a:pt x="1758" y="749"/>
                  </a:lnTo>
                  <a:lnTo>
                    <a:pt x="1818" y="764"/>
                  </a:lnTo>
                  <a:lnTo>
                    <a:pt x="1818" y="737"/>
                  </a:lnTo>
                  <a:lnTo>
                    <a:pt x="1839" y="713"/>
                  </a:lnTo>
                  <a:lnTo>
                    <a:pt x="1827" y="698"/>
                  </a:lnTo>
                  <a:lnTo>
                    <a:pt x="1830" y="674"/>
                  </a:lnTo>
                  <a:lnTo>
                    <a:pt x="1857" y="659"/>
                  </a:lnTo>
                  <a:lnTo>
                    <a:pt x="1866" y="650"/>
                  </a:lnTo>
                  <a:lnTo>
                    <a:pt x="1860" y="641"/>
                  </a:lnTo>
                  <a:lnTo>
                    <a:pt x="1830" y="650"/>
                  </a:lnTo>
                  <a:lnTo>
                    <a:pt x="1773" y="611"/>
                  </a:lnTo>
                  <a:lnTo>
                    <a:pt x="1770" y="599"/>
                  </a:lnTo>
                  <a:lnTo>
                    <a:pt x="1797" y="563"/>
                  </a:lnTo>
                  <a:lnTo>
                    <a:pt x="1854" y="479"/>
                  </a:lnTo>
                  <a:lnTo>
                    <a:pt x="1857" y="470"/>
                  </a:lnTo>
                  <a:lnTo>
                    <a:pt x="1869" y="470"/>
                  </a:lnTo>
                  <a:lnTo>
                    <a:pt x="1887" y="494"/>
                  </a:lnTo>
                  <a:lnTo>
                    <a:pt x="1890" y="497"/>
                  </a:lnTo>
                  <a:lnTo>
                    <a:pt x="1893" y="392"/>
                  </a:lnTo>
                  <a:lnTo>
                    <a:pt x="1911" y="383"/>
                  </a:lnTo>
                  <a:lnTo>
                    <a:pt x="1911" y="341"/>
                  </a:lnTo>
                  <a:lnTo>
                    <a:pt x="1905" y="276"/>
                  </a:lnTo>
                  <a:lnTo>
                    <a:pt x="1929" y="183"/>
                  </a:lnTo>
                  <a:lnTo>
                    <a:pt x="1860" y="132"/>
                  </a:lnTo>
                  <a:lnTo>
                    <a:pt x="1809" y="177"/>
                  </a:lnTo>
                  <a:lnTo>
                    <a:pt x="1782" y="180"/>
                  </a:lnTo>
                  <a:lnTo>
                    <a:pt x="1767" y="195"/>
                  </a:lnTo>
                  <a:lnTo>
                    <a:pt x="1722" y="189"/>
                  </a:lnTo>
                  <a:lnTo>
                    <a:pt x="1698" y="162"/>
                  </a:lnTo>
                  <a:lnTo>
                    <a:pt x="1686" y="120"/>
                  </a:lnTo>
                  <a:lnTo>
                    <a:pt x="1689" y="105"/>
                  </a:lnTo>
                  <a:lnTo>
                    <a:pt x="1653" y="84"/>
                  </a:lnTo>
                  <a:lnTo>
                    <a:pt x="1632" y="117"/>
                  </a:lnTo>
                  <a:lnTo>
                    <a:pt x="1593" y="93"/>
                  </a:lnTo>
                  <a:lnTo>
                    <a:pt x="1584" y="84"/>
                  </a:lnTo>
                  <a:lnTo>
                    <a:pt x="1608" y="27"/>
                  </a:lnTo>
                  <a:lnTo>
                    <a:pt x="1590" y="0"/>
                  </a:lnTo>
                  <a:lnTo>
                    <a:pt x="1575" y="0"/>
                  </a:lnTo>
                  <a:lnTo>
                    <a:pt x="1533" y="30"/>
                  </a:lnTo>
                  <a:lnTo>
                    <a:pt x="1500" y="81"/>
                  </a:lnTo>
                  <a:lnTo>
                    <a:pt x="1512" y="90"/>
                  </a:lnTo>
                  <a:lnTo>
                    <a:pt x="1539" y="93"/>
                  </a:lnTo>
                  <a:lnTo>
                    <a:pt x="1557" y="144"/>
                  </a:lnTo>
                  <a:lnTo>
                    <a:pt x="1548" y="165"/>
                  </a:lnTo>
                  <a:lnTo>
                    <a:pt x="1527" y="195"/>
                  </a:lnTo>
                  <a:lnTo>
                    <a:pt x="1491" y="329"/>
                  </a:lnTo>
                  <a:lnTo>
                    <a:pt x="1503" y="353"/>
                  </a:lnTo>
                  <a:lnTo>
                    <a:pt x="1494" y="371"/>
                  </a:lnTo>
                  <a:lnTo>
                    <a:pt x="1408" y="434"/>
                  </a:lnTo>
                  <a:lnTo>
                    <a:pt x="1363" y="425"/>
                  </a:lnTo>
                  <a:lnTo>
                    <a:pt x="1339" y="416"/>
                  </a:lnTo>
                  <a:lnTo>
                    <a:pt x="1333" y="428"/>
                  </a:lnTo>
                  <a:lnTo>
                    <a:pt x="1297" y="578"/>
                  </a:lnTo>
                  <a:lnTo>
                    <a:pt x="1279" y="596"/>
                  </a:lnTo>
                  <a:lnTo>
                    <a:pt x="1288" y="623"/>
                  </a:lnTo>
                  <a:lnTo>
                    <a:pt x="1312" y="641"/>
                  </a:lnTo>
                  <a:lnTo>
                    <a:pt x="1351" y="620"/>
                  </a:lnTo>
                  <a:lnTo>
                    <a:pt x="1411" y="626"/>
                  </a:lnTo>
                  <a:lnTo>
                    <a:pt x="1429" y="596"/>
                  </a:lnTo>
                  <a:lnTo>
                    <a:pt x="1462" y="587"/>
                  </a:lnTo>
                  <a:lnTo>
                    <a:pt x="1521" y="611"/>
                  </a:lnTo>
                  <a:lnTo>
                    <a:pt x="1596" y="689"/>
                  </a:lnTo>
                  <a:lnTo>
                    <a:pt x="1596" y="704"/>
                  </a:lnTo>
                  <a:lnTo>
                    <a:pt x="1581" y="716"/>
                  </a:lnTo>
                  <a:lnTo>
                    <a:pt x="1494" y="722"/>
                  </a:lnTo>
                  <a:lnTo>
                    <a:pt x="1465" y="743"/>
                  </a:lnTo>
                  <a:lnTo>
                    <a:pt x="1444" y="740"/>
                  </a:lnTo>
                  <a:lnTo>
                    <a:pt x="1426" y="767"/>
                  </a:lnTo>
                  <a:lnTo>
                    <a:pt x="1387" y="776"/>
                  </a:lnTo>
                  <a:lnTo>
                    <a:pt x="1360" y="815"/>
                  </a:lnTo>
                  <a:lnTo>
                    <a:pt x="1354" y="845"/>
                  </a:lnTo>
                  <a:lnTo>
                    <a:pt x="1297" y="884"/>
                  </a:lnTo>
                  <a:lnTo>
                    <a:pt x="1258" y="890"/>
                  </a:lnTo>
                  <a:lnTo>
                    <a:pt x="1219" y="944"/>
                  </a:lnTo>
                  <a:lnTo>
                    <a:pt x="1180" y="965"/>
                  </a:lnTo>
                  <a:lnTo>
                    <a:pt x="1105" y="950"/>
                  </a:lnTo>
                  <a:lnTo>
                    <a:pt x="1081" y="938"/>
                  </a:lnTo>
                  <a:lnTo>
                    <a:pt x="1051" y="968"/>
                  </a:lnTo>
                  <a:lnTo>
                    <a:pt x="1036" y="1019"/>
                  </a:lnTo>
                  <a:lnTo>
                    <a:pt x="1078" y="1078"/>
                  </a:lnTo>
                  <a:lnTo>
                    <a:pt x="1051" y="1108"/>
                  </a:lnTo>
                  <a:lnTo>
                    <a:pt x="1012" y="1129"/>
                  </a:lnTo>
                  <a:lnTo>
                    <a:pt x="958" y="1198"/>
                  </a:lnTo>
                  <a:lnTo>
                    <a:pt x="889" y="1228"/>
                  </a:lnTo>
                  <a:lnTo>
                    <a:pt x="772" y="1240"/>
                  </a:lnTo>
                  <a:lnTo>
                    <a:pt x="754" y="1237"/>
                  </a:lnTo>
                  <a:lnTo>
                    <a:pt x="620" y="1294"/>
                  </a:lnTo>
                  <a:lnTo>
                    <a:pt x="560" y="1333"/>
                  </a:lnTo>
                  <a:lnTo>
                    <a:pt x="542" y="1324"/>
                  </a:lnTo>
                  <a:lnTo>
                    <a:pt x="536" y="1306"/>
                  </a:lnTo>
                  <a:lnTo>
                    <a:pt x="452" y="1303"/>
                  </a:lnTo>
                  <a:lnTo>
                    <a:pt x="359" y="1273"/>
                  </a:lnTo>
                  <a:lnTo>
                    <a:pt x="332" y="1243"/>
                  </a:lnTo>
                  <a:lnTo>
                    <a:pt x="194" y="1228"/>
                  </a:lnTo>
                  <a:lnTo>
                    <a:pt x="167" y="1237"/>
                  </a:lnTo>
                  <a:lnTo>
                    <a:pt x="0" y="1222"/>
                  </a:lnTo>
                  <a:lnTo>
                    <a:pt x="0" y="1246"/>
                  </a:lnTo>
                  <a:lnTo>
                    <a:pt x="8" y="1285"/>
                  </a:lnTo>
                  <a:lnTo>
                    <a:pt x="3" y="1348"/>
                  </a:lnTo>
                  <a:lnTo>
                    <a:pt x="50" y="1420"/>
                  </a:lnTo>
                  <a:lnTo>
                    <a:pt x="74" y="1435"/>
                  </a:lnTo>
                  <a:lnTo>
                    <a:pt x="113" y="1405"/>
                  </a:lnTo>
                  <a:lnTo>
                    <a:pt x="197" y="1405"/>
                  </a:lnTo>
                  <a:lnTo>
                    <a:pt x="215" y="1414"/>
                  </a:lnTo>
                  <a:lnTo>
                    <a:pt x="227" y="1432"/>
                  </a:lnTo>
                  <a:lnTo>
                    <a:pt x="218" y="1450"/>
                  </a:lnTo>
                  <a:lnTo>
                    <a:pt x="173" y="1489"/>
                  </a:lnTo>
                  <a:lnTo>
                    <a:pt x="179" y="1507"/>
                  </a:lnTo>
                  <a:lnTo>
                    <a:pt x="230" y="1546"/>
                  </a:lnTo>
                  <a:lnTo>
                    <a:pt x="251" y="1546"/>
                  </a:lnTo>
                  <a:lnTo>
                    <a:pt x="257" y="1555"/>
                  </a:lnTo>
                  <a:lnTo>
                    <a:pt x="251" y="1570"/>
                  </a:lnTo>
                  <a:lnTo>
                    <a:pt x="284" y="1594"/>
                  </a:lnTo>
                  <a:lnTo>
                    <a:pt x="359" y="1606"/>
                  </a:lnTo>
                  <a:lnTo>
                    <a:pt x="395" y="1597"/>
                  </a:lnTo>
                  <a:lnTo>
                    <a:pt x="440" y="1552"/>
                  </a:lnTo>
                  <a:lnTo>
                    <a:pt x="497" y="1558"/>
                  </a:lnTo>
                  <a:lnTo>
                    <a:pt x="518" y="1591"/>
                  </a:lnTo>
                  <a:lnTo>
                    <a:pt x="506" y="1621"/>
                  </a:lnTo>
                  <a:lnTo>
                    <a:pt x="509" y="1642"/>
                  </a:lnTo>
                  <a:lnTo>
                    <a:pt x="479" y="1660"/>
                  </a:lnTo>
                  <a:lnTo>
                    <a:pt x="467" y="1675"/>
                  </a:lnTo>
                  <a:lnTo>
                    <a:pt x="470" y="1714"/>
                  </a:lnTo>
                  <a:lnTo>
                    <a:pt x="524" y="1750"/>
                  </a:lnTo>
                  <a:lnTo>
                    <a:pt x="545" y="1744"/>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3" name="Freeform 127"/>
            <p:cNvSpPr>
              <a:spLocks/>
            </p:cNvSpPr>
            <p:nvPr/>
          </p:nvSpPr>
          <p:spPr bwMode="auto">
            <a:xfrm>
              <a:off x="5261224" y="2506687"/>
              <a:ext cx="714375" cy="681038"/>
            </a:xfrm>
            <a:custGeom>
              <a:avLst/>
              <a:gdLst>
                <a:gd name="T0" fmla="*/ 171 w 510"/>
                <a:gd name="T1" fmla="*/ 111 h 491"/>
                <a:gd name="T2" fmla="*/ 192 w 510"/>
                <a:gd name="T3" fmla="*/ 85 h 491"/>
                <a:gd name="T4" fmla="*/ 207 w 510"/>
                <a:gd name="T5" fmla="*/ 72 h 491"/>
                <a:gd name="T6" fmla="*/ 206 w 510"/>
                <a:gd name="T7" fmla="*/ 60 h 491"/>
                <a:gd name="T8" fmla="*/ 190 w 510"/>
                <a:gd name="T9" fmla="*/ 46 h 491"/>
                <a:gd name="T10" fmla="*/ 189 w 510"/>
                <a:gd name="T11" fmla="*/ 35 h 491"/>
                <a:gd name="T12" fmla="*/ 163 w 510"/>
                <a:gd name="T13" fmla="*/ 7 h 491"/>
                <a:gd name="T14" fmla="*/ 160 w 510"/>
                <a:gd name="T15" fmla="*/ 10 h 491"/>
                <a:gd name="T16" fmla="*/ 154 w 510"/>
                <a:gd name="T17" fmla="*/ 13 h 491"/>
                <a:gd name="T18" fmla="*/ 144 w 510"/>
                <a:gd name="T19" fmla="*/ 4 h 491"/>
                <a:gd name="T20" fmla="*/ 128 w 510"/>
                <a:gd name="T21" fmla="*/ 0 h 491"/>
                <a:gd name="T22" fmla="*/ 128 w 510"/>
                <a:gd name="T23" fmla="*/ 4 h 491"/>
                <a:gd name="T24" fmla="*/ 128 w 510"/>
                <a:gd name="T25" fmla="*/ 10 h 491"/>
                <a:gd name="T26" fmla="*/ 121 w 510"/>
                <a:gd name="T27" fmla="*/ 15 h 491"/>
                <a:gd name="T28" fmla="*/ 108 w 510"/>
                <a:gd name="T29" fmla="*/ 26 h 491"/>
                <a:gd name="T30" fmla="*/ 92 w 510"/>
                <a:gd name="T31" fmla="*/ 26 h 491"/>
                <a:gd name="T32" fmla="*/ 87 w 510"/>
                <a:gd name="T33" fmla="*/ 32 h 491"/>
                <a:gd name="T34" fmla="*/ 82 w 510"/>
                <a:gd name="T35" fmla="*/ 32 h 491"/>
                <a:gd name="T36" fmla="*/ 71 w 510"/>
                <a:gd name="T37" fmla="*/ 41 h 491"/>
                <a:gd name="T38" fmla="*/ 65 w 510"/>
                <a:gd name="T39" fmla="*/ 41 h 491"/>
                <a:gd name="T40" fmla="*/ 54 w 510"/>
                <a:gd name="T41" fmla="*/ 50 h 491"/>
                <a:gd name="T42" fmla="*/ 48 w 510"/>
                <a:gd name="T43" fmla="*/ 51 h 491"/>
                <a:gd name="T44" fmla="*/ 31 w 510"/>
                <a:gd name="T45" fmla="*/ 72 h 491"/>
                <a:gd name="T46" fmla="*/ 21 w 510"/>
                <a:gd name="T47" fmla="*/ 60 h 491"/>
                <a:gd name="T48" fmla="*/ 10 w 510"/>
                <a:gd name="T49" fmla="*/ 54 h 491"/>
                <a:gd name="T50" fmla="*/ 5 w 510"/>
                <a:gd name="T51" fmla="*/ 57 h 491"/>
                <a:gd name="T52" fmla="*/ 12 w 510"/>
                <a:gd name="T53" fmla="*/ 84 h 491"/>
                <a:gd name="T54" fmla="*/ 5 w 510"/>
                <a:gd name="T55" fmla="*/ 94 h 491"/>
                <a:gd name="T56" fmla="*/ 0 w 510"/>
                <a:gd name="T57" fmla="*/ 106 h 491"/>
                <a:gd name="T58" fmla="*/ 16 w 510"/>
                <a:gd name="T59" fmla="*/ 114 h 491"/>
                <a:gd name="T60" fmla="*/ 24 w 510"/>
                <a:gd name="T61" fmla="*/ 114 h 491"/>
                <a:gd name="T62" fmla="*/ 35 w 510"/>
                <a:gd name="T63" fmla="*/ 127 h 491"/>
                <a:gd name="T64" fmla="*/ 43 w 510"/>
                <a:gd name="T65" fmla="*/ 124 h 491"/>
                <a:gd name="T66" fmla="*/ 56 w 510"/>
                <a:gd name="T67" fmla="*/ 111 h 491"/>
                <a:gd name="T68" fmla="*/ 70 w 510"/>
                <a:gd name="T69" fmla="*/ 95 h 491"/>
                <a:gd name="T70" fmla="*/ 92 w 510"/>
                <a:gd name="T71" fmla="*/ 89 h 491"/>
                <a:gd name="T72" fmla="*/ 104 w 510"/>
                <a:gd name="T73" fmla="*/ 100 h 491"/>
                <a:gd name="T74" fmla="*/ 95 w 510"/>
                <a:gd name="T75" fmla="*/ 118 h 491"/>
                <a:gd name="T76" fmla="*/ 82 w 510"/>
                <a:gd name="T77" fmla="*/ 135 h 491"/>
                <a:gd name="T78" fmla="*/ 92 w 510"/>
                <a:gd name="T79" fmla="*/ 141 h 491"/>
                <a:gd name="T80" fmla="*/ 92 w 510"/>
                <a:gd name="T81" fmla="*/ 148 h 491"/>
                <a:gd name="T82" fmla="*/ 84 w 510"/>
                <a:gd name="T83" fmla="*/ 157 h 491"/>
                <a:gd name="T84" fmla="*/ 84 w 510"/>
                <a:gd name="T85" fmla="*/ 160 h 491"/>
                <a:gd name="T86" fmla="*/ 101 w 510"/>
                <a:gd name="T87" fmla="*/ 154 h 491"/>
                <a:gd name="T88" fmla="*/ 125 w 510"/>
                <a:gd name="T89" fmla="*/ 130 h 491"/>
                <a:gd name="T90" fmla="*/ 159 w 510"/>
                <a:gd name="T91" fmla="*/ 113 h 491"/>
                <a:gd name="T92" fmla="*/ 171 w 510"/>
                <a:gd name="T93" fmla="*/ 111 h 4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10" h="491">
                  <a:moveTo>
                    <a:pt x="420" y="341"/>
                  </a:moveTo>
                  <a:lnTo>
                    <a:pt x="474" y="260"/>
                  </a:lnTo>
                  <a:lnTo>
                    <a:pt x="510" y="221"/>
                  </a:lnTo>
                  <a:lnTo>
                    <a:pt x="504" y="182"/>
                  </a:lnTo>
                  <a:lnTo>
                    <a:pt x="468" y="143"/>
                  </a:lnTo>
                  <a:lnTo>
                    <a:pt x="462" y="107"/>
                  </a:lnTo>
                  <a:lnTo>
                    <a:pt x="399" y="21"/>
                  </a:lnTo>
                  <a:lnTo>
                    <a:pt x="396" y="30"/>
                  </a:lnTo>
                  <a:lnTo>
                    <a:pt x="381" y="42"/>
                  </a:lnTo>
                  <a:lnTo>
                    <a:pt x="354" y="12"/>
                  </a:lnTo>
                  <a:lnTo>
                    <a:pt x="315" y="0"/>
                  </a:lnTo>
                  <a:lnTo>
                    <a:pt x="315" y="12"/>
                  </a:lnTo>
                  <a:lnTo>
                    <a:pt x="315" y="30"/>
                  </a:lnTo>
                  <a:lnTo>
                    <a:pt x="297" y="45"/>
                  </a:lnTo>
                  <a:lnTo>
                    <a:pt x="264" y="78"/>
                  </a:lnTo>
                  <a:lnTo>
                    <a:pt x="228" y="78"/>
                  </a:lnTo>
                  <a:lnTo>
                    <a:pt x="216" y="98"/>
                  </a:lnTo>
                  <a:lnTo>
                    <a:pt x="201" y="98"/>
                  </a:lnTo>
                  <a:lnTo>
                    <a:pt x="177" y="125"/>
                  </a:lnTo>
                  <a:lnTo>
                    <a:pt x="162" y="125"/>
                  </a:lnTo>
                  <a:lnTo>
                    <a:pt x="135" y="152"/>
                  </a:lnTo>
                  <a:lnTo>
                    <a:pt x="117" y="158"/>
                  </a:lnTo>
                  <a:lnTo>
                    <a:pt x="78" y="218"/>
                  </a:lnTo>
                  <a:lnTo>
                    <a:pt x="51" y="182"/>
                  </a:lnTo>
                  <a:lnTo>
                    <a:pt x="24" y="164"/>
                  </a:lnTo>
                  <a:lnTo>
                    <a:pt x="12" y="176"/>
                  </a:lnTo>
                  <a:lnTo>
                    <a:pt x="27" y="254"/>
                  </a:lnTo>
                  <a:lnTo>
                    <a:pt x="12" y="284"/>
                  </a:lnTo>
                  <a:lnTo>
                    <a:pt x="0" y="323"/>
                  </a:lnTo>
                  <a:lnTo>
                    <a:pt x="39" y="350"/>
                  </a:lnTo>
                  <a:lnTo>
                    <a:pt x="60" y="350"/>
                  </a:lnTo>
                  <a:lnTo>
                    <a:pt x="87" y="389"/>
                  </a:lnTo>
                  <a:lnTo>
                    <a:pt x="105" y="380"/>
                  </a:lnTo>
                  <a:lnTo>
                    <a:pt x="138" y="341"/>
                  </a:lnTo>
                  <a:lnTo>
                    <a:pt x="171" y="287"/>
                  </a:lnTo>
                  <a:lnTo>
                    <a:pt x="225" y="275"/>
                  </a:lnTo>
                  <a:lnTo>
                    <a:pt x="258" y="308"/>
                  </a:lnTo>
                  <a:lnTo>
                    <a:pt x="234" y="362"/>
                  </a:lnTo>
                  <a:lnTo>
                    <a:pt x="201" y="413"/>
                  </a:lnTo>
                  <a:lnTo>
                    <a:pt x="231" y="434"/>
                  </a:lnTo>
                  <a:lnTo>
                    <a:pt x="228" y="458"/>
                  </a:lnTo>
                  <a:lnTo>
                    <a:pt x="207" y="482"/>
                  </a:lnTo>
                  <a:lnTo>
                    <a:pt x="210" y="491"/>
                  </a:lnTo>
                  <a:lnTo>
                    <a:pt x="249" y="470"/>
                  </a:lnTo>
                  <a:lnTo>
                    <a:pt x="306" y="395"/>
                  </a:lnTo>
                  <a:lnTo>
                    <a:pt x="393" y="347"/>
                  </a:lnTo>
                  <a:lnTo>
                    <a:pt x="420" y="341"/>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4" name="Freeform 128"/>
            <p:cNvSpPr>
              <a:spLocks/>
            </p:cNvSpPr>
            <p:nvPr/>
          </p:nvSpPr>
          <p:spPr bwMode="auto">
            <a:xfrm>
              <a:off x="5261224" y="2506687"/>
              <a:ext cx="714375" cy="681038"/>
            </a:xfrm>
            <a:custGeom>
              <a:avLst/>
              <a:gdLst>
                <a:gd name="T0" fmla="*/ 171 w 510"/>
                <a:gd name="T1" fmla="*/ 111 h 491"/>
                <a:gd name="T2" fmla="*/ 192 w 510"/>
                <a:gd name="T3" fmla="*/ 85 h 491"/>
                <a:gd name="T4" fmla="*/ 207 w 510"/>
                <a:gd name="T5" fmla="*/ 72 h 491"/>
                <a:gd name="T6" fmla="*/ 206 w 510"/>
                <a:gd name="T7" fmla="*/ 60 h 491"/>
                <a:gd name="T8" fmla="*/ 190 w 510"/>
                <a:gd name="T9" fmla="*/ 46 h 491"/>
                <a:gd name="T10" fmla="*/ 189 w 510"/>
                <a:gd name="T11" fmla="*/ 35 h 491"/>
                <a:gd name="T12" fmla="*/ 163 w 510"/>
                <a:gd name="T13" fmla="*/ 7 h 491"/>
                <a:gd name="T14" fmla="*/ 160 w 510"/>
                <a:gd name="T15" fmla="*/ 10 h 491"/>
                <a:gd name="T16" fmla="*/ 154 w 510"/>
                <a:gd name="T17" fmla="*/ 13 h 491"/>
                <a:gd name="T18" fmla="*/ 144 w 510"/>
                <a:gd name="T19" fmla="*/ 4 h 491"/>
                <a:gd name="T20" fmla="*/ 128 w 510"/>
                <a:gd name="T21" fmla="*/ 0 h 491"/>
                <a:gd name="T22" fmla="*/ 128 w 510"/>
                <a:gd name="T23" fmla="*/ 4 h 491"/>
                <a:gd name="T24" fmla="*/ 128 w 510"/>
                <a:gd name="T25" fmla="*/ 10 h 491"/>
                <a:gd name="T26" fmla="*/ 121 w 510"/>
                <a:gd name="T27" fmla="*/ 15 h 491"/>
                <a:gd name="T28" fmla="*/ 108 w 510"/>
                <a:gd name="T29" fmla="*/ 26 h 491"/>
                <a:gd name="T30" fmla="*/ 92 w 510"/>
                <a:gd name="T31" fmla="*/ 26 h 491"/>
                <a:gd name="T32" fmla="*/ 87 w 510"/>
                <a:gd name="T33" fmla="*/ 32 h 491"/>
                <a:gd name="T34" fmla="*/ 82 w 510"/>
                <a:gd name="T35" fmla="*/ 32 h 491"/>
                <a:gd name="T36" fmla="*/ 71 w 510"/>
                <a:gd name="T37" fmla="*/ 41 h 491"/>
                <a:gd name="T38" fmla="*/ 65 w 510"/>
                <a:gd name="T39" fmla="*/ 41 h 491"/>
                <a:gd name="T40" fmla="*/ 54 w 510"/>
                <a:gd name="T41" fmla="*/ 50 h 491"/>
                <a:gd name="T42" fmla="*/ 48 w 510"/>
                <a:gd name="T43" fmla="*/ 51 h 491"/>
                <a:gd name="T44" fmla="*/ 31 w 510"/>
                <a:gd name="T45" fmla="*/ 72 h 491"/>
                <a:gd name="T46" fmla="*/ 21 w 510"/>
                <a:gd name="T47" fmla="*/ 60 h 491"/>
                <a:gd name="T48" fmla="*/ 10 w 510"/>
                <a:gd name="T49" fmla="*/ 54 h 491"/>
                <a:gd name="T50" fmla="*/ 5 w 510"/>
                <a:gd name="T51" fmla="*/ 57 h 491"/>
                <a:gd name="T52" fmla="*/ 12 w 510"/>
                <a:gd name="T53" fmla="*/ 84 h 491"/>
                <a:gd name="T54" fmla="*/ 5 w 510"/>
                <a:gd name="T55" fmla="*/ 94 h 491"/>
                <a:gd name="T56" fmla="*/ 0 w 510"/>
                <a:gd name="T57" fmla="*/ 106 h 491"/>
                <a:gd name="T58" fmla="*/ 16 w 510"/>
                <a:gd name="T59" fmla="*/ 114 h 491"/>
                <a:gd name="T60" fmla="*/ 24 w 510"/>
                <a:gd name="T61" fmla="*/ 114 h 491"/>
                <a:gd name="T62" fmla="*/ 35 w 510"/>
                <a:gd name="T63" fmla="*/ 127 h 491"/>
                <a:gd name="T64" fmla="*/ 43 w 510"/>
                <a:gd name="T65" fmla="*/ 124 h 491"/>
                <a:gd name="T66" fmla="*/ 56 w 510"/>
                <a:gd name="T67" fmla="*/ 111 h 491"/>
                <a:gd name="T68" fmla="*/ 70 w 510"/>
                <a:gd name="T69" fmla="*/ 95 h 491"/>
                <a:gd name="T70" fmla="*/ 92 w 510"/>
                <a:gd name="T71" fmla="*/ 89 h 491"/>
                <a:gd name="T72" fmla="*/ 104 w 510"/>
                <a:gd name="T73" fmla="*/ 100 h 491"/>
                <a:gd name="T74" fmla="*/ 95 w 510"/>
                <a:gd name="T75" fmla="*/ 118 h 491"/>
                <a:gd name="T76" fmla="*/ 82 w 510"/>
                <a:gd name="T77" fmla="*/ 135 h 491"/>
                <a:gd name="T78" fmla="*/ 92 w 510"/>
                <a:gd name="T79" fmla="*/ 141 h 491"/>
                <a:gd name="T80" fmla="*/ 92 w 510"/>
                <a:gd name="T81" fmla="*/ 148 h 491"/>
                <a:gd name="T82" fmla="*/ 84 w 510"/>
                <a:gd name="T83" fmla="*/ 157 h 491"/>
                <a:gd name="T84" fmla="*/ 84 w 510"/>
                <a:gd name="T85" fmla="*/ 160 h 491"/>
                <a:gd name="T86" fmla="*/ 101 w 510"/>
                <a:gd name="T87" fmla="*/ 154 h 491"/>
                <a:gd name="T88" fmla="*/ 125 w 510"/>
                <a:gd name="T89" fmla="*/ 130 h 491"/>
                <a:gd name="T90" fmla="*/ 159 w 510"/>
                <a:gd name="T91" fmla="*/ 113 h 491"/>
                <a:gd name="T92" fmla="*/ 171 w 510"/>
                <a:gd name="T93" fmla="*/ 111 h 4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10" h="491">
                  <a:moveTo>
                    <a:pt x="420" y="341"/>
                  </a:moveTo>
                  <a:lnTo>
                    <a:pt x="474" y="260"/>
                  </a:lnTo>
                  <a:lnTo>
                    <a:pt x="510" y="221"/>
                  </a:lnTo>
                  <a:lnTo>
                    <a:pt x="504" y="182"/>
                  </a:lnTo>
                  <a:lnTo>
                    <a:pt x="468" y="143"/>
                  </a:lnTo>
                  <a:lnTo>
                    <a:pt x="462" y="107"/>
                  </a:lnTo>
                  <a:lnTo>
                    <a:pt x="399" y="21"/>
                  </a:lnTo>
                  <a:lnTo>
                    <a:pt x="396" y="30"/>
                  </a:lnTo>
                  <a:lnTo>
                    <a:pt x="381" y="42"/>
                  </a:lnTo>
                  <a:lnTo>
                    <a:pt x="354" y="12"/>
                  </a:lnTo>
                  <a:lnTo>
                    <a:pt x="315" y="0"/>
                  </a:lnTo>
                  <a:lnTo>
                    <a:pt x="315" y="12"/>
                  </a:lnTo>
                  <a:lnTo>
                    <a:pt x="315" y="30"/>
                  </a:lnTo>
                  <a:lnTo>
                    <a:pt x="297" y="45"/>
                  </a:lnTo>
                  <a:lnTo>
                    <a:pt x="264" y="78"/>
                  </a:lnTo>
                  <a:lnTo>
                    <a:pt x="228" y="78"/>
                  </a:lnTo>
                  <a:lnTo>
                    <a:pt x="216" y="98"/>
                  </a:lnTo>
                  <a:lnTo>
                    <a:pt x="201" y="98"/>
                  </a:lnTo>
                  <a:lnTo>
                    <a:pt x="177" y="125"/>
                  </a:lnTo>
                  <a:lnTo>
                    <a:pt x="162" y="125"/>
                  </a:lnTo>
                  <a:lnTo>
                    <a:pt x="135" y="152"/>
                  </a:lnTo>
                  <a:lnTo>
                    <a:pt x="117" y="158"/>
                  </a:lnTo>
                  <a:lnTo>
                    <a:pt x="78" y="218"/>
                  </a:lnTo>
                  <a:lnTo>
                    <a:pt x="51" y="182"/>
                  </a:lnTo>
                  <a:lnTo>
                    <a:pt x="24" y="164"/>
                  </a:lnTo>
                  <a:lnTo>
                    <a:pt x="12" y="176"/>
                  </a:lnTo>
                  <a:lnTo>
                    <a:pt x="27" y="254"/>
                  </a:lnTo>
                  <a:lnTo>
                    <a:pt x="12" y="284"/>
                  </a:lnTo>
                  <a:lnTo>
                    <a:pt x="0" y="323"/>
                  </a:lnTo>
                  <a:lnTo>
                    <a:pt x="39" y="350"/>
                  </a:lnTo>
                  <a:lnTo>
                    <a:pt x="60" y="350"/>
                  </a:lnTo>
                  <a:lnTo>
                    <a:pt x="87" y="389"/>
                  </a:lnTo>
                  <a:lnTo>
                    <a:pt x="105" y="380"/>
                  </a:lnTo>
                  <a:lnTo>
                    <a:pt x="138" y="341"/>
                  </a:lnTo>
                  <a:lnTo>
                    <a:pt x="171" y="287"/>
                  </a:lnTo>
                  <a:lnTo>
                    <a:pt x="225" y="275"/>
                  </a:lnTo>
                  <a:lnTo>
                    <a:pt x="258" y="308"/>
                  </a:lnTo>
                  <a:lnTo>
                    <a:pt x="234" y="362"/>
                  </a:lnTo>
                  <a:lnTo>
                    <a:pt x="201" y="413"/>
                  </a:lnTo>
                  <a:lnTo>
                    <a:pt x="231" y="434"/>
                  </a:lnTo>
                  <a:lnTo>
                    <a:pt x="228" y="458"/>
                  </a:lnTo>
                  <a:lnTo>
                    <a:pt x="207" y="482"/>
                  </a:lnTo>
                  <a:lnTo>
                    <a:pt x="210" y="491"/>
                  </a:lnTo>
                  <a:lnTo>
                    <a:pt x="249" y="470"/>
                  </a:lnTo>
                  <a:lnTo>
                    <a:pt x="306" y="395"/>
                  </a:lnTo>
                  <a:lnTo>
                    <a:pt x="393" y="347"/>
                  </a:lnTo>
                  <a:lnTo>
                    <a:pt x="420" y="341"/>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5" name="Freeform 129"/>
            <p:cNvSpPr>
              <a:spLocks/>
            </p:cNvSpPr>
            <p:nvPr/>
          </p:nvSpPr>
          <p:spPr bwMode="auto">
            <a:xfrm>
              <a:off x="5427911" y="2119337"/>
              <a:ext cx="1030288" cy="693738"/>
            </a:xfrm>
            <a:custGeom>
              <a:avLst/>
              <a:gdLst>
                <a:gd name="T0" fmla="*/ 294 w 734"/>
                <a:gd name="T1" fmla="*/ 46 h 500"/>
                <a:gd name="T2" fmla="*/ 270 w 734"/>
                <a:gd name="T3" fmla="*/ 41 h 500"/>
                <a:gd name="T4" fmla="*/ 262 w 734"/>
                <a:gd name="T5" fmla="*/ 40 h 500"/>
                <a:gd name="T6" fmla="*/ 240 w 734"/>
                <a:gd name="T7" fmla="*/ 50 h 500"/>
                <a:gd name="T8" fmla="*/ 232 w 734"/>
                <a:gd name="T9" fmla="*/ 55 h 500"/>
                <a:gd name="T10" fmla="*/ 212 w 734"/>
                <a:gd name="T11" fmla="*/ 45 h 500"/>
                <a:gd name="T12" fmla="*/ 195 w 734"/>
                <a:gd name="T13" fmla="*/ 33 h 500"/>
                <a:gd name="T14" fmla="*/ 194 w 734"/>
                <a:gd name="T15" fmla="*/ 48 h 500"/>
                <a:gd name="T16" fmla="*/ 178 w 734"/>
                <a:gd name="T17" fmla="*/ 33 h 500"/>
                <a:gd name="T18" fmla="*/ 163 w 734"/>
                <a:gd name="T19" fmla="*/ 21 h 500"/>
                <a:gd name="T20" fmla="*/ 132 w 734"/>
                <a:gd name="T21" fmla="*/ 21 h 500"/>
                <a:gd name="T22" fmla="*/ 114 w 734"/>
                <a:gd name="T23" fmla="*/ 13 h 500"/>
                <a:gd name="T24" fmla="*/ 94 w 734"/>
                <a:gd name="T25" fmla="*/ 19 h 500"/>
                <a:gd name="T26" fmla="*/ 70 w 734"/>
                <a:gd name="T27" fmla="*/ 13 h 500"/>
                <a:gd name="T28" fmla="*/ 38 w 734"/>
                <a:gd name="T29" fmla="*/ 4 h 500"/>
                <a:gd name="T30" fmla="*/ 29 w 734"/>
                <a:gd name="T31" fmla="*/ 21 h 500"/>
                <a:gd name="T32" fmla="*/ 0 w 734"/>
                <a:gd name="T33" fmla="*/ 21 h 500"/>
                <a:gd name="T34" fmla="*/ 15 w 734"/>
                <a:gd name="T35" fmla="*/ 33 h 500"/>
                <a:gd name="T36" fmla="*/ 17 w 734"/>
                <a:gd name="T37" fmla="*/ 54 h 500"/>
                <a:gd name="T38" fmla="*/ 27 w 734"/>
                <a:gd name="T39" fmla="*/ 72 h 500"/>
                <a:gd name="T40" fmla="*/ 49 w 734"/>
                <a:gd name="T41" fmla="*/ 60 h 500"/>
                <a:gd name="T42" fmla="*/ 70 w 734"/>
                <a:gd name="T43" fmla="*/ 90 h 500"/>
                <a:gd name="T44" fmla="*/ 80 w 734"/>
                <a:gd name="T45" fmla="*/ 91 h 500"/>
                <a:gd name="T46" fmla="*/ 108 w 734"/>
                <a:gd name="T47" fmla="*/ 105 h 500"/>
                <a:gd name="T48" fmla="*/ 114 w 734"/>
                <a:gd name="T49" fmla="*/ 98 h 500"/>
                <a:gd name="T50" fmla="*/ 144 w 734"/>
                <a:gd name="T51" fmla="*/ 138 h 500"/>
                <a:gd name="T52" fmla="*/ 162 w 734"/>
                <a:gd name="T53" fmla="*/ 164 h 500"/>
                <a:gd name="T54" fmla="*/ 186 w 734"/>
                <a:gd name="T55" fmla="*/ 130 h 500"/>
                <a:gd name="T56" fmla="*/ 204 w 734"/>
                <a:gd name="T57" fmla="*/ 133 h 500"/>
                <a:gd name="T58" fmla="*/ 233 w 734"/>
                <a:gd name="T59" fmla="*/ 125 h 500"/>
                <a:gd name="T60" fmla="*/ 226 w 734"/>
                <a:gd name="T61" fmla="*/ 111 h 500"/>
                <a:gd name="T62" fmla="*/ 254 w 734"/>
                <a:gd name="T63" fmla="*/ 94 h 500"/>
                <a:gd name="T64" fmla="*/ 266 w 734"/>
                <a:gd name="T65" fmla="*/ 78 h 500"/>
                <a:gd name="T66" fmla="*/ 274 w 734"/>
                <a:gd name="T67" fmla="*/ 67 h 500"/>
                <a:gd name="T68" fmla="*/ 286 w 734"/>
                <a:gd name="T69" fmla="*/ 75 h 500"/>
                <a:gd name="T70" fmla="*/ 303 w 734"/>
                <a:gd name="T71" fmla="*/ 50 h 5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34" h="500">
                  <a:moveTo>
                    <a:pt x="728" y="141"/>
                  </a:moveTo>
                  <a:lnTo>
                    <a:pt x="710" y="141"/>
                  </a:lnTo>
                  <a:lnTo>
                    <a:pt x="689" y="141"/>
                  </a:lnTo>
                  <a:lnTo>
                    <a:pt x="653" y="129"/>
                  </a:lnTo>
                  <a:lnTo>
                    <a:pt x="644" y="108"/>
                  </a:lnTo>
                  <a:lnTo>
                    <a:pt x="632" y="123"/>
                  </a:lnTo>
                  <a:lnTo>
                    <a:pt x="614" y="114"/>
                  </a:lnTo>
                  <a:lnTo>
                    <a:pt x="578" y="153"/>
                  </a:lnTo>
                  <a:lnTo>
                    <a:pt x="572" y="165"/>
                  </a:lnTo>
                  <a:lnTo>
                    <a:pt x="557" y="168"/>
                  </a:lnTo>
                  <a:lnTo>
                    <a:pt x="533" y="141"/>
                  </a:lnTo>
                  <a:lnTo>
                    <a:pt x="512" y="135"/>
                  </a:lnTo>
                  <a:lnTo>
                    <a:pt x="491" y="87"/>
                  </a:lnTo>
                  <a:lnTo>
                    <a:pt x="474" y="99"/>
                  </a:lnTo>
                  <a:lnTo>
                    <a:pt x="480" y="141"/>
                  </a:lnTo>
                  <a:lnTo>
                    <a:pt x="468" y="147"/>
                  </a:lnTo>
                  <a:lnTo>
                    <a:pt x="438" y="114"/>
                  </a:lnTo>
                  <a:lnTo>
                    <a:pt x="429" y="99"/>
                  </a:lnTo>
                  <a:lnTo>
                    <a:pt x="405" y="99"/>
                  </a:lnTo>
                  <a:lnTo>
                    <a:pt x="393" y="66"/>
                  </a:lnTo>
                  <a:lnTo>
                    <a:pt x="360" y="48"/>
                  </a:lnTo>
                  <a:lnTo>
                    <a:pt x="318" y="66"/>
                  </a:lnTo>
                  <a:lnTo>
                    <a:pt x="303" y="63"/>
                  </a:lnTo>
                  <a:lnTo>
                    <a:pt x="279" y="39"/>
                  </a:lnTo>
                  <a:lnTo>
                    <a:pt x="243" y="57"/>
                  </a:lnTo>
                  <a:lnTo>
                    <a:pt x="225" y="57"/>
                  </a:lnTo>
                  <a:lnTo>
                    <a:pt x="201" y="66"/>
                  </a:lnTo>
                  <a:lnTo>
                    <a:pt x="168" y="42"/>
                  </a:lnTo>
                  <a:lnTo>
                    <a:pt x="144" y="0"/>
                  </a:lnTo>
                  <a:lnTo>
                    <a:pt x="90" y="12"/>
                  </a:lnTo>
                  <a:lnTo>
                    <a:pt x="69" y="36"/>
                  </a:lnTo>
                  <a:lnTo>
                    <a:pt x="69" y="63"/>
                  </a:lnTo>
                  <a:lnTo>
                    <a:pt x="9" y="48"/>
                  </a:lnTo>
                  <a:lnTo>
                    <a:pt x="0" y="66"/>
                  </a:lnTo>
                  <a:lnTo>
                    <a:pt x="6" y="78"/>
                  </a:lnTo>
                  <a:lnTo>
                    <a:pt x="36" y="102"/>
                  </a:lnTo>
                  <a:lnTo>
                    <a:pt x="36" y="135"/>
                  </a:lnTo>
                  <a:lnTo>
                    <a:pt x="42" y="165"/>
                  </a:lnTo>
                  <a:lnTo>
                    <a:pt x="60" y="192"/>
                  </a:lnTo>
                  <a:lnTo>
                    <a:pt x="63" y="216"/>
                  </a:lnTo>
                  <a:lnTo>
                    <a:pt x="75" y="228"/>
                  </a:lnTo>
                  <a:lnTo>
                    <a:pt x="120" y="183"/>
                  </a:lnTo>
                  <a:lnTo>
                    <a:pt x="168" y="243"/>
                  </a:lnTo>
                  <a:lnTo>
                    <a:pt x="168" y="276"/>
                  </a:lnTo>
                  <a:lnTo>
                    <a:pt x="195" y="291"/>
                  </a:lnTo>
                  <a:lnTo>
                    <a:pt x="195" y="279"/>
                  </a:lnTo>
                  <a:lnTo>
                    <a:pt x="234" y="291"/>
                  </a:lnTo>
                  <a:lnTo>
                    <a:pt x="261" y="321"/>
                  </a:lnTo>
                  <a:lnTo>
                    <a:pt x="276" y="309"/>
                  </a:lnTo>
                  <a:lnTo>
                    <a:pt x="279" y="300"/>
                  </a:lnTo>
                  <a:lnTo>
                    <a:pt x="342" y="386"/>
                  </a:lnTo>
                  <a:lnTo>
                    <a:pt x="348" y="422"/>
                  </a:lnTo>
                  <a:lnTo>
                    <a:pt x="384" y="461"/>
                  </a:lnTo>
                  <a:lnTo>
                    <a:pt x="390" y="500"/>
                  </a:lnTo>
                  <a:lnTo>
                    <a:pt x="420" y="479"/>
                  </a:lnTo>
                  <a:lnTo>
                    <a:pt x="450" y="395"/>
                  </a:lnTo>
                  <a:lnTo>
                    <a:pt x="465" y="392"/>
                  </a:lnTo>
                  <a:lnTo>
                    <a:pt x="494" y="410"/>
                  </a:lnTo>
                  <a:lnTo>
                    <a:pt x="548" y="404"/>
                  </a:lnTo>
                  <a:lnTo>
                    <a:pt x="566" y="386"/>
                  </a:lnTo>
                  <a:lnTo>
                    <a:pt x="539" y="351"/>
                  </a:lnTo>
                  <a:lnTo>
                    <a:pt x="548" y="339"/>
                  </a:lnTo>
                  <a:lnTo>
                    <a:pt x="596" y="324"/>
                  </a:lnTo>
                  <a:lnTo>
                    <a:pt x="614" y="285"/>
                  </a:lnTo>
                  <a:lnTo>
                    <a:pt x="641" y="273"/>
                  </a:lnTo>
                  <a:lnTo>
                    <a:pt x="644" y="237"/>
                  </a:lnTo>
                  <a:lnTo>
                    <a:pt x="650" y="210"/>
                  </a:lnTo>
                  <a:lnTo>
                    <a:pt x="662" y="207"/>
                  </a:lnTo>
                  <a:lnTo>
                    <a:pt x="677" y="219"/>
                  </a:lnTo>
                  <a:lnTo>
                    <a:pt x="689" y="231"/>
                  </a:lnTo>
                  <a:lnTo>
                    <a:pt x="725" y="186"/>
                  </a:lnTo>
                  <a:lnTo>
                    <a:pt x="734" y="153"/>
                  </a:lnTo>
                  <a:lnTo>
                    <a:pt x="728" y="141"/>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6" name="Freeform 130"/>
            <p:cNvSpPr>
              <a:spLocks/>
            </p:cNvSpPr>
            <p:nvPr/>
          </p:nvSpPr>
          <p:spPr bwMode="auto">
            <a:xfrm>
              <a:off x="5427911" y="2119337"/>
              <a:ext cx="1030288" cy="693738"/>
            </a:xfrm>
            <a:custGeom>
              <a:avLst/>
              <a:gdLst>
                <a:gd name="T0" fmla="*/ 294 w 734"/>
                <a:gd name="T1" fmla="*/ 46 h 500"/>
                <a:gd name="T2" fmla="*/ 270 w 734"/>
                <a:gd name="T3" fmla="*/ 41 h 500"/>
                <a:gd name="T4" fmla="*/ 262 w 734"/>
                <a:gd name="T5" fmla="*/ 40 h 500"/>
                <a:gd name="T6" fmla="*/ 240 w 734"/>
                <a:gd name="T7" fmla="*/ 50 h 500"/>
                <a:gd name="T8" fmla="*/ 232 w 734"/>
                <a:gd name="T9" fmla="*/ 55 h 500"/>
                <a:gd name="T10" fmla="*/ 212 w 734"/>
                <a:gd name="T11" fmla="*/ 45 h 500"/>
                <a:gd name="T12" fmla="*/ 195 w 734"/>
                <a:gd name="T13" fmla="*/ 33 h 500"/>
                <a:gd name="T14" fmla="*/ 194 w 734"/>
                <a:gd name="T15" fmla="*/ 48 h 500"/>
                <a:gd name="T16" fmla="*/ 178 w 734"/>
                <a:gd name="T17" fmla="*/ 33 h 500"/>
                <a:gd name="T18" fmla="*/ 163 w 734"/>
                <a:gd name="T19" fmla="*/ 21 h 500"/>
                <a:gd name="T20" fmla="*/ 132 w 734"/>
                <a:gd name="T21" fmla="*/ 21 h 500"/>
                <a:gd name="T22" fmla="*/ 114 w 734"/>
                <a:gd name="T23" fmla="*/ 13 h 500"/>
                <a:gd name="T24" fmla="*/ 94 w 734"/>
                <a:gd name="T25" fmla="*/ 19 h 500"/>
                <a:gd name="T26" fmla="*/ 70 w 734"/>
                <a:gd name="T27" fmla="*/ 13 h 500"/>
                <a:gd name="T28" fmla="*/ 38 w 734"/>
                <a:gd name="T29" fmla="*/ 4 h 500"/>
                <a:gd name="T30" fmla="*/ 29 w 734"/>
                <a:gd name="T31" fmla="*/ 21 h 500"/>
                <a:gd name="T32" fmla="*/ 0 w 734"/>
                <a:gd name="T33" fmla="*/ 21 h 500"/>
                <a:gd name="T34" fmla="*/ 15 w 734"/>
                <a:gd name="T35" fmla="*/ 33 h 500"/>
                <a:gd name="T36" fmla="*/ 17 w 734"/>
                <a:gd name="T37" fmla="*/ 54 h 500"/>
                <a:gd name="T38" fmla="*/ 27 w 734"/>
                <a:gd name="T39" fmla="*/ 72 h 500"/>
                <a:gd name="T40" fmla="*/ 49 w 734"/>
                <a:gd name="T41" fmla="*/ 60 h 500"/>
                <a:gd name="T42" fmla="*/ 70 w 734"/>
                <a:gd name="T43" fmla="*/ 90 h 500"/>
                <a:gd name="T44" fmla="*/ 80 w 734"/>
                <a:gd name="T45" fmla="*/ 91 h 500"/>
                <a:gd name="T46" fmla="*/ 108 w 734"/>
                <a:gd name="T47" fmla="*/ 105 h 500"/>
                <a:gd name="T48" fmla="*/ 114 w 734"/>
                <a:gd name="T49" fmla="*/ 98 h 500"/>
                <a:gd name="T50" fmla="*/ 144 w 734"/>
                <a:gd name="T51" fmla="*/ 138 h 500"/>
                <a:gd name="T52" fmla="*/ 162 w 734"/>
                <a:gd name="T53" fmla="*/ 164 h 500"/>
                <a:gd name="T54" fmla="*/ 186 w 734"/>
                <a:gd name="T55" fmla="*/ 130 h 500"/>
                <a:gd name="T56" fmla="*/ 204 w 734"/>
                <a:gd name="T57" fmla="*/ 133 h 500"/>
                <a:gd name="T58" fmla="*/ 233 w 734"/>
                <a:gd name="T59" fmla="*/ 125 h 500"/>
                <a:gd name="T60" fmla="*/ 226 w 734"/>
                <a:gd name="T61" fmla="*/ 111 h 500"/>
                <a:gd name="T62" fmla="*/ 254 w 734"/>
                <a:gd name="T63" fmla="*/ 94 h 500"/>
                <a:gd name="T64" fmla="*/ 266 w 734"/>
                <a:gd name="T65" fmla="*/ 78 h 500"/>
                <a:gd name="T66" fmla="*/ 274 w 734"/>
                <a:gd name="T67" fmla="*/ 67 h 500"/>
                <a:gd name="T68" fmla="*/ 286 w 734"/>
                <a:gd name="T69" fmla="*/ 75 h 500"/>
                <a:gd name="T70" fmla="*/ 303 w 734"/>
                <a:gd name="T71" fmla="*/ 50 h 5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34" h="500">
                  <a:moveTo>
                    <a:pt x="728" y="141"/>
                  </a:moveTo>
                  <a:lnTo>
                    <a:pt x="710" y="141"/>
                  </a:lnTo>
                  <a:lnTo>
                    <a:pt x="689" y="141"/>
                  </a:lnTo>
                  <a:lnTo>
                    <a:pt x="653" y="129"/>
                  </a:lnTo>
                  <a:lnTo>
                    <a:pt x="644" y="108"/>
                  </a:lnTo>
                  <a:lnTo>
                    <a:pt x="632" y="123"/>
                  </a:lnTo>
                  <a:lnTo>
                    <a:pt x="614" y="114"/>
                  </a:lnTo>
                  <a:lnTo>
                    <a:pt x="578" y="153"/>
                  </a:lnTo>
                  <a:lnTo>
                    <a:pt x="572" y="165"/>
                  </a:lnTo>
                  <a:lnTo>
                    <a:pt x="557" y="168"/>
                  </a:lnTo>
                  <a:lnTo>
                    <a:pt x="533" y="141"/>
                  </a:lnTo>
                  <a:lnTo>
                    <a:pt x="512" y="135"/>
                  </a:lnTo>
                  <a:lnTo>
                    <a:pt x="491" y="87"/>
                  </a:lnTo>
                  <a:lnTo>
                    <a:pt x="474" y="99"/>
                  </a:lnTo>
                  <a:lnTo>
                    <a:pt x="480" y="141"/>
                  </a:lnTo>
                  <a:lnTo>
                    <a:pt x="468" y="147"/>
                  </a:lnTo>
                  <a:lnTo>
                    <a:pt x="438" y="114"/>
                  </a:lnTo>
                  <a:lnTo>
                    <a:pt x="429" y="99"/>
                  </a:lnTo>
                  <a:lnTo>
                    <a:pt x="405" y="99"/>
                  </a:lnTo>
                  <a:lnTo>
                    <a:pt x="393" y="66"/>
                  </a:lnTo>
                  <a:lnTo>
                    <a:pt x="360" y="48"/>
                  </a:lnTo>
                  <a:lnTo>
                    <a:pt x="318" y="66"/>
                  </a:lnTo>
                  <a:lnTo>
                    <a:pt x="303" y="63"/>
                  </a:lnTo>
                  <a:lnTo>
                    <a:pt x="279" y="39"/>
                  </a:lnTo>
                  <a:lnTo>
                    <a:pt x="243" y="57"/>
                  </a:lnTo>
                  <a:lnTo>
                    <a:pt x="225" y="57"/>
                  </a:lnTo>
                  <a:lnTo>
                    <a:pt x="201" y="66"/>
                  </a:lnTo>
                  <a:lnTo>
                    <a:pt x="168" y="42"/>
                  </a:lnTo>
                  <a:lnTo>
                    <a:pt x="144" y="0"/>
                  </a:lnTo>
                  <a:lnTo>
                    <a:pt x="90" y="12"/>
                  </a:lnTo>
                  <a:lnTo>
                    <a:pt x="69" y="36"/>
                  </a:lnTo>
                  <a:lnTo>
                    <a:pt x="69" y="63"/>
                  </a:lnTo>
                  <a:lnTo>
                    <a:pt x="9" y="48"/>
                  </a:lnTo>
                  <a:lnTo>
                    <a:pt x="0" y="66"/>
                  </a:lnTo>
                  <a:lnTo>
                    <a:pt x="6" y="78"/>
                  </a:lnTo>
                  <a:lnTo>
                    <a:pt x="36" y="102"/>
                  </a:lnTo>
                  <a:lnTo>
                    <a:pt x="36" y="135"/>
                  </a:lnTo>
                  <a:lnTo>
                    <a:pt x="42" y="165"/>
                  </a:lnTo>
                  <a:lnTo>
                    <a:pt x="60" y="192"/>
                  </a:lnTo>
                  <a:lnTo>
                    <a:pt x="63" y="216"/>
                  </a:lnTo>
                  <a:lnTo>
                    <a:pt x="75" y="228"/>
                  </a:lnTo>
                  <a:lnTo>
                    <a:pt x="120" y="183"/>
                  </a:lnTo>
                  <a:lnTo>
                    <a:pt x="168" y="243"/>
                  </a:lnTo>
                  <a:lnTo>
                    <a:pt x="168" y="276"/>
                  </a:lnTo>
                  <a:lnTo>
                    <a:pt x="195" y="291"/>
                  </a:lnTo>
                  <a:lnTo>
                    <a:pt x="195" y="279"/>
                  </a:lnTo>
                  <a:lnTo>
                    <a:pt x="234" y="291"/>
                  </a:lnTo>
                  <a:lnTo>
                    <a:pt x="261" y="321"/>
                  </a:lnTo>
                  <a:lnTo>
                    <a:pt x="276" y="309"/>
                  </a:lnTo>
                  <a:lnTo>
                    <a:pt x="279" y="300"/>
                  </a:lnTo>
                  <a:lnTo>
                    <a:pt x="342" y="386"/>
                  </a:lnTo>
                  <a:lnTo>
                    <a:pt x="348" y="422"/>
                  </a:lnTo>
                  <a:lnTo>
                    <a:pt x="384" y="461"/>
                  </a:lnTo>
                  <a:lnTo>
                    <a:pt x="390" y="500"/>
                  </a:lnTo>
                  <a:lnTo>
                    <a:pt x="420" y="479"/>
                  </a:lnTo>
                  <a:lnTo>
                    <a:pt x="450" y="395"/>
                  </a:lnTo>
                  <a:lnTo>
                    <a:pt x="465" y="392"/>
                  </a:lnTo>
                  <a:lnTo>
                    <a:pt x="494" y="410"/>
                  </a:lnTo>
                  <a:lnTo>
                    <a:pt x="548" y="404"/>
                  </a:lnTo>
                  <a:lnTo>
                    <a:pt x="566" y="386"/>
                  </a:lnTo>
                  <a:lnTo>
                    <a:pt x="539" y="351"/>
                  </a:lnTo>
                  <a:lnTo>
                    <a:pt x="548" y="339"/>
                  </a:lnTo>
                  <a:lnTo>
                    <a:pt x="596" y="324"/>
                  </a:lnTo>
                  <a:lnTo>
                    <a:pt x="614" y="285"/>
                  </a:lnTo>
                  <a:lnTo>
                    <a:pt x="641" y="273"/>
                  </a:lnTo>
                  <a:lnTo>
                    <a:pt x="644" y="237"/>
                  </a:lnTo>
                  <a:lnTo>
                    <a:pt x="650" y="210"/>
                  </a:lnTo>
                  <a:lnTo>
                    <a:pt x="662" y="207"/>
                  </a:lnTo>
                  <a:lnTo>
                    <a:pt x="677" y="219"/>
                  </a:lnTo>
                  <a:lnTo>
                    <a:pt x="689" y="231"/>
                  </a:lnTo>
                  <a:lnTo>
                    <a:pt x="725" y="186"/>
                  </a:lnTo>
                  <a:lnTo>
                    <a:pt x="734" y="153"/>
                  </a:lnTo>
                  <a:lnTo>
                    <a:pt x="728" y="141"/>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7" name="Freeform 131"/>
            <p:cNvSpPr>
              <a:spLocks/>
            </p:cNvSpPr>
            <p:nvPr/>
          </p:nvSpPr>
          <p:spPr bwMode="auto">
            <a:xfrm>
              <a:off x="5196136" y="1084287"/>
              <a:ext cx="1414463" cy="1268413"/>
            </a:xfrm>
            <a:custGeom>
              <a:avLst/>
              <a:gdLst>
                <a:gd name="T0" fmla="*/ 128 w 1007"/>
                <a:gd name="T1" fmla="*/ 243 h 914"/>
                <a:gd name="T2" fmla="*/ 151 w 1007"/>
                <a:gd name="T3" fmla="*/ 265 h 914"/>
                <a:gd name="T4" fmla="*/ 169 w 1007"/>
                <a:gd name="T5" fmla="*/ 261 h 914"/>
                <a:gd name="T6" fmla="*/ 194 w 1007"/>
                <a:gd name="T7" fmla="*/ 263 h 914"/>
                <a:gd name="T8" fmla="*/ 217 w 1007"/>
                <a:gd name="T9" fmla="*/ 259 h 914"/>
                <a:gd name="T10" fmla="*/ 236 w 1007"/>
                <a:gd name="T11" fmla="*/ 274 h 914"/>
                <a:gd name="T12" fmla="*/ 249 w 1007"/>
                <a:gd name="T13" fmla="*/ 280 h 914"/>
                <a:gd name="T14" fmla="*/ 267 w 1007"/>
                <a:gd name="T15" fmla="*/ 290 h 914"/>
                <a:gd name="T16" fmla="*/ 271 w 1007"/>
                <a:gd name="T17" fmla="*/ 272 h 914"/>
                <a:gd name="T18" fmla="*/ 289 w 1007"/>
                <a:gd name="T19" fmla="*/ 290 h 914"/>
                <a:gd name="T20" fmla="*/ 304 w 1007"/>
                <a:gd name="T21" fmla="*/ 298 h 914"/>
                <a:gd name="T22" fmla="*/ 323 w 1007"/>
                <a:gd name="T23" fmla="*/ 280 h 914"/>
                <a:gd name="T24" fmla="*/ 335 w 1007"/>
                <a:gd name="T25" fmla="*/ 278 h 914"/>
                <a:gd name="T26" fmla="*/ 353 w 1007"/>
                <a:gd name="T27" fmla="*/ 290 h 914"/>
                <a:gd name="T28" fmla="*/ 370 w 1007"/>
                <a:gd name="T29" fmla="*/ 290 h 914"/>
                <a:gd name="T30" fmla="*/ 363 w 1007"/>
                <a:gd name="T31" fmla="*/ 266 h 914"/>
                <a:gd name="T32" fmla="*/ 355 w 1007"/>
                <a:gd name="T33" fmla="*/ 238 h 914"/>
                <a:gd name="T34" fmla="*/ 396 w 1007"/>
                <a:gd name="T35" fmla="*/ 225 h 914"/>
                <a:gd name="T36" fmla="*/ 401 w 1007"/>
                <a:gd name="T37" fmla="*/ 211 h 914"/>
                <a:gd name="T38" fmla="*/ 405 w 1007"/>
                <a:gd name="T39" fmla="*/ 196 h 914"/>
                <a:gd name="T40" fmla="*/ 407 w 1007"/>
                <a:gd name="T41" fmla="*/ 141 h 914"/>
                <a:gd name="T42" fmla="*/ 406 w 1007"/>
                <a:gd name="T43" fmla="*/ 117 h 914"/>
                <a:gd name="T44" fmla="*/ 404 w 1007"/>
                <a:gd name="T45" fmla="*/ 105 h 914"/>
                <a:gd name="T46" fmla="*/ 377 w 1007"/>
                <a:gd name="T47" fmla="*/ 122 h 914"/>
                <a:gd name="T48" fmla="*/ 348 w 1007"/>
                <a:gd name="T49" fmla="*/ 142 h 914"/>
                <a:gd name="T50" fmla="*/ 296 w 1007"/>
                <a:gd name="T51" fmla="*/ 142 h 914"/>
                <a:gd name="T52" fmla="*/ 292 w 1007"/>
                <a:gd name="T53" fmla="*/ 127 h 914"/>
                <a:gd name="T54" fmla="*/ 274 w 1007"/>
                <a:gd name="T55" fmla="*/ 117 h 914"/>
                <a:gd name="T56" fmla="*/ 241 w 1007"/>
                <a:gd name="T57" fmla="*/ 111 h 914"/>
                <a:gd name="T58" fmla="*/ 213 w 1007"/>
                <a:gd name="T59" fmla="*/ 109 h 914"/>
                <a:gd name="T60" fmla="*/ 191 w 1007"/>
                <a:gd name="T61" fmla="*/ 94 h 914"/>
                <a:gd name="T62" fmla="*/ 179 w 1007"/>
                <a:gd name="T63" fmla="*/ 80 h 914"/>
                <a:gd name="T64" fmla="*/ 164 w 1007"/>
                <a:gd name="T65" fmla="*/ 63 h 914"/>
                <a:gd name="T66" fmla="*/ 143 w 1007"/>
                <a:gd name="T67" fmla="*/ 37 h 914"/>
                <a:gd name="T68" fmla="*/ 121 w 1007"/>
                <a:gd name="T69" fmla="*/ 12 h 914"/>
                <a:gd name="T70" fmla="*/ 86 w 1007"/>
                <a:gd name="T71" fmla="*/ 7 h 914"/>
                <a:gd name="T72" fmla="*/ 46 w 1007"/>
                <a:gd name="T73" fmla="*/ 0 h 914"/>
                <a:gd name="T74" fmla="*/ 5 w 1007"/>
                <a:gd name="T75" fmla="*/ 15 h 914"/>
                <a:gd name="T76" fmla="*/ 0 w 1007"/>
                <a:gd name="T77" fmla="*/ 41 h 914"/>
                <a:gd name="T78" fmla="*/ 20 w 1007"/>
                <a:gd name="T79" fmla="*/ 53 h 914"/>
                <a:gd name="T80" fmla="*/ 44 w 1007"/>
                <a:gd name="T81" fmla="*/ 49 h 914"/>
                <a:gd name="T82" fmla="*/ 47 w 1007"/>
                <a:gd name="T83" fmla="*/ 67 h 914"/>
                <a:gd name="T84" fmla="*/ 76 w 1007"/>
                <a:gd name="T85" fmla="*/ 79 h 914"/>
                <a:gd name="T86" fmla="*/ 94 w 1007"/>
                <a:gd name="T87" fmla="*/ 72 h 914"/>
                <a:gd name="T88" fmla="*/ 143 w 1007"/>
                <a:gd name="T89" fmla="*/ 75 h 914"/>
                <a:gd name="T90" fmla="*/ 136 w 1007"/>
                <a:gd name="T91" fmla="*/ 125 h 914"/>
                <a:gd name="T92" fmla="*/ 128 w 1007"/>
                <a:gd name="T93" fmla="*/ 142 h 914"/>
                <a:gd name="T94" fmla="*/ 125 w 1007"/>
                <a:gd name="T95" fmla="*/ 175 h 914"/>
                <a:gd name="T96" fmla="*/ 114 w 1007"/>
                <a:gd name="T97" fmla="*/ 167 h 914"/>
                <a:gd name="T98" fmla="*/ 87 w 1007"/>
                <a:gd name="T99" fmla="*/ 198 h 914"/>
                <a:gd name="T100" fmla="*/ 79 w 1007"/>
                <a:gd name="T101" fmla="*/ 214 h 914"/>
                <a:gd name="T102" fmla="*/ 114 w 1007"/>
                <a:gd name="T103" fmla="*/ 223 h 914"/>
                <a:gd name="T104" fmla="*/ 114 w 1007"/>
                <a:gd name="T105" fmla="*/ 229 h 914"/>
                <a:gd name="T106" fmla="*/ 101 w 1007"/>
                <a:gd name="T107" fmla="*/ 243 h 9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07" h="914">
                  <a:moveTo>
                    <a:pt x="255" y="758"/>
                  </a:moveTo>
                  <a:lnTo>
                    <a:pt x="309" y="746"/>
                  </a:lnTo>
                  <a:lnTo>
                    <a:pt x="333" y="788"/>
                  </a:lnTo>
                  <a:lnTo>
                    <a:pt x="366" y="812"/>
                  </a:lnTo>
                  <a:lnTo>
                    <a:pt x="390" y="803"/>
                  </a:lnTo>
                  <a:lnTo>
                    <a:pt x="408" y="803"/>
                  </a:lnTo>
                  <a:lnTo>
                    <a:pt x="444" y="785"/>
                  </a:lnTo>
                  <a:lnTo>
                    <a:pt x="468" y="809"/>
                  </a:lnTo>
                  <a:lnTo>
                    <a:pt x="483" y="812"/>
                  </a:lnTo>
                  <a:lnTo>
                    <a:pt x="525" y="794"/>
                  </a:lnTo>
                  <a:lnTo>
                    <a:pt x="558" y="812"/>
                  </a:lnTo>
                  <a:lnTo>
                    <a:pt x="570" y="845"/>
                  </a:lnTo>
                  <a:lnTo>
                    <a:pt x="594" y="845"/>
                  </a:lnTo>
                  <a:lnTo>
                    <a:pt x="603" y="860"/>
                  </a:lnTo>
                  <a:lnTo>
                    <a:pt x="633" y="893"/>
                  </a:lnTo>
                  <a:lnTo>
                    <a:pt x="645" y="887"/>
                  </a:lnTo>
                  <a:lnTo>
                    <a:pt x="639" y="845"/>
                  </a:lnTo>
                  <a:lnTo>
                    <a:pt x="656" y="833"/>
                  </a:lnTo>
                  <a:lnTo>
                    <a:pt x="677" y="881"/>
                  </a:lnTo>
                  <a:lnTo>
                    <a:pt x="698" y="887"/>
                  </a:lnTo>
                  <a:lnTo>
                    <a:pt x="722" y="914"/>
                  </a:lnTo>
                  <a:lnTo>
                    <a:pt x="737" y="911"/>
                  </a:lnTo>
                  <a:lnTo>
                    <a:pt x="743" y="899"/>
                  </a:lnTo>
                  <a:lnTo>
                    <a:pt x="779" y="860"/>
                  </a:lnTo>
                  <a:lnTo>
                    <a:pt x="797" y="869"/>
                  </a:lnTo>
                  <a:lnTo>
                    <a:pt x="809" y="854"/>
                  </a:lnTo>
                  <a:lnTo>
                    <a:pt x="818" y="875"/>
                  </a:lnTo>
                  <a:lnTo>
                    <a:pt x="854" y="887"/>
                  </a:lnTo>
                  <a:lnTo>
                    <a:pt x="875" y="887"/>
                  </a:lnTo>
                  <a:lnTo>
                    <a:pt x="893" y="887"/>
                  </a:lnTo>
                  <a:lnTo>
                    <a:pt x="881" y="869"/>
                  </a:lnTo>
                  <a:lnTo>
                    <a:pt x="878" y="815"/>
                  </a:lnTo>
                  <a:lnTo>
                    <a:pt x="836" y="752"/>
                  </a:lnTo>
                  <a:lnTo>
                    <a:pt x="860" y="728"/>
                  </a:lnTo>
                  <a:lnTo>
                    <a:pt x="881" y="689"/>
                  </a:lnTo>
                  <a:lnTo>
                    <a:pt x="956" y="689"/>
                  </a:lnTo>
                  <a:lnTo>
                    <a:pt x="971" y="677"/>
                  </a:lnTo>
                  <a:lnTo>
                    <a:pt x="968" y="647"/>
                  </a:lnTo>
                  <a:lnTo>
                    <a:pt x="983" y="617"/>
                  </a:lnTo>
                  <a:lnTo>
                    <a:pt x="977" y="602"/>
                  </a:lnTo>
                  <a:lnTo>
                    <a:pt x="986" y="575"/>
                  </a:lnTo>
                  <a:lnTo>
                    <a:pt x="983" y="434"/>
                  </a:lnTo>
                  <a:lnTo>
                    <a:pt x="1007" y="389"/>
                  </a:lnTo>
                  <a:lnTo>
                    <a:pt x="980" y="360"/>
                  </a:lnTo>
                  <a:lnTo>
                    <a:pt x="986" y="342"/>
                  </a:lnTo>
                  <a:lnTo>
                    <a:pt x="974" y="327"/>
                  </a:lnTo>
                  <a:lnTo>
                    <a:pt x="944" y="336"/>
                  </a:lnTo>
                  <a:lnTo>
                    <a:pt x="911" y="374"/>
                  </a:lnTo>
                  <a:lnTo>
                    <a:pt x="875" y="392"/>
                  </a:lnTo>
                  <a:lnTo>
                    <a:pt x="842" y="437"/>
                  </a:lnTo>
                  <a:lnTo>
                    <a:pt x="758" y="467"/>
                  </a:lnTo>
                  <a:lnTo>
                    <a:pt x="719" y="437"/>
                  </a:lnTo>
                  <a:lnTo>
                    <a:pt x="722" y="419"/>
                  </a:lnTo>
                  <a:lnTo>
                    <a:pt x="704" y="392"/>
                  </a:lnTo>
                  <a:lnTo>
                    <a:pt x="695" y="362"/>
                  </a:lnTo>
                  <a:lnTo>
                    <a:pt x="662" y="360"/>
                  </a:lnTo>
                  <a:lnTo>
                    <a:pt x="606" y="330"/>
                  </a:lnTo>
                  <a:lnTo>
                    <a:pt x="582" y="339"/>
                  </a:lnTo>
                  <a:lnTo>
                    <a:pt x="558" y="327"/>
                  </a:lnTo>
                  <a:lnTo>
                    <a:pt x="519" y="333"/>
                  </a:lnTo>
                  <a:lnTo>
                    <a:pt x="483" y="321"/>
                  </a:lnTo>
                  <a:lnTo>
                    <a:pt x="462" y="291"/>
                  </a:lnTo>
                  <a:lnTo>
                    <a:pt x="444" y="270"/>
                  </a:lnTo>
                  <a:lnTo>
                    <a:pt x="435" y="246"/>
                  </a:lnTo>
                  <a:lnTo>
                    <a:pt x="408" y="219"/>
                  </a:lnTo>
                  <a:lnTo>
                    <a:pt x="393" y="195"/>
                  </a:lnTo>
                  <a:lnTo>
                    <a:pt x="357" y="144"/>
                  </a:lnTo>
                  <a:lnTo>
                    <a:pt x="345" y="114"/>
                  </a:lnTo>
                  <a:lnTo>
                    <a:pt x="303" y="63"/>
                  </a:lnTo>
                  <a:lnTo>
                    <a:pt x="291" y="36"/>
                  </a:lnTo>
                  <a:lnTo>
                    <a:pt x="240" y="9"/>
                  </a:lnTo>
                  <a:lnTo>
                    <a:pt x="207" y="21"/>
                  </a:lnTo>
                  <a:lnTo>
                    <a:pt x="177" y="15"/>
                  </a:lnTo>
                  <a:lnTo>
                    <a:pt x="111" y="0"/>
                  </a:lnTo>
                  <a:lnTo>
                    <a:pt x="21" y="33"/>
                  </a:lnTo>
                  <a:lnTo>
                    <a:pt x="6" y="45"/>
                  </a:lnTo>
                  <a:lnTo>
                    <a:pt x="24" y="72"/>
                  </a:lnTo>
                  <a:lnTo>
                    <a:pt x="0" y="129"/>
                  </a:lnTo>
                  <a:lnTo>
                    <a:pt x="9" y="138"/>
                  </a:lnTo>
                  <a:lnTo>
                    <a:pt x="48" y="162"/>
                  </a:lnTo>
                  <a:lnTo>
                    <a:pt x="69" y="129"/>
                  </a:lnTo>
                  <a:lnTo>
                    <a:pt x="105" y="150"/>
                  </a:lnTo>
                  <a:lnTo>
                    <a:pt x="102" y="165"/>
                  </a:lnTo>
                  <a:lnTo>
                    <a:pt x="114" y="207"/>
                  </a:lnTo>
                  <a:lnTo>
                    <a:pt x="138" y="234"/>
                  </a:lnTo>
                  <a:lnTo>
                    <a:pt x="183" y="240"/>
                  </a:lnTo>
                  <a:lnTo>
                    <a:pt x="198" y="225"/>
                  </a:lnTo>
                  <a:lnTo>
                    <a:pt x="225" y="222"/>
                  </a:lnTo>
                  <a:lnTo>
                    <a:pt x="276" y="177"/>
                  </a:lnTo>
                  <a:lnTo>
                    <a:pt x="345" y="228"/>
                  </a:lnTo>
                  <a:lnTo>
                    <a:pt x="321" y="321"/>
                  </a:lnTo>
                  <a:lnTo>
                    <a:pt x="327" y="386"/>
                  </a:lnTo>
                  <a:lnTo>
                    <a:pt x="327" y="428"/>
                  </a:lnTo>
                  <a:lnTo>
                    <a:pt x="309" y="437"/>
                  </a:lnTo>
                  <a:lnTo>
                    <a:pt x="306" y="542"/>
                  </a:lnTo>
                  <a:lnTo>
                    <a:pt x="303" y="539"/>
                  </a:lnTo>
                  <a:lnTo>
                    <a:pt x="285" y="515"/>
                  </a:lnTo>
                  <a:lnTo>
                    <a:pt x="273" y="515"/>
                  </a:lnTo>
                  <a:lnTo>
                    <a:pt x="270" y="524"/>
                  </a:lnTo>
                  <a:lnTo>
                    <a:pt x="213" y="608"/>
                  </a:lnTo>
                  <a:lnTo>
                    <a:pt x="186" y="644"/>
                  </a:lnTo>
                  <a:lnTo>
                    <a:pt x="189" y="656"/>
                  </a:lnTo>
                  <a:lnTo>
                    <a:pt x="246" y="695"/>
                  </a:lnTo>
                  <a:lnTo>
                    <a:pt x="276" y="686"/>
                  </a:lnTo>
                  <a:lnTo>
                    <a:pt x="282" y="695"/>
                  </a:lnTo>
                  <a:lnTo>
                    <a:pt x="273" y="704"/>
                  </a:lnTo>
                  <a:lnTo>
                    <a:pt x="246" y="719"/>
                  </a:lnTo>
                  <a:lnTo>
                    <a:pt x="243" y="743"/>
                  </a:lnTo>
                  <a:lnTo>
                    <a:pt x="255" y="758"/>
                  </a:lnTo>
                  <a:close/>
                </a:path>
              </a:pathLst>
            </a:custGeom>
            <a:solidFill>
              <a:srgbClr val="CCECFF"/>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8" name="Freeform 132"/>
            <p:cNvSpPr>
              <a:spLocks/>
            </p:cNvSpPr>
            <p:nvPr/>
          </p:nvSpPr>
          <p:spPr bwMode="auto">
            <a:xfrm>
              <a:off x="5196136" y="1084287"/>
              <a:ext cx="1414463" cy="1268413"/>
            </a:xfrm>
            <a:custGeom>
              <a:avLst/>
              <a:gdLst>
                <a:gd name="T0" fmla="*/ 128 w 1007"/>
                <a:gd name="T1" fmla="*/ 243 h 914"/>
                <a:gd name="T2" fmla="*/ 151 w 1007"/>
                <a:gd name="T3" fmla="*/ 265 h 914"/>
                <a:gd name="T4" fmla="*/ 169 w 1007"/>
                <a:gd name="T5" fmla="*/ 261 h 914"/>
                <a:gd name="T6" fmla="*/ 194 w 1007"/>
                <a:gd name="T7" fmla="*/ 263 h 914"/>
                <a:gd name="T8" fmla="*/ 217 w 1007"/>
                <a:gd name="T9" fmla="*/ 259 h 914"/>
                <a:gd name="T10" fmla="*/ 236 w 1007"/>
                <a:gd name="T11" fmla="*/ 274 h 914"/>
                <a:gd name="T12" fmla="*/ 249 w 1007"/>
                <a:gd name="T13" fmla="*/ 280 h 914"/>
                <a:gd name="T14" fmla="*/ 267 w 1007"/>
                <a:gd name="T15" fmla="*/ 290 h 914"/>
                <a:gd name="T16" fmla="*/ 271 w 1007"/>
                <a:gd name="T17" fmla="*/ 272 h 914"/>
                <a:gd name="T18" fmla="*/ 289 w 1007"/>
                <a:gd name="T19" fmla="*/ 290 h 914"/>
                <a:gd name="T20" fmla="*/ 304 w 1007"/>
                <a:gd name="T21" fmla="*/ 298 h 914"/>
                <a:gd name="T22" fmla="*/ 323 w 1007"/>
                <a:gd name="T23" fmla="*/ 280 h 914"/>
                <a:gd name="T24" fmla="*/ 335 w 1007"/>
                <a:gd name="T25" fmla="*/ 278 h 914"/>
                <a:gd name="T26" fmla="*/ 353 w 1007"/>
                <a:gd name="T27" fmla="*/ 290 h 914"/>
                <a:gd name="T28" fmla="*/ 370 w 1007"/>
                <a:gd name="T29" fmla="*/ 290 h 914"/>
                <a:gd name="T30" fmla="*/ 363 w 1007"/>
                <a:gd name="T31" fmla="*/ 266 h 914"/>
                <a:gd name="T32" fmla="*/ 355 w 1007"/>
                <a:gd name="T33" fmla="*/ 238 h 914"/>
                <a:gd name="T34" fmla="*/ 396 w 1007"/>
                <a:gd name="T35" fmla="*/ 225 h 914"/>
                <a:gd name="T36" fmla="*/ 401 w 1007"/>
                <a:gd name="T37" fmla="*/ 211 h 914"/>
                <a:gd name="T38" fmla="*/ 405 w 1007"/>
                <a:gd name="T39" fmla="*/ 196 h 914"/>
                <a:gd name="T40" fmla="*/ 407 w 1007"/>
                <a:gd name="T41" fmla="*/ 141 h 914"/>
                <a:gd name="T42" fmla="*/ 406 w 1007"/>
                <a:gd name="T43" fmla="*/ 117 h 914"/>
                <a:gd name="T44" fmla="*/ 404 w 1007"/>
                <a:gd name="T45" fmla="*/ 105 h 914"/>
                <a:gd name="T46" fmla="*/ 377 w 1007"/>
                <a:gd name="T47" fmla="*/ 122 h 914"/>
                <a:gd name="T48" fmla="*/ 348 w 1007"/>
                <a:gd name="T49" fmla="*/ 142 h 914"/>
                <a:gd name="T50" fmla="*/ 296 w 1007"/>
                <a:gd name="T51" fmla="*/ 142 h 914"/>
                <a:gd name="T52" fmla="*/ 292 w 1007"/>
                <a:gd name="T53" fmla="*/ 127 h 914"/>
                <a:gd name="T54" fmla="*/ 274 w 1007"/>
                <a:gd name="T55" fmla="*/ 117 h 914"/>
                <a:gd name="T56" fmla="*/ 241 w 1007"/>
                <a:gd name="T57" fmla="*/ 111 h 914"/>
                <a:gd name="T58" fmla="*/ 213 w 1007"/>
                <a:gd name="T59" fmla="*/ 109 h 914"/>
                <a:gd name="T60" fmla="*/ 191 w 1007"/>
                <a:gd name="T61" fmla="*/ 94 h 914"/>
                <a:gd name="T62" fmla="*/ 179 w 1007"/>
                <a:gd name="T63" fmla="*/ 80 h 914"/>
                <a:gd name="T64" fmla="*/ 164 w 1007"/>
                <a:gd name="T65" fmla="*/ 63 h 914"/>
                <a:gd name="T66" fmla="*/ 143 w 1007"/>
                <a:gd name="T67" fmla="*/ 37 h 914"/>
                <a:gd name="T68" fmla="*/ 121 w 1007"/>
                <a:gd name="T69" fmla="*/ 12 h 914"/>
                <a:gd name="T70" fmla="*/ 86 w 1007"/>
                <a:gd name="T71" fmla="*/ 7 h 914"/>
                <a:gd name="T72" fmla="*/ 46 w 1007"/>
                <a:gd name="T73" fmla="*/ 0 h 914"/>
                <a:gd name="T74" fmla="*/ 5 w 1007"/>
                <a:gd name="T75" fmla="*/ 15 h 914"/>
                <a:gd name="T76" fmla="*/ 0 w 1007"/>
                <a:gd name="T77" fmla="*/ 41 h 914"/>
                <a:gd name="T78" fmla="*/ 20 w 1007"/>
                <a:gd name="T79" fmla="*/ 53 h 914"/>
                <a:gd name="T80" fmla="*/ 44 w 1007"/>
                <a:gd name="T81" fmla="*/ 49 h 914"/>
                <a:gd name="T82" fmla="*/ 47 w 1007"/>
                <a:gd name="T83" fmla="*/ 67 h 914"/>
                <a:gd name="T84" fmla="*/ 76 w 1007"/>
                <a:gd name="T85" fmla="*/ 79 h 914"/>
                <a:gd name="T86" fmla="*/ 94 w 1007"/>
                <a:gd name="T87" fmla="*/ 72 h 914"/>
                <a:gd name="T88" fmla="*/ 143 w 1007"/>
                <a:gd name="T89" fmla="*/ 75 h 914"/>
                <a:gd name="T90" fmla="*/ 136 w 1007"/>
                <a:gd name="T91" fmla="*/ 125 h 914"/>
                <a:gd name="T92" fmla="*/ 128 w 1007"/>
                <a:gd name="T93" fmla="*/ 142 h 914"/>
                <a:gd name="T94" fmla="*/ 125 w 1007"/>
                <a:gd name="T95" fmla="*/ 175 h 914"/>
                <a:gd name="T96" fmla="*/ 114 w 1007"/>
                <a:gd name="T97" fmla="*/ 167 h 914"/>
                <a:gd name="T98" fmla="*/ 87 w 1007"/>
                <a:gd name="T99" fmla="*/ 198 h 914"/>
                <a:gd name="T100" fmla="*/ 79 w 1007"/>
                <a:gd name="T101" fmla="*/ 214 h 914"/>
                <a:gd name="T102" fmla="*/ 114 w 1007"/>
                <a:gd name="T103" fmla="*/ 223 h 914"/>
                <a:gd name="T104" fmla="*/ 114 w 1007"/>
                <a:gd name="T105" fmla="*/ 229 h 914"/>
                <a:gd name="T106" fmla="*/ 101 w 1007"/>
                <a:gd name="T107" fmla="*/ 243 h 9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07" h="914">
                  <a:moveTo>
                    <a:pt x="255" y="758"/>
                  </a:moveTo>
                  <a:lnTo>
                    <a:pt x="309" y="746"/>
                  </a:lnTo>
                  <a:lnTo>
                    <a:pt x="333" y="788"/>
                  </a:lnTo>
                  <a:lnTo>
                    <a:pt x="366" y="812"/>
                  </a:lnTo>
                  <a:lnTo>
                    <a:pt x="390" y="803"/>
                  </a:lnTo>
                  <a:lnTo>
                    <a:pt x="408" y="803"/>
                  </a:lnTo>
                  <a:lnTo>
                    <a:pt x="444" y="785"/>
                  </a:lnTo>
                  <a:lnTo>
                    <a:pt x="468" y="809"/>
                  </a:lnTo>
                  <a:lnTo>
                    <a:pt x="483" y="812"/>
                  </a:lnTo>
                  <a:lnTo>
                    <a:pt x="525" y="794"/>
                  </a:lnTo>
                  <a:lnTo>
                    <a:pt x="558" y="812"/>
                  </a:lnTo>
                  <a:lnTo>
                    <a:pt x="570" y="845"/>
                  </a:lnTo>
                  <a:lnTo>
                    <a:pt x="594" y="845"/>
                  </a:lnTo>
                  <a:lnTo>
                    <a:pt x="603" y="860"/>
                  </a:lnTo>
                  <a:lnTo>
                    <a:pt x="633" y="893"/>
                  </a:lnTo>
                  <a:lnTo>
                    <a:pt x="645" y="887"/>
                  </a:lnTo>
                  <a:lnTo>
                    <a:pt x="639" y="845"/>
                  </a:lnTo>
                  <a:lnTo>
                    <a:pt x="656" y="833"/>
                  </a:lnTo>
                  <a:lnTo>
                    <a:pt x="677" y="881"/>
                  </a:lnTo>
                  <a:lnTo>
                    <a:pt x="698" y="887"/>
                  </a:lnTo>
                  <a:lnTo>
                    <a:pt x="722" y="914"/>
                  </a:lnTo>
                  <a:lnTo>
                    <a:pt x="737" y="911"/>
                  </a:lnTo>
                  <a:lnTo>
                    <a:pt x="743" y="899"/>
                  </a:lnTo>
                  <a:lnTo>
                    <a:pt x="779" y="860"/>
                  </a:lnTo>
                  <a:lnTo>
                    <a:pt x="797" y="869"/>
                  </a:lnTo>
                  <a:lnTo>
                    <a:pt x="809" y="854"/>
                  </a:lnTo>
                  <a:lnTo>
                    <a:pt x="818" y="875"/>
                  </a:lnTo>
                  <a:lnTo>
                    <a:pt x="854" y="887"/>
                  </a:lnTo>
                  <a:lnTo>
                    <a:pt x="875" y="887"/>
                  </a:lnTo>
                  <a:lnTo>
                    <a:pt x="893" y="887"/>
                  </a:lnTo>
                  <a:lnTo>
                    <a:pt x="881" y="869"/>
                  </a:lnTo>
                  <a:lnTo>
                    <a:pt x="878" y="815"/>
                  </a:lnTo>
                  <a:lnTo>
                    <a:pt x="836" y="752"/>
                  </a:lnTo>
                  <a:lnTo>
                    <a:pt x="860" y="728"/>
                  </a:lnTo>
                  <a:lnTo>
                    <a:pt x="881" y="689"/>
                  </a:lnTo>
                  <a:lnTo>
                    <a:pt x="956" y="689"/>
                  </a:lnTo>
                  <a:lnTo>
                    <a:pt x="971" y="677"/>
                  </a:lnTo>
                  <a:lnTo>
                    <a:pt x="968" y="647"/>
                  </a:lnTo>
                  <a:lnTo>
                    <a:pt x="983" y="617"/>
                  </a:lnTo>
                  <a:lnTo>
                    <a:pt x="977" y="602"/>
                  </a:lnTo>
                  <a:lnTo>
                    <a:pt x="986" y="575"/>
                  </a:lnTo>
                  <a:lnTo>
                    <a:pt x="983" y="434"/>
                  </a:lnTo>
                  <a:lnTo>
                    <a:pt x="1007" y="389"/>
                  </a:lnTo>
                  <a:lnTo>
                    <a:pt x="980" y="360"/>
                  </a:lnTo>
                  <a:lnTo>
                    <a:pt x="986" y="342"/>
                  </a:lnTo>
                  <a:lnTo>
                    <a:pt x="974" y="327"/>
                  </a:lnTo>
                  <a:lnTo>
                    <a:pt x="944" y="336"/>
                  </a:lnTo>
                  <a:lnTo>
                    <a:pt x="911" y="374"/>
                  </a:lnTo>
                  <a:lnTo>
                    <a:pt x="875" y="392"/>
                  </a:lnTo>
                  <a:lnTo>
                    <a:pt x="842" y="437"/>
                  </a:lnTo>
                  <a:lnTo>
                    <a:pt x="758" y="467"/>
                  </a:lnTo>
                  <a:lnTo>
                    <a:pt x="719" y="437"/>
                  </a:lnTo>
                  <a:lnTo>
                    <a:pt x="722" y="419"/>
                  </a:lnTo>
                  <a:lnTo>
                    <a:pt x="704" y="392"/>
                  </a:lnTo>
                  <a:lnTo>
                    <a:pt x="695" y="362"/>
                  </a:lnTo>
                  <a:lnTo>
                    <a:pt x="662" y="360"/>
                  </a:lnTo>
                  <a:lnTo>
                    <a:pt x="606" y="330"/>
                  </a:lnTo>
                  <a:lnTo>
                    <a:pt x="582" y="339"/>
                  </a:lnTo>
                  <a:lnTo>
                    <a:pt x="558" y="327"/>
                  </a:lnTo>
                  <a:lnTo>
                    <a:pt x="519" y="333"/>
                  </a:lnTo>
                  <a:lnTo>
                    <a:pt x="483" y="321"/>
                  </a:lnTo>
                  <a:lnTo>
                    <a:pt x="462" y="291"/>
                  </a:lnTo>
                  <a:lnTo>
                    <a:pt x="444" y="270"/>
                  </a:lnTo>
                  <a:lnTo>
                    <a:pt x="435" y="246"/>
                  </a:lnTo>
                  <a:lnTo>
                    <a:pt x="408" y="219"/>
                  </a:lnTo>
                  <a:lnTo>
                    <a:pt x="393" y="195"/>
                  </a:lnTo>
                  <a:lnTo>
                    <a:pt x="357" y="144"/>
                  </a:lnTo>
                  <a:lnTo>
                    <a:pt x="345" y="114"/>
                  </a:lnTo>
                  <a:lnTo>
                    <a:pt x="303" y="63"/>
                  </a:lnTo>
                  <a:lnTo>
                    <a:pt x="291" y="36"/>
                  </a:lnTo>
                  <a:lnTo>
                    <a:pt x="240" y="9"/>
                  </a:lnTo>
                  <a:lnTo>
                    <a:pt x="207" y="21"/>
                  </a:lnTo>
                  <a:lnTo>
                    <a:pt x="177" y="15"/>
                  </a:lnTo>
                  <a:lnTo>
                    <a:pt x="111" y="0"/>
                  </a:lnTo>
                  <a:lnTo>
                    <a:pt x="21" y="33"/>
                  </a:lnTo>
                  <a:lnTo>
                    <a:pt x="6" y="45"/>
                  </a:lnTo>
                  <a:lnTo>
                    <a:pt x="24" y="72"/>
                  </a:lnTo>
                  <a:lnTo>
                    <a:pt x="0" y="129"/>
                  </a:lnTo>
                  <a:lnTo>
                    <a:pt x="9" y="138"/>
                  </a:lnTo>
                  <a:lnTo>
                    <a:pt x="48" y="162"/>
                  </a:lnTo>
                  <a:lnTo>
                    <a:pt x="69" y="129"/>
                  </a:lnTo>
                  <a:lnTo>
                    <a:pt x="105" y="150"/>
                  </a:lnTo>
                  <a:lnTo>
                    <a:pt x="102" y="165"/>
                  </a:lnTo>
                  <a:lnTo>
                    <a:pt x="114" y="207"/>
                  </a:lnTo>
                  <a:lnTo>
                    <a:pt x="138" y="234"/>
                  </a:lnTo>
                  <a:lnTo>
                    <a:pt x="183" y="240"/>
                  </a:lnTo>
                  <a:lnTo>
                    <a:pt x="198" y="225"/>
                  </a:lnTo>
                  <a:lnTo>
                    <a:pt x="225" y="222"/>
                  </a:lnTo>
                  <a:lnTo>
                    <a:pt x="276" y="177"/>
                  </a:lnTo>
                  <a:lnTo>
                    <a:pt x="345" y="228"/>
                  </a:lnTo>
                  <a:lnTo>
                    <a:pt x="321" y="321"/>
                  </a:lnTo>
                  <a:lnTo>
                    <a:pt x="327" y="386"/>
                  </a:lnTo>
                  <a:lnTo>
                    <a:pt x="327" y="428"/>
                  </a:lnTo>
                  <a:lnTo>
                    <a:pt x="309" y="437"/>
                  </a:lnTo>
                  <a:lnTo>
                    <a:pt x="306" y="542"/>
                  </a:lnTo>
                  <a:lnTo>
                    <a:pt x="303" y="539"/>
                  </a:lnTo>
                  <a:lnTo>
                    <a:pt x="285" y="515"/>
                  </a:lnTo>
                  <a:lnTo>
                    <a:pt x="273" y="515"/>
                  </a:lnTo>
                  <a:lnTo>
                    <a:pt x="270" y="524"/>
                  </a:lnTo>
                  <a:lnTo>
                    <a:pt x="213" y="608"/>
                  </a:lnTo>
                  <a:lnTo>
                    <a:pt x="186" y="644"/>
                  </a:lnTo>
                  <a:lnTo>
                    <a:pt x="189" y="656"/>
                  </a:lnTo>
                  <a:lnTo>
                    <a:pt x="246" y="695"/>
                  </a:lnTo>
                  <a:lnTo>
                    <a:pt x="276" y="686"/>
                  </a:lnTo>
                  <a:lnTo>
                    <a:pt x="282" y="695"/>
                  </a:lnTo>
                  <a:lnTo>
                    <a:pt x="273" y="704"/>
                  </a:lnTo>
                  <a:lnTo>
                    <a:pt x="246" y="719"/>
                  </a:lnTo>
                  <a:lnTo>
                    <a:pt x="243" y="743"/>
                  </a:lnTo>
                  <a:lnTo>
                    <a:pt x="255" y="758"/>
                  </a:lnTo>
                </a:path>
              </a:pathLst>
            </a:custGeom>
            <a:solidFill>
              <a:srgbClr val="CCECFF"/>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39" name="Freeform 133"/>
            <p:cNvSpPr>
              <a:spLocks/>
            </p:cNvSpPr>
            <p:nvPr/>
          </p:nvSpPr>
          <p:spPr bwMode="auto">
            <a:xfrm>
              <a:off x="5054849" y="3084537"/>
              <a:ext cx="57150" cy="74613"/>
            </a:xfrm>
            <a:custGeom>
              <a:avLst/>
              <a:gdLst>
                <a:gd name="T0" fmla="*/ 14 w 41"/>
                <a:gd name="T1" fmla="*/ 0 h 54"/>
                <a:gd name="T2" fmla="*/ 13 w 41"/>
                <a:gd name="T3" fmla="*/ 10 h 54"/>
                <a:gd name="T4" fmla="*/ 14 w 41"/>
                <a:gd name="T5" fmla="*/ 12 h 54"/>
                <a:gd name="T6" fmla="*/ 5 w 41"/>
                <a:gd name="T7" fmla="*/ 17 h 54"/>
                <a:gd name="T8" fmla="*/ 5 w 41"/>
                <a:gd name="T9" fmla="*/ 10 h 54"/>
                <a:gd name="T10" fmla="*/ 0 w 41"/>
                <a:gd name="T11" fmla="*/ 5 h 54"/>
                <a:gd name="T12" fmla="*/ 14 w 41"/>
                <a:gd name="T13" fmla="*/ 0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54">
                  <a:moveTo>
                    <a:pt x="41" y="0"/>
                  </a:moveTo>
                  <a:lnTo>
                    <a:pt x="35" y="30"/>
                  </a:lnTo>
                  <a:lnTo>
                    <a:pt x="38" y="42"/>
                  </a:lnTo>
                  <a:lnTo>
                    <a:pt x="11" y="54"/>
                  </a:lnTo>
                  <a:lnTo>
                    <a:pt x="8" y="33"/>
                  </a:lnTo>
                  <a:lnTo>
                    <a:pt x="0" y="18"/>
                  </a:lnTo>
                  <a:lnTo>
                    <a:pt x="41" y="0"/>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0" name="Freeform 134"/>
            <p:cNvSpPr>
              <a:spLocks/>
            </p:cNvSpPr>
            <p:nvPr/>
          </p:nvSpPr>
          <p:spPr bwMode="auto">
            <a:xfrm>
              <a:off x="5054849" y="3084537"/>
              <a:ext cx="57150" cy="74613"/>
            </a:xfrm>
            <a:custGeom>
              <a:avLst/>
              <a:gdLst>
                <a:gd name="T0" fmla="*/ 14 w 41"/>
                <a:gd name="T1" fmla="*/ 0 h 54"/>
                <a:gd name="T2" fmla="*/ 13 w 41"/>
                <a:gd name="T3" fmla="*/ 10 h 54"/>
                <a:gd name="T4" fmla="*/ 14 w 41"/>
                <a:gd name="T5" fmla="*/ 12 h 54"/>
                <a:gd name="T6" fmla="*/ 5 w 41"/>
                <a:gd name="T7" fmla="*/ 17 h 54"/>
                <a:gd name="T8" fmla="*/ 5 w 41"/>
                <a:gd name="T9" fmla="*/ 10 h 54"/>
                <a:gd name="T10" fmla="*/ 0 w 41"/>
                <a:gd name="T11" fmla="*/ 5 h 54"/>
                <a:gd name="T12" fmla="*/ 14 w 41"/>
                <a:gd name="T13" fmla="*/ 0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54">
                  <a:moveTo>
                    <a:pt x="41" y="0"/>
                  </a:moveTo>
                  <a:lnTo>
                    <a:pt x="35" y="30"/>
                  </a:lnTo>
                  <a:lnTo>
                    <a:pt x="38" y="42"/>
                  </a:lnTo>
                  <a:lnTo>
                    <a:pt x="11" y="54"/>
                  </a:lnTo>
                  <a:lnTo>
                    <a:pt x="8" y="33"/>
                  </a:lnTo>
                  <a:lnTo>
                    <a:pt x="0" y="18"/>
                  </a:lnTo>
                  <a:lnTo>
                    <a:pt x="41" y="0"/>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1" name="Freeform 135"/>
            <p:cNvSpPr>
              <a:spLocks/>
            </p:cNvSpPr>
            <p:nvPr/>
          </p:nvSpPr>
          <p:spPr bwMode="auto">
            <a:xfrm>
              <a:off x="395536" y="1084287"/>
              <a:ext cx="6215063" cy="4848225"/>
            </a:xfrm>
            <a:custGeom>
              <a:avLst/>
              <a:gdLst>
                <a:gd name="T0" fmla="*/ 943 w 4428"/>
                <a:gd name="T1" fmla="*/ 440 h 3493"/>
                <a:gd name="T2" fmla="*/ 1151 w 4428"/>
                <a:gd name="T3" fmla="*/ 406 h 3493"/>
                <a:gd name="T4" fmla="*/ 1243 w 4428"/>
                <a:gd name="T5" fmla="*/ 330 h 3493"/>
                <a:gd name="T6" fmla="*/ 1351 w 4428"/>
                <a:gd name="T7" fmla="*/ 257 h 3493"/>
                <a:gd name="T8" fmla="*/ 1345 w 4428"/>
                <a:gd name="T9" fmla="*/ 208 h 3493"/>
                <a:gd name="T10" fmla="*/ 1307 w 4428"/>
                <a:gd name="T11" fmla="*/ 150 h 3493"/>
                <a:gd name="T12" fmla="*/ 1397 w 4428"/>
                <a:gd name="T13" fmla="*/ 63 h 3493"/>
                <a:gd name="T14" fmla="*/ 1455 w 4428"/>
                <a:gd name="T15" fmla="*/ 0 h 3493"/>
                <a:gd name="T16" fmla="*/ 1571 w 4428"/>
                <a:gd name="T17" fmla="*/ 64 h 3493"/>
                <a:gd name="T18" fmla="*/ 1648 w 4428"/>
                <a:gd name="T19" fmla="*/ 111 h 3493"/>
                <a:gd name="T20" fmla="*/ 1755 w 4428"/>
                <a:gd name="T21" fmla="*/ 143 h 3493"/>
                <a:gd name="T22" fmla="*/ 1813 w 4428"/>
                <a:gd name="T23" fmla="*/ 141 h 3493"/>
                <a:gd name="T24" fmla="*/ 1762 w 4428"/>
                <a:gd name="T25" fmla="*/ 238 h 3493"/>
                <a:gd name="T26" fmla="*/ 1755 w 4428"/>
                <a:gd name="T27" fmla="*/ 316 h 3493"/>
                <a:gd name="T28" fmla="*/ 1698 w 4428"/>
                <a:gd name="T29" fmla="*/ 359 h 3493"/>
                <a:gd name="T30" fmla="*/ 1622 w 4428"/>
                <a:gd name="T31" fmla="*/ 419 h 3493"/>
                <a:gd name="T32" fmla="*/ 1523 w 4428"/>
                <a:gd name="T33" fmla="*/ 476 h 3493"/>
                <a:gd name="T34" fmla="*/ 1462 w 4428"/>
                <a:gd name="T35" fmla="*/ 462 h 3493"/>
                <a:gd name="T36" fmla="*/ 1406 w 4428"/>
                <a:gd name="T37" fmla="*/ 526 h 3493"/>
                <a:gd name="T38" fmla="*/ 1475 w 4428"/>
                <a:gd name="T39" fmla="*/ 557 h 3493"/>
                <a:gd name="T40" fmla="*/ 1544 w 4428"/>
                <a:gd name="T41" fmla="*/ 557 h 3493"/>
                <a:gd name="T42" fmla="*/ 1500 w 4428"/>
                <a:gd name="T43" fmla="*/ 638 h 3493"/>
                <a:gd name="T44" fmla="*/ 1583 w 4428"/>
                <a:gd name="T45" fmla="*/ 721 h 3493"/>
                <a:gd name="T46" fmla="*/ 1590 w 4428"/>
                <a:gd name="T47" fmla="*/ 735 h 3493"/>
                <a:gd name="T48" fmla="*/ 1561 w 4428"/>
                <a:gd name="T49" fmla="*/ 775 h 3493"/>
                <a:gd name="T50" fmla="*/ 1608 w 4428"/>
                <a:gd name="T51" fmla="*/ 828 h 3493"/>
                <a:gd name="T52" fmla="*/ 1548 w 4428"/>
                <a:gd name="T53" fmla="*/ 894 h 3493"/>
                <a:gd name="T54" fmla="*/ 1534 w 4428"/>
                <a:gd name="T55" fmla="*/ 951 h 3493"/>
                <a:gd name="T56" fmla="*/ 1507 w 4428"/>
                <a:gd name="T57" fmla="*/ 979 h 3493"/>
                <a:gd name="T58" fmla="*/ 1452 w 4428"/>
                <a:gd name="T59" fmla="*/ 1029 h 3493"/>
                <a:gd name="T60" fmla="*/ 1388 w 4428"/>
                <a:gd name="T61" fmla="*/ 1043 h 3493"/>
                <a:gd name="T62" fmla="*/ 1309 w 4428"/>
                <a:gd name="T63" fmla="*/ 1083 h 3493"/>
                <a:gd name="T64" fmla="*/ 1224 w 4428"/>
                <a:gd name="T65" fmla="*/ 1141 h 3493"/>
                <a:gd name="T66" fmla="*/ 1137 w 4428"/>
                <a:gd name="T67" fmla="*/ 1102 h 3493"/>
                <a:gd name="T68" fmla="*/ 1061 w 4428"/>
                <a:gd name="T69" fmla="*/ 1059 h 3493"/>
                <a:gd name="T70" fmla="*/ 986 w 4428"/>
                <a:gd name="T71" fmla="*/ 1068 h 3493"/>
                <a:gd name="T72" fmla="*/ 918 w 4428"/>
                <a:gd name="T73" fmla="*/ 1071 h 3493"/>
                <a:gd name="T74" fmla="*/ 882 w 4428"/>
                <a:gd name="T75" fmla="*/ 1120 h 3493"/>
                <a:gd name="T76" fmla="*/ 816 w 4428"/>
                <a:gd name="T77" fmla="*/ 1098 h 3493"/>
                <a:gd name="T78" fmla="*/ 797 w 4428"/>
                <a:gd name="T79" fmla="*/ 1055 h 3493"/>
                <a:gd name="T80" fmla="*/ 729 w 4428"/>
                <a:gd name="T81" fmla="*/ 1028 h 3493"/>
                <a:gd name="T82" fmla="*/ 774 w 4428"/>
                <a:gd name="T83" fmla="*/ 910 h 3493"/>
                <a:gd name="T84" fmla="*/ 691 w 4428"/>
                <a:gd name="T85" fmla="*/ 877 h 3493"/>
                <a:gd name="T86" fmla="*/ 639 w 4428"/>
                <a:gd name="T87" fmla="*/ 850 h 3493"/>
                <a:gd name="T88" fmla="*/ 525 w 4428"/>
                <a:gd name="T89" fmla="*/ 889 h 3493"/>
                <a:gd name="T90" fmla="*/ 411 w 4428"/>
                <a:gd name="T91" fmla="*/ 887 h 3493"/>
                <a:gd name="T92" fmla="*/ 312 w 4428"/>
                <a:gd name="T93" fmla="*/ 860 h 3493"/>
                <a:gd name="T94" fmla="*/ 244 w 4428"/>
                <a:gd name="T95" fmla="*/ 811 h 3493"/>
                <a:gd name="T96" fmla="*/ 133 w 4428"/>
                <a:gd name="T97" fmla="*/ 744 h 3493"/>
                <a:gd name="T98" fmla="*/ 90 w 4428"/>
                <a:gd name="T99" fmla="*/ 688 h 3493"/>
                <a:gd name="T100" fmla="*/ 113 w 4428"/>
                <a:gd name="T101" fmla="*/ 652 h 3493"/>
                <a:gd name="T102" fmla="*/ 155 w 4428"/>
                <a:gd name="T103" fmla="*/ 612 h 3493"/>
                <a:gd name="T104" fmla="*/ 86 w 4428"/>
                <a:gd name="T105" fmla="*/ 573 h 3493"/>
                <a:gd name="T106" fmla="*/ 5 w 4428"/>
                <a:gd name="T107" fmla="*/ 502 h 3493"/>
                <a:gd name="T108" fmla="*/ 5 w 4428"/>
                <a:gd name="T109" fmla="*/ 451 h 3493"/>
                <a:gd name="T110" fmla="*/ 45 w 4428"/>
                <a:gd name="T111" fmla="*/ 401 h 3493"/>
                <a:gd name="T112" fmla="*/ 120 w 4428"/>
                <a:gd name="T113" fmla="*/ 392 h 3493"/>
                <a:gd name="T114" fmla="*/ 257 w 4428"/>
                <a:gd name="T115" fmla="*/ 341 h 3493"/>
                <a:gd name="T116" fmla="*/ 320 w 4428"/>
                <a:gd name="T117" fmla="*/ 287 h 3493"/>
                <a:gd name="T118" fmla="*/ 402 w 4428"/>
                <a:gd name="T119" fmla="*/ 241 h 3493"/>
                <a:gd name="T120" fmla="*/ 497 w 4428"/>
                <a:gd name="T121" fmla="*/ 177 h 3493"/>
                <a:gd name="T122" fmla="*/ 555 w 4428"/>
                <a:gd name="T123" fmla="*/ 226 h 3493"/>
                <a:gd name="T124" fmla="*/ 606 w 4428"/>
                <a:gd name="T125" fmla="*/ 326 h 34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428" h="3493">
                  <a:moveTo>
                    <a:pt x="1768" y="1255"/>
                  </a:moveTo>
                  <a:lnTo>
                    <a:pt x="1783" y="1258"/>
                  </a:lnTo>
                  <a:lnTo>
                    <a:pt x="1837" y="1267"/>
                  </a:lnTo>
                  <a:lnTo>
                    <a:pt x="2004" y="1282"/>
                  </a:lnTo>
                  <a:lnTo>
                    <a:pt x="2031" y="1273"/>
                  </a:lnTo>
                  <a:lnTo>
                    <a:pt x="2169" y="1288"/>
                  </a:lnTo>
                  <a:lnTo>
                    <a:pt x="2196" y="1318"/>
                  </a:lnTo>
                  <a:lnTo>
                    <a:pt x="2289" y="1348"/>
                  </a:lnTo>
                  <a:lnTo>
                    <a:pt x="2373" y="1351"/>
                  </a:lnTo>
                  <a:lnTo>
                    <a:pt x="2379" y="1369"/>
                  </a:lnTo>
                  <a:lnTo>
                    <a:pt x="2397" y="1378"/>
                  </a:lnTo>
                  <a:lnTo>
                    <a:pt x="2457" y="1339"/>
                  </a:lnTo>
                  <a:lnTo>
                    <a:pt x="2591" y="1282"/>
                  </a:lnTo>
                  <a:lnTo>
                    <a:pt x="2609" y="1285"/>
                  </a:lnTo>
                  <a:lnTo>
                    <a:pt x="2726" y="1273"/>
                  </a:lnTo>
                  <a:lnTo>
                    <a:pt x="2795" y="1243"/>
                  </a:lnTo>
                  <a:lnTo>
                    <a:pt x="2849" y="1174"/>
                  </a:lnTo>
                  <a:lnTo>
                    <a:pt x="2888" y="1153"/>
                  </a:lnTo>
                  <a:lnTo>
                    <a:pt x="2915" y="1123"/>
                  </a:lnTo>
                  <a:lnTo>
                    <a:pt x="2873" y="1064"/>
                  </a:lnTo>
                  <a:lnTo>
                    <a:pt x="2888" y="1013"/>
                  </a:lnTo>
                  <a:lnTo>
                    <a:pt x="2918" y="983"/>
                  </a:lnTo>
                  <a:lnTo>
                    <a:pt x="2942" y="995"/>
                  </a:lnTo>
                  <a:lnTo>
                    <a:pt x="3017" y="1010"/>
                  </a:lnTo>
                  <a:lnTo>
                    <a:pt x="3056" y="989"/>
                  </a:lnTo>
                  <a:lnTo>
                    <a:pt x="3095" y="935"/>
                  </a:lnTo>
                  <a:lnTo>
                    <a:pt x="3134" y="929"/>
                  </a:lnTo>
                  <a:lnTo>
                    <a:pt x="3191" y="890"/>
                  </a:lnTo>
                  <a:lnTo>
                    <a:pt x="3197" y="860"/>
                  </a:lnTo>
                  <a:lnTo>
                    <a:pt x="3224" y="821"/>
                  </a:lnTo>
                  <a:lnTo>
                    <a:pt x="3263" y="812"/>
                  </a:lnTo>
                  <a:lnTo>
                    <a:pt x="3281" y="785"/>
                  </a:lnTo>
                  <a:lnTo>
                    <a:pt x="3302" y="788"/>
                  </a:lnTo>
                  <a:lnTo>
                    <a:pt x="3331" y="767"/>
                  </a:lnTo>
                  <a:lnTo>
                    <a:pt x="3418" y="761"/>
                  </a:lnTo>
                  <a:lnTo>
                    <a:pt x="3433" y="749"/>
                  </a:lnTo>
                  <a:lnTo>
                    <a:pt x="3433" y="734"/>
                  </a:lnTo>
                  <a:lnTo>
                    <a:pt x="3358" y="656"/>
                  </a:lnTo>
                  <a:lnTo>
                    <a:pt x="3299" y="632"/>
                  </a:lnTo>
                  <a:lnTo>
                    <a:pt x="3266" y="641"/>
                  </a:lnTo>
                  <a:lnTo>
                    <a:pt x="3248" y="671"/>
                  </a:lnTo>
                  <a:lnTo>
                    <a:pt x="3188" y="665"/>
                  </a:lnTo>
                  <a:lnTo>
                    <a:pt x="3149" y="686"/>
                  </a:lnTo>
                  <a:lnTo>
                    <a:pt x="3125" y="668"/>
                  </a:lnTo>
                  <a:lnTo>
                    <a:pt x="3116" y="641"/>
                  </a:lnTo>
                  <a:lnTo>
                    <a:pt x="3134" y="623"/>
                  </a:lnTo>
                  <a:lnTo>
                    <a:pt x="3170" y="473"/>
                  </a:lnTo>
                  <a:lnTo>
                    <a:pt x="3176" y="461"/>
                  </a:lnTo>
                  <a:lnTo>
                    <a:pt x="3200" y="470"/>
                  </a:lnTo>
                  <a:lnTo>
                    <a:pt x="3245" y="479"/>
                  </a:lnTo>
                  <a:lnTo>
                    <a:pt x="3331" y="416"/>
                  </a:lnTo>
                  <a:lnTo>
                    <a:pt x="3340" y="398"/>
                  </a:lnTo>
                  <a:lnTo>
                    <a:pt x="3328" y="374"/>
                  </a:lnTo>
                  <a:lnTo>
                    <a:pt x="3364" y="240"/>
                  </a:lnTo>
                  <a:lnTo>
                    <a:pt x="3385" y="210"/>
                  </a:lnTo>
                  <a:lnTo>
                    <a:pt x="3394" y="189"/>
                  </a:lnTo>
                  <a:lnTo>
                    <a:pt x="3376" y="138"/>
                  </a:lnTo>
                  <a:lnTo>
                    <a:pt x="3349" y="135"/>
                  </a:lnTo>
                  <a:lnTo>
                    <a:pt x="3337" y="126"/>
                  </a:lnTo>
                  <a:lnTo>
                    <a:pt x="3370" y="75"/>
                  </a:lnTo>
                  <a:lnTo>
                    <a:pt x="3412" y="45"/>
                  </a:lnTo>
                  <a:lnTo>
                    <a:pt x="3427" y="45"/>
                  </a:lnTo>
                  <a:lnTo>
                    <a:pt x="3442" y="33"/>
                  </a:lnTo>
                  <a:lnTo>
                    <a:pt x="3532" y="0"/>
                  </a:lnTo>
                  <a:lnTo>
                    <a:pt x="3598" y="15"/>
                  </a:lnTo>
                  <a:lnTo>
                    <a:pt x="3628" y="21"/>
                  </a:lnTo>
                  <a:lnTo>
                    <a:pt x="3661" y="9"/>
                  </a:lnTo>
                  <a:lnTo>
                    <a:pt x="3712" y="36"/>
                  </a:lnTo>
                  <a:lnTo>
                    <a:pt x="3724" y="63"/>
                  </a:lnTo>
                  <a:lnTo>
                    <a:pt x="3766" y="114"/>
                  </a:lnTo>
                  <a:lnTo>
                    <a:pt x="3778" y="144"/>
                  </a:lnTo>
                  <a:lnTo>
                    <a:pt x="3814" y="195"/>
                  </a:lnTo>
                  <a:lnTo>
                    <a:pt x="3829" y="219"/>
                  </a:lnTo>
                  <a:lnTo>
                    <a:pt x="3856" y="246"/>
                  </a:lnTo>
                  <a:lnTo>
                    <a:pt x="3865" y="270"/>
                  </a:lnTo>
                  <a:lnTo>
                    <a:pt x="3883" y="291"/>
                  </a:lnTo>
                  <a:lnTo>
                    <a:pt x="3904" y="321"/>
                  </a:lnTo>
                  <a:lnTo>
                    <a:pt x="3940" y="333"/>
                  </a:lnTo>
                  <a:lnTo>
                    <a:pt x="3979" y="327"/>
                  </a:lnTo>
                  <a:lnTo>
                    <a:pt x="4003" y="339"/>
                  </a:lnTo>
                  <a:lnTo>
                    <a:pt x="4027" y="330"/>
                  </a:lnTo>
                  <a:lnTo>
                    <a:pt x="4083" y="360"/>
                  </a:lnTo>
                  <a:lnTo>
                    <a:pt x="4116" y="362"/>
                  </a:lnTo>
                  <a:lnTo>
                    <a:pt x="4125" y="392"/>
                  </a:lnTo>
                  <a:lnTo>
                    <a:pt x="4143" y="419"/>
                  </a:lnTo>
                  <a:lnTo>
                    <a:pt x="4140" y="437"/>
                  </a:lnTo>
                  <a:lnTo>
                    <a:pt x="4179" y="467"/>
                  </a:lnTo>
                  <a:lnTo>
                    <a:pt x="4263" y="437"/>
                  </a:lnTo>
                  <a:lnTo>
                    <a:pt x="4296" y="392"/>
                  </a:lnTo>
                  <a:lnTo>
                    <a:pt x="4332" y="374"/>
                  </a:lnTo>
                  <a:lnTo>
                    <a:pt x="4365" y="336"/>
                  </a:lnTo>
                  <a:lnTo>
                    <a:pt x="4395" y="327"/>
                  </a:lnTo>
                  <a:lnTo>
                    <a:pt x="4407" y="342"/>
                  </a:lnTo>
                  <a:lnTo>
                    <a:pt x="4401" y="360"/>
                  </a:lnTo>
                  <a:lnTo>
                    <a:pt x="4428" y="389"/>
                  </a:lnTo>
                  <a:lnTo>
                    <a:pt x="4404" y="434"/>
                  </a:lnTo>
                  <a:lnTo>
                    <a:pt x="4407" y="575"/>
                  </a:lnTo>
                  <a:lnTo>
                    <a:pt x="4398" y="602"/>
                  </a:lnTo>
                  <a:lnTo>
                    <a:pt x="4404" y="617"/>
                  </a:lnTo>
                  <a:lnTo>
                    <a:pt x="4389" y="647"/>
                  </a:lnTo>
                  <a:lnTo>
                    <a:pt x="4392" y="677"/>
                  </a:lnTo>
                  <a:lnTo>
                    <a:pt x="4377" y="689"/>
                  </a:lnTo>
                  <a:lnTo>
                    <a:pt x="4302" y="689"/>
                  </a:lnTo>
                  <a:lnTo>
                    <a:pt x="4281" y="728"/>
                  </a:lnTo>
                  <a:lnTo>
                    <a:pt x="4257" y="752"/>
                  </a:lnTo>
                  <a:lnTo>
                    <a:pt x="4299" y="815"/>
                  </a:lnTo>
                  <a:lnTo>
                    <a:pt x="4302" y="869"/>
                  </a:lnTo>
                  <a:lnTo>
                    <a:pt x="4314" y="887"/>
                  </a:lnTo>
                  <a:lnTo>
                    <a:pt x="4320" y="899"/>
                  </a:lnTo>
                  <a:lnTo>
                    <a:pt x="4311" y="932"/>
                  </a:lnTo>
                  <a:lnTo>
                    <a:pt x="4275" y="977"/>
                  </a:lnTo>
                  <a:lnTo>
                    <a:pt x="4263" y="965"/>
                  </a:lnTo>
                  <a:lnTo>
                    <a:pt x="4248" y="953"/>
                  </a:lnTo>
                  <a:lnTo>
                    <a:pt x="4236" y="956"/>
                  </a:lnTo>
                  <a:lnTo>
                    <a:pt x="4230" y="983"/>
                  </a:lnTo>
                  <a:lnTo>
                    <a:pt x="4227" y="1019"/>
                  </a:lnTo>
                  <a:lnTo>
                    <a:pt x="4200" y="1031"/>
                  </a:lnTo>
                  <a:lnTo>
                    <a:pt x="4182" y="1070"/>
                  </a:lnTo>
                  <a:lnTo>
                    <a:pt x="4134" y="1085"/>
                  </a:lnTo>
                  <a:lnTo>
                    <a:pt x="4125" y="1097"/>
                  </a:lnTo>
                  <a:lnTo>
                    <a:pt x="4152" y="1132"/>
                  </a:lnTo>
                  <a:lnTo>
                    <a:pt x="4134" y="1150"/>
                  </a:lnTo>
                  <a:lnTo>
                    <a:pt x="4080" y="1156"/>
                  </a:lnTo>
                  <a:lnTo>
                    <a:pt x="4051" y="1138"/>
                  </a:lnTo>
                  <a:lnTo>
                    <a:pt x="4036" y="1141"/>
                  </a:lnTo>
                  <a:lnTo>
                    <a:pt x="4006" y="1225"/>
                  </a:lnTo>
                  <a:lnTo>
                    <a:pt x="3976" y="1246"/>
                  </a:lnTo>
                  <a:lnTo>
                    <a:pt x="3940" y="1285"/>
                  </a:lnTo>
                  <a:lnTo>
                    <a:pt x="3886" y="1366"/>
                  </a:lnTo>
                  <a:lnTo>
                    <a:pt x="3859" y="1372"/>
                  </a:lnTo>
                  <a:lnTo>
                    <a:pt x="3772" y="1420"/>
                  </a:lnTo>
                  <a:lnTo>
                    <a:pt x="3715" y="1495"/>
                  </a:lnTo>
                  <a:lnTo>
                    <a:pt x="3676" y="1516"/>
                  </a:lnTo>
                  <a:lnTo>
                    <a:pt x="3673" y="1507"/>
                  </a:lnTo>
                  <a:lnTo>
                    <a:pt x="3694" y="1483"/>
                  </a:lnTo>
                  <a:lnTo>
                    <a:pt x="3697" y="1459"/>
                  </a:lnTo>
                  <a:lnTo>
                    <a:pt x="3667" y="1438"/>
                  </a:lnTo>
                  <a:lnTo>
                    <a:pt x="3700" y="1387"/>
                  </a:lnTo>
                  <a:lnTo>
                    <a:pt x="3724" y="1333"/>
                  </a:lnTo>
                  <a:lnTo>
                    <a:pt x="3691" y="1300"/>
                  </a:lnTo>
                  <a:lnTo>
                    <a:pt x="3637" y="1312"/>
                  </a:lnTo>
                  <a:lnTo>
                    <a:pt x="3604" y="1366"/>
                  </a:lnTo>
                  <a:lnTo>
                    <a:pt x="3571" y="1405"/>
                  </a:lnTo>
                  <a:lnTo>
                    <a:pt x="3553" y="1414"/>
                  </a:lnTo>
                  <a:lnTo>
                    <a:pt x="3514" y="1471"/>
                  </a:lnTo>
                  <a:lnTo>
                    <a:pt x="3514" y="1492"/>
                  </a:lnTo>
                  <a:lnTo>
                    <a:pt x="3448" y="1528"/>
                  </a:lnTo>
                  <a:lnTo>
                    <a:pt x="3421" y="1516"/>
                  </a:lnTo>
                  <a:lnTo>
                    <a:pt x="3403" y="1531"/>
                  </a:lnTo>
                  <a:lnTo>
                    <a:pt x="3394" y="1561"/>
                  </a:lnTo>
                  <a:lnTo>
                    <a:pt x="3403" y="1582"/>
                  </a:lnTo>
                  <a:lnTo>
                    <a:pt x="3415" y="1612"/>
                  </a:lnTo>
                  <a:lnTo>
                    <a:pt x="3430" y="1621"/>
                  </a:lnTo>
                  <a:lnTo>
                    <a:pt x="3451" y="1639"/>
                  </a:lnTo>
                  <a:lnTo>
                    <a:pt x="3490" y="1630"/>
                  </a:lnTo>
                  <a:lnTo>
                    <a:pt x="3511" y="1642"/>
                  </a:lnTo>
                  <a:lnTo>
                    <a:pt x="3520" y="1678"/>
                  </a:lnTo>
                  <a:lnTo>
                    <a:pt x="3523" y="1699"/>
                  </a:lnTo>
                  <a:lnTo>
                    <a:pt x="3565" y="1717"/>
                  </a:lnTo>
                  <a:lnTo>
                    <a:pt x="3583" y="1705"/>
                  </a:lnTo>
                  <a:lnTo>
                    <a:pt x="3646" y="1624"/>
                  </a:lnTo>
                  <a:lnTo>
                    <a:pt x="3670" y="1621"/>
                  </a:lnTo>
                  <a:lnTo>
                    <a:pt x="3712" y="1639"/>
                  </a:lnTo>
                  <a:lnTo>
                    <a:pt x="3775" y="1633"/>
                  </a:lnTo>
                  <a:lnTo>
                    <a:pt x="3802" y="1636"/>
                  </a:lnTo>
                  <a:lnTo>
                    <a:pt x="3808" y="1675"/>
                  </a:lnTo>
                  <a:lnTo>
                    <a:pt x="3787" y="1693"/>
                  </a:lnTo>
                  <a:lnTo>
                    <a:pt x="3748" y="1705"/>
                  </a:lnTo>
                  <a:lnTo>
                    <a:pt x="3694" y="1753"/>
                  </a:lnTo>
                  <a:lnTo>
                    <a:pt x="3685" y="1780"/>
                  </a:lnTo>
                  <a:lnTo>
                    <a:pt x="3664" y="1789"/>
                  </a:lnTo>
                  <a:lnTo>
                    <a:pt x="3649" y="1786"/>
                  </a:lnTo>
                  <a:lnTo>
                    <a:pt x="3637" y="1798"/>
                  </a:lnTo>
                  <a:lnTo>
                    <a:pt x="3649" y="1816"/>
                  </a:lnTo>
                  <a:lnTo>
                    <a:pt x="3586" y="1920"/>
                  </a:lnTo>
                  <a:lnTo>
                    <a:pt x="3643" y="1959"/>
                  </a:lnTo>
                  <a:lnTo>
                    <a:pt x="3685" y="1977"/>
                  </a:lnTo>
                  <a:lnTo>
                    <a:pt x="3763" y="2106"/>
                  </a:lnTo>
                  <a:lnTo>
                    <a:pt x="3760" y="2118"/>
                  </a:lnTo>
                  <a:lnTo>
                    <a:pt x="3811" y="2142"/>
                  </a:lnTo>
                  <a:lnTo>
                    <a:pt x="3826" y="2166"/>
                  </a:lnTo>
                  <a:lnTo>
                    <a:pt x="3850" y="2178"/>
                  </a:lnTo>
                  <a:lnTo>
                    <a:pt x="3862" y="2199"/>
                  </a:lnTo>
                  <a:lnTo>
                    <a:pt x="3844" y="2208"/>
                  </a:lnTo>
                  <a:lnTo>
                    <a:pt x="3817" y="2199"/>
                  </a:lnTo>
                  <a:lnTo>
                    <a:pt x="3781" y="2199"/>
                  </a:lnTo>
                  <a:lnTo>
                    <a:pt x="3748" y="2187"/>
                  </a:lnTo>
                  <a:lnTo>
                    <a:pt x="3733" y="2199"/>
                  </a:lnTo>
                  <a:lnTo>
                    <a:pt x="3766" y="2208"/>
                  </a:lnTo>
                  <a:lnTo>
                    <a:pt x="3796" y="2220"/>
                  </a:lnTo>
                  <a:lnTo>
                    <a:pt x="3826" y="2235"/>
                  </a:lnTo>
                  <a:lnTo>
                    <a:pt x="3862" y="2250"/>
                  </a:lnTo>
                  <a:lnTo>
                    <a:pt x="3877" y="2271"/>
                  </a:lnTo>
                  <a:lnTo>
                    <a:pt x="3865" y="2286"/>
                  </a:lnTo>
                  <a:lnTo>
                    <a:pt x="3832" y="2313"/>
                  </a:lnTo>
                  <a:lnTo>
                    <a:pt x="3817" y="2322"/>
                  </a:lnTo>
                  <a:lnTo>
                    <a:pt x="3802" y="2349"/>
                  </a:lnTo>
                  <a:lnTo>
                    <a:pt x="3778" y="2355"/>
                  </a:lnTo>
                  <a:lnTo>
                    <a:pt x="3769" y="2361"/>
                  </a:lnTo>
                  <a:lnTo>
                    <a:pt x="3793" y="2376"/>
                  </a:lnTo>
                  <a:lnTo>
                    <a:pt x="3838" y="2355"/>
                  </a:lnTo>
                  <a:lnTo>
                    <a:pt x="3913" y="2388"/>
                  </a:lnTo>
                  <a:lnTo>
                    <a:pt x="3922" y="2451"/>
                  </a:lnTo>
                  <a:lnTo>
                    <a:pt x="3889" y="2451"/>
                  </a:lnTo>
                  <a:lnTo>
                    <a:pt x="3889" y="2469"/>
                  </a:lnTo>
                  <a:lnTo>
                    <a:pt x="3904" y="2496"/>
                  </a:lnTo>
                  <a:lnTo>
                    <a:pt x="3889" y="2511"/>
                  </a:lnTo>
                  <a:lnTo>
                    <a:pt x="3907" y="2538"/>
                  </a:lnTo>
                  <a:lnTo>
                    <a:pt x="3883" y="2568"/>
                  </a:lnTo>
                  <a:lnTo>
                    <a:pt x="3871" y="2553"/>
                  </a:lnTo>
                  <a:lnTo>
                    <a:pt x="3835" y="2645"/>
                  </a:lnTo>
                  <a:lnTo>
                    <a:pt x="3829" y="2660"/>
                  </a:lnTo>
                  <a:lnTo>
                    <a:pt x="3796" y="2735"/>
                  </a:lnTo>
                  <a:lnTo>
                    <a:pt x="3778" y="2726"/>
                  </a:lnTo>
                  <a:lnTo>
                    <a:pt x="3763" y="2735"/>
                  </a:lnTo>
                  <a:lnTo>
                    <a:pt x="3763" y="2741"/>
                  </a:lnTo>
                  <a:lnTo>
                    <a:pt x="3781" y="2762"/>
                  </a:lnTo>
                  <a:lnTo>
                    <a:pt x="3775" y="2831"/>
                  </a:lnTo>
                  <a:lnTo>
                    <a:pt x="3781" y="2855"/>
                  </a:lnTo>
                  <a:lnTo>
                    <a:pt x="3775" y="2861"/>
                  </a:lnTo>
                  <a:lnTo>
                    <a:pt x="3754" y="2858"/>
                  </a:lnTo>
                  <a:lnTo>
                    <a:pt x="3742" y="2870"/>
                  </a:lnTo>
                  <a:lnTo>
                    <a:pt x="3751" y="2888"/>
                  </a:lnTo>
                  <a:lnTo>
                    <a:pt x="3724" y="2915"/>
                  </a:lnTo>
                  <a:lnTo>
                    <a:pt x="3730" y="2924"/>
                  </a:lnTo>
                  <a:lnTo>
                    <a:pt x="3706" y="2936"/>
                  </a:lnTo>
                  <a:lnTo>
                    <a:pt x="3709" y="2954"/>
                  </a:lnTo>
                  <a:lnTo>
                    <a:pt x="3700" y="2963"/>
                  </a:lnTo>
                  <a:lnTo>
                    <a:pt x="3667" y="2963"/>
                  </a:lnTo>
                  <a:lnTo>
                    <a:pt x="3649" y="2981"/>
                  </a:lnTo>
                  <a:lnTo>
                    <a:pt x="3646" y="2987"/>
                  </a:lnTo>
                  <a:lnTo>
                    <a:pt x="3661" y="2999"/>
                  </a:lnTo>
                  <a:lnTo>
                    <a:pt x="3643" y="3026"/>
                  </a:lnTo>
                  <a:lnTo>
                    <a:pt x="3619" y="3056"/>
                  </a:lnTo>
                  <a:lnTo>
                    <a:pt x="3610" y="3053"/>
                  </a:lnTo>
                  <a:lnTo>
                    <a:pt x="3586" y="3077"/>
                  </a:lnTo>
                  <a:lnTo>
                    <a:pt x="3568" y="3092"/>
                  </a:lnTo>
                  <a:lnTo>
                    <a:pt x="3553" y="3119"/>
                  </a:lnTo>
                  <a:lnTo>
                    <a:pt x="3538" y="3125"/>
                  </a:lnTo>
                  <a:lnTo>
                    <a:pt x="3526" y="3152"/>
                  </a:lnTo>
                  <a:lnTo>
                    <a:pt x="3478" y="3176"/>
                  </a:lnTo>
                  <a:lnTo>
                    <a:pt x="3460" y="3167"/>
                  </a:lnTo>
                  <a:lnTo>
                    <a:pt x="3451" y="3185"/>
                  </a:lnTo>
                  <a:lnTo>
                    <a:pt x="3451" y="3191"/>
                  </a:lnTo>
                  <a:lnTo>
                    <a:pt x="3436" y="3191"/>
                  </a:lnTo>
                  <a:lnTo>
                    <a:pt x="3412" y="3191"/>
                  </a:lnTo>
                  <a:lnTo>
                    <a:pt x="3388" y="3206"/>
                  </a:lnTo>
                  <a:lnTo>
                    <a:pt x="3373" y="3197"/>
                  </a:lnTo>
                  <a:lnTo>
                    <a:pt x="3352" y="3212"/>
                  </a:lnTo>
                  <a:lnTo>
                    <a:pt x="3302" y="3233"/>
                  </a:lnTo>
                  <a:lnTo>
                    <a:pt x="3263" y="3200"/>
                  </a:lnTo>
                  <a:lnTo>
                    <a:pt x="3260" y="3224"/>
                  </a:lnTo>
                  <a:lnTo>
                    <a:pt x="3275" y="3263"/>
                  </a:lnTo>
                  <a:lnTo>
                    <a:pt x="3236" y="3278"/>
                  </a:lnTo>
                  <a:lnTo>
                    <a:pt x="3218" y="3308"/>
                  </a:lnTo>
                  <a:lnTo>
                    <a:pt x="3179" y="3317"/>
                  </a:lnTo>
                  <a:lnTo>
                    <a:pt x="3158" y="3326"/>
                  </a:lnTo>
                  <a:lnTo>
                    <a:pt x="3116" y="3326"/>
                  </a:lnTo>
                  <a:lnTo>
                    <a:pt x="3089" y="3353"/>
                  </a:lnTo>
                  <a:lnTo>
                    <a:pt x="3017" y="3376"/>
                  </a:lnTo>
                  <a:lnTo>
                    <a:pt x="2981" y="3400"/>
                  </a:lnTo>
                  <a:lnTo>
                    <a:pt x="2963" y="3418"/>
                  </a:lnTo>
                  <a:lnTo>
                    <a:pt x="2996" y="3475"/>
                  </a:lnTo>
                  <a:lnTo>
                    <a:pt x="2972" y="3493"/>
                  </a:lnTo>
                  <a:lnTo>
                    <a:pt x="2945" y="3493"/>
                  </a:lnTo>
                  <a:lnTo>
                    <a:pt x="2915" y="3433"/>
                  </a:lnTo>
                  <a:lnTo>
                    <a:pt x="2921" y="3391"/>
                  </a:lnTo>
                  <a:lnTo>
                    <a:pt x="2921" y="3373"/>
                  </a:lnTo>
                  <a:lnTo>
                    <a:pt x="2861" y="3382"/>
                  </a:lnTo>
                  <a:lnTo>
                    <a:pt x="2831" y="3358"/>
                  </a:lnTo>
                  <a:lnTo>
                    <a:pt x="2798" y="3347"/>
                  </a:lnTo>
                  <a:lnTo>
                    <a:pt x="2765" y="3376"/>
                  </a:lnTo>
                  <a:lnTo>
                    <a:pt x="2732" y="3379"/>
                  </a:lnTo>
                  <a:lnTo>
                    <a:pt x="2699" y="3382"/>
                  </a:lnTo>
                  <a:lnTo>
                    <a:pt x="2627" y="3341"/>
                  </a:lnTo>
                  <a:lnTo>
                    <a:pt x="2615" y="3305"/>
                  </a:lnTo>
                  <a:lnTo>
                    <a:pt x="2633" y="3269"/>
                  </a:lnTo>
                  <a:lnTo>
                    <a:pt x="2612" y="3254"/>
                  </a:lnTo>
                  <a:lnTo>
                    <a:pt x="2585" y="3254"/>
                  </a:lnTo>
                  <a:lnTo>
                    <a:pt x="2577" y="3245"/>
                  </a:lnTo>
                  <a:lnTo>
                    <a:pt x="2550" y="3254"/>
                  </a:lnTo>
                  <a:lnTo>
                    <a:pt x="2520" y="3233"/>
                  </a:lnTo>
                  <a:lnTo>
                    <a:pt x="2505" y="3215"/>
                  </a:lnTo>
                  <a:lnTo>
                    <a:pt x="2475" y="3221"/>
                  </a:lnTo>
                  <a:lnTo>
                    <a:pt x="2454" y="3254"/>
                  </a:lnTo>
                  <a:lnTo>
                    <a:pt x="2430" y="3272"/>
                  </a:lnTo>
                  <a:lnTo>
                    <a:pt x="2403" y="3278"/>
                  </a:lnTo>
                  <a:lnTo>
                    <a:pt x="2394" y="3272"/>
                  </a:lnTo>
                  <a:lnTo>
                    <a:pt x="2376" y="3290"/>
                  </a:lnTo>
                  <a:lnTo>
                    <a:pt x="2370" y="3299"/>
                  </a:lnTo>
                  <a:lnTo>
                    <a:pt x="2361" y="3299"/>
                  </a:lnTo>
                  <a:lnTo>
                    <a:pt x="2340" y="3278"/>
                  </a:lnTo>
                  <a:lnTo>
                    <a:pt x="2316" y="3293"/>
                  </a:lnTo>
                  <a:lnTo>
                    <a:pt x="2304" y="3281"/>
                  </a:lnTo>
                  <a:lnTo>
                    <a:pt x="2283" y="3302"/>
                  </a:lnTo>
                  <a:lnTo>
                    <a:pt x="2229" y="3284"/>
                  </a:lnTo>
                  <a:lnTo>
                    <a:pt x="2208" y="3311"/>
                  </a:lnTo>
                  <a:lnTo>
                    <a:pt x="2199" y="3311"/>
                  </a:lnTo>
                  <a:lnTo>
                    <a:pt x="2160" y="3311"/>
                  </a:lnTo>
                  <a:lnTo>
                    <a:pt x="2148" y="3329"/>
                  </a:lnTo>
                  <a:lnTo>
                    <a:pt x="2163" y="3394"/>
                  </a:lnTo>
                  <a:lnTo>
                    <a:pt x="2163" y="3430"/>
                  </a:lnTo>
                  <a:lnTo>
                    <a:pt x="2157" y="3439"/>
                  </a:lnTo>
                  <a:lnTo>
                    <a:pt x="2145" y="3433"/>
                  </a:lnTo>
                  <a:lnTo>
                    <a:pt x="2121" y="3436"/>
                  </a:lnTo>
                  <a:lnTo>
                    <a:pt x="2109" y="3427"/>
                  </a:lnTo>
                  <a:lnTo>
                    <a:pt x="2103" y="3403"/>
                  </a:lnTo>
                  <a:lnTo>
                    <a:pt x="2103" y="3388"/>
                  </a:lnTo>
                  <a:lnTo>
                    <a:pt x="2088" y="3382"/>
                  </a:lnTo>
                  <a:lnTo>
                    <a:pt x="2043" y="3406"/>
                  </a:lnTo>
                  <a:lnTo>
                    <a:pt x="2007" y="3406"/>
                  </a:lnTo>
                  <a:lnTo>
                    <a:pt x="1983" y="3367"/>
                  </a:lnTo>
                  <a:lnTo>
                    <a:pt x="1986" y="3355"/>
                  </a:lnTo>
                  <a:lnTo>
                    <a:pt x="1947" y="3341"/>
                  </a:lnTo>
                  <a:lnTo>
                    <a:pt x="1926" y="3338"/>
                  </a:lnTo>
                  <a:lnTo>
                    <a:pt x="1917" y="3329"/>
                  </a:lnTo>
                  <a:lnTo>
                    <a:pt x="1929" y="3296"/>
                  </a:lnTo>
                  <a:lnTo>
                    <a:pt x="1932" y="3269"/>
                  </a:lnTo>
                  <a:lnTo>
                    <a:pt x="1950" y="3245"/>
                  </a:lnTo>
                  <a:lnTo>
                    <a:pt x="1935" y="3233"/>
                  </a:lnTo>
                  <a:lnTo>
                    <a:pt x="1899" y="3233"/>
                  </a:lnTo>
                  <a:lnTo>
                    <a:pt x="1890" y="3221"/>
                  </a:lnTo>
                  <a:lnTo>
                    <a:pt x="1887" y="3185"/>
                  </a:lnTo>
                  <a:lnTo>
                    <a:pt x="1875" y="3164"/>
                  </a:lnTo>
                  <a:lnTo>
                    <a:pt x="1884" y="3140"/>
                  </a:lnTo>
                  <a:lnTo>
                    <a:pt x="1822" y="3143"/>
                  </a:lnTo>
                  <a:lnTo>
                    <a:pt x="1780" y="3155"/>
                  </a:lnTo>
                  <a:lnTo>
                    <a:pt x="1771" y="3149"/>
                  </a:lnTo>
                  <a:lnTo>
                    <a:pt x="1783" y="3122"/>
                  </a:lnTo>
                  <a:lnTo>
                    <a:pt x="1771" y="3086"/>
                  </a:lnTo>
                  <a:lnTo>
                    <a:pt x="1771" y="3071"/>
                  </a:lnTo>
                  <a:lnTo>
                    <a:pt x="1789" y="3056"/>
                  </a:lnTo>
                  <a:lnTo>
                    <a:pt x="1792" y="3026"/>
                  </a:lnTo>
                  <a:lnTo>
                    <a:pt x="1878" y="2951"/>
                  </a:lnTo>
                  <a:lnTo>
                    <a:pt x="1884" y="2825"/>
                  </a:lnTo>
                  <a:lnTo>
                    <a:pt x="1881" y="2789"/>
                  </a:lnTo>
                  <a:lnTo>
                    <a:pt x="1866" y="2780"/>
                  </a:lnTo>
                  <a:lnTo>
                    <a:pt x="1851" y="2780"/>
                  </a:lnTo>
                  <a:lnTo>
                    <a:pt x="1837" y="2720"/>
                  </a:lnTo>
                  <a:lnTo>
                    <a:pt x="1795" y="2687"/>
                  </a:lnTo>
                  <a:lnTo>
                    <a:pt x="1765" y="2711"/>
                  </a:lnTo>
                  <a:lnTo>
                    <a:pt x="1699" y="2693"/>
                  </a:lnTo>
                  <a:lnTo>
                    <a:pt x="1687" y="2693"/>
                  </a:lnTo>
                  <a:lnTo>
                    <a:pt x="1678" y="2687"/>
                  </a:lnTo>
                  <a:lnTo>
                    <a:pt x="1702" y="2645"/>
                  </a:lnTo>
                  <a:lnTo>
                    <a:pt x="1699" y="2633"/>
                  </a:lnTo>
                  <a:lnTo>
                    <a:pt x="1672" y="2633"/>
                  </a:lnTo>
                  <a:lnTo>
                    <a:pt x="1666" y="2627"/>
                  </a:lnTo>
                  <a:lnTo>
                    <a:pt x="1684" y="2601"/>
                  </a:lnTo>
                  <a:lnTo>
                    <a:pt x="1663" y="2586"/>
                  </a:lnTo>
                  <a:lnTo>
                    <a:pt x="1597" y="2621"/>
                  </a:lnTo>
                  <a:lnTo>
                    <a:pt x="1552" y="2606"/>
                  </a:lnTo>
                  <a:lnTo>
                    <a:pt x="1546" y="2595"/>
                  </a:lnTo>
                  <a:lnTo>
                    <a:pt x="1483" y="2627"/>
                  </a:lnTo>
                  <a:lnTo>
                    <a:pt x="1453" y="2648"/>
                  </a:lnTo>
                  <a:lnTo>
                    <a:pt x="1417" y="2651"/>
                  </a:lnTo>
                  <a:lnTo>
                    <a:pt x="1378" y="2684"/>
                  </a:lnTo>
                  <a:lnTo>
                    <a:pt x="1363" y="2693"/>
                  </a:lnTo>
                  <a:lnTo>
                    <a:pt x="1357" y="2708"/>
                  </a:lnTo>
                  <a:lnTo>
                    <a:pt x="1276" y="2723"/>
                  </a:lnTo>
                  <a:lnTo>
                    <a:pt x="1267" y="2717"/>
                  </a:lnTo>
                  <a:lnTo>
                    <a:pt x="1249" y="2693"/>
                  </a:lnTo>
                  <a:lnTo>
                    <a:pt x="1195" y="2687"/>
                  </a:lnTo>
                  <a:lnTo>
                    <a:pt x="1153" y="2663"/>
                  </a:lnTo>
                  <a:lnTo>
                    <a:pt x="1114" y="2654"/>
                  </a:lnTo>
                  <a:lnTo>
                    <a:pt x="1058" y="2696"/>
                  </a:lnTo>
                  <a:lnTo>
                    <a:pt x="1010" y="2735"/>
                  </a:lnTo>
                  <a:lnTo>
                    <a:pt x="1001" y="2720"/>
                  </a:lnTo>
                  <a:lnTo>
                    <a:pt x="1010" y="2681"/>
                  </a:lnTo>
                  <a:lnTo>
                    <a:pt x="998" y="2663"/>
                  </a:lnTo>
                  <a:lnTo>
                    <a:pt x="956" y="2666"/>
                  </a:lnTo>
                  <a:lnTo>
                    <a:pt x="872" y="2669"/>
                  </a:lnTo>
                  <a:lnTo>
                    <a:pt x="836" y="2642"/>
                  </a:lnTo>
                  <a:lnTo>
                    <a:pt x="812" y="2642"/>
                  </a:lnTo>
                  <a:lnTo>
                    <a:pt x="767" y="2642"/>
                  </a:lnTo>
                  <a:lnTo>
                    <a:pt x="758" y="2636"/>
                  </a:lnTo>
                  <a:lnTo>
                    <a:pt x="755" y="2615"/>
                  </a:lnTo>
                  <a:lnTo>
                    <a:pt x="704" y="2586"/>
                  </a:lnTo>
                  <a:lnTo>
                    <a:pt x="692" y="2553"/>
                  </a:lnTo>
                  <a:lnTo>
                    <a:pt x="680" y="2556"/>
                  </a:lnTo>
                  <a:lnTo>
                    <a:pt x="617" y="2520"/>
                  </a:lnTo>
                  <a:lnTo>
                    <a:pt x="617" y="2481"/>
                  </a:lnTo>
                  <a:lnTo>
                    <a:pt x="608" y="2469"/>
                  </a:lnTo>
                  <a:lnTo>
                    <a:pt x="593" y="2484"/>
                  </a:lnTo>
                  <a:lnTo>
                    <a:pt x="572" y="2484"/>
                  </a:lnTo>
                  <a:lnTo>
                    <a:pt x="551" y="2436"/>
                  </a:lnTo>
                  <a:lnTo>
                    <a:pt x="449" y="2349"/>
                  </a:lnTo>
                  <a:lnTo>
                    <a:pt x="422" y="2325"/>
                  </a:lnTo>
                  <a:lnTo>
                    <a:pt x="395" y="2352"/>
                  </a:lnTo>
                  <a:lnTo>
                    <a:pt x="380" y="2349"/>
                  </a:lnTo>
                  <a:lnTo>
                    <a:pt x="365" y="2331"/>
                  </a:lnTo>
                  <a:lnTo>
                    <a:pt x="321" y="2280"/>
                  </a:lnTo>
                  <a:lnTo>
                    <a:pt x="321" y="2265"/>
                  </a:lnTo>
                  <a:lnTo>
                    <a:pt x="261" y="2217"/>
                  </a:lnTo>
                  <a:lnTo>
                    <a:pt x="246" y="2193"/>
                  </a:lnTo>
                  <a:lnTo>
                    <a:pt x="219" y="2190"/>
                  </a:lnTo>
                  <a:lnTo>
                    <a:pt x="216" y="2175"/>
                  </a:lnTo>
                  <a:lnTo>
                    <a:pt x="222" y="2154"/>
                  </a:lnTo>
                  <a:lnTo>
                    <a:pt x="222" y="2127"/>
                  </a:lnTo>
                  <a:lnTo>
                    <a:pt x="219" y="2106"/>
                  </a:lnTo>
                  <a:lnTo>
                    <a:pt x="207" y="2079"/>
                  </a:lnTo>
                  <a:lnTo>
                    <a:pt x="213" y="2061"/>
                  </a:lnTo>
                  <a:lnTo>
                    <a:pt x="234" y="2058"/>
                  </a:lnTo>
                  <a:lnTo>
                    <a:pt x="255" y="2079"/>
                  </a:lnTo>
                  <a:lnTo>
                    <a:pt x="294" y="2076"/>
                  </a:lnTo>
                  <a:lnTo>
                    <a:pt x="303" y="2061"/>
                  </a:lnTo>
                  <a:lnTo>
                    <a:pt x="300" y="2022"/>
                  </a:lnTo>
                  <a:lnTo>
                    <a:pt x="273" y="1995"/>
                  </a:lnTo>
                  <a:lnTo>
                    <a:pt x="276" y="1968"/>
                  </a:lnTo>
                  <a:lnTo>
                    <a:pt x="285" y="1968"/>
                  </a:lnTo>
                  <a:lnTo>
                    <a:pt x="291" y="1944"/>
                  </a:lnTo>
                  <a:lnTo>
                    <a:pt x="300" y="1926"/>
                  </a:lnTo>
                  <a:lnTo>
                    <a:pt x="321" y="1926"/>
                  </a:lnTo>
                  <a:lnTo>
                    <a:pt x="342" y="1920"/>
                  </a:lnTo>
                  <a:lnTo>
                    <a:pt x="348" y="1896"/>
                  </a:lnTo>
                  <a:lnTo>
                    <a:pt x="377" y="1878"/>
                  </a:lnTo>
                  <a:lnTo>
                    <a:pt x="392" y="1837"/>
                  </a:lnTo>
                  <a:lnTo>
                    <a:pt x="431" y="1810"/>
                  </a:lnTo>
                  <a:lnTo>
                    <a:pt x="422" y="1801"/>
                  </a:lnTo>
                  <a:lnTo>
                    <a:pt x="401" y="1801"/>
                  </a:lnTo>
                  <a:lnTo>
                    <a:pt x="365" y="1747"/>
                  </a:lnTo>
                  <a:lnTo>
                    <a:pt x="333" y="1738"/>
                  </a:lnTo>
                  <a:lnTo>
                    <a:pt x="246" y="1765"/>
                  </a:lnTo>
                  <a:lnTo>
                    <a:pt x="210" y="1756"/>
                  </a:lnTo>
                  <a:lnTo>
                    <a:pt x="135" y="1702"/>
                  </a:lnTo>
                  <a:lnTo>
                    <a:pt x="114" y="1699"/>
                  </a:lnTo>
                  <a:lnTo>
                    <a:pt x="99" y="1663"/>
                  </a:lnTo>
                  <a:lnTo>
                    <a:pt x="111" y="1627"/>
                  </a:lnTo>
                  <a:lnTo>
                    <a:pt x="105" y="1609"/>
                  </a:lnTo>
                  <a:lnTo>
                    <a:pt x="78" y="1591"/>
                  </a:lnTo>
                  <a:lnTo>
                    <a:pt x="69" y="1573"/>
                  </a:lnTo>
                  <a:lnTo>
                    <a:pt x="12" y="1540"/>
                  </a:lnTo>
                  <a:lnTo>
                    <a:pt x="12" y="1531"/>
                  </a:lnTo>
                  <a:lnTo>
                    <a:pt x="39" y="1519"/>
                  </a:lnTo>
                  <a:lnTo>
                    <a:pt x="57" y="1528"/>
                  </a:lnTo>
                  <a:lnTo>
                    <a:pt x="72" y="1513"/>
                  </a:lnTo>
                  <a:lnTo>
                    <a:pt x="66" y="1459"/>
                  </a:lnTo>
                  <a:lnTo>
                    <a:pt x="72" y="1414"/>
                  </a:lnTo>
                  <a:lnTo>
                    <a:pt x="36" y="1375"/>
                  </a:lnTo>
                  <a:lnTo>
                    <a:pt x="9" y="1384"/>
                  </a:lnTo>
                  <a:lnTo>
                    <a:pt x="0" y="1357"/>
                  </a:lnTo>
                  <a:lnTo>
                    <a:pt x="15" y="1330"/>
                  </a:lnTo>
                  <a:lnTo>
                    <a:pt x="6" y="1303"/>
                  </a:lnTo>
                  <a:lnTo>
                    <a:pt x="30" y="1282"/>
                  </a:lnTo>
                  <a:lnTo>
                    <a:pt x="42" y="1273"/>
                  </a:lnTo>
                  <a:lnTo>
                    <a:pt x="42" y="1252"/>
                  </a:lnTo>
                  <a:lnTo>
                    <a:pt x="75" y="1234"/>
                  </a:lnTo>
                  <a:lnTo>
                    <a:pt x="111" y="1228"/>
                  </a:lnTo>
                  <a:lnTo>
                    <a:pt x="141" y="1216"/>
                  </a:lnTo>
                  <a:lnTo>
                    <a:pt x="165" y="1225"/>
                  </a:lnTo>
                  <a:lnTo>
                    <a:pt x="183" y="1216"/>
                  </a:lnTo>
                  <a:lnTo>
                    <a:pt x="189" y="1222"/>
                  </a:lnTo>
                  <a:lnTo>
                    <a:pt x="192" y="1243"/>
                  </a:lnTo>
                  <a:lnTo>
                    <a:pt x="207" y="1252"/>
                  </a:lnTo>
                  <a:lnTo>
                    <a:pt x="246" y="1249"/>
                  </a:lnTo>
                  <a:lnTo>
                    <a:pt x="291" y="1201"/>
                  </a:lnTo>
                  <a:lnTo>
                    <a:pt x="377" y="1219"/>
                  </a:lnTo>
                  <a:lnTo>
                    <a:pt x="422" y="1189"/>
                  </a:lnTo>
                  <a:lnTo>
                    <a:pt x="554" y="1159"/>
                  </a:lnTo>
                  <a:lnTo>
                    <a:pt x="563" y="1141"/>
                  </a:lnTo>
                  <a:lnTo>
                    <a:pt x="575" y="1091"/>
                  </a:lnTo>
                  <a:lnTo>
                    <a:pt x="611" y="1061"/>
                  </a:lnTo>
                  <a:lnTo>
                    <a:pt x="623" y="1061"/>
                  </a:lnTo>
                  <a:lnTo>
                    <a:pt x="623" y="1046"/>
                  </a:lnTo>
                  <a:lnTo>
                    <a:pt x="626" y="920"/>
                  </a:lnTo>
                  <a:lnTo>
                    <a:pt x="632" y="896"/>
                  </a:lnTo>
                  <a:lnTo>
                    <a:pt x="596" y="881"/>
                  </a:lnTo>
                  <a:lnTo>
                    <a:pt x="593" y="872"/>
                  </a:lnTo>
                  <a:lnTo>
                    <a:pt x="632" y="860"/>
                  </a:lnTo>
                  <a:lnTo>
                    <a:pt x="731" y="851"/>
                  </a:lnTo>
                  <a:lnTo>
                    <a:pt x="746" y="872"/>
                  </a:lnTo>
                  <a:lnTo>
                    <a:pt x="779" y="881"/>
                  </a:lnTo>
                  <a:lnTo>
                    <a:pt x="788" y="881"/>
                  </a:lnTo>
                  <a:lnTo>
                    <a:pt x="803" y="863"/>
                  </a:lnTo>
                  <a:lnTo>
                    <a:pt x="785" y="845"/>
                  </a:lnTo>
                  <a:lnTo>
                    <a:pt x="857" y="698"/>
                  </a:lnTo>
                  <a:lnTo>
                    <a:pt x="869" y="689"/>
                  </a:lnTo>
                  <a:lnTo>
                    <a:pt x="935" y="722"/>
                  </a:lnTo>
                  <a:lnTo>
                    <a:pt x="965" y="722"/>
                  </a:lnTo>
                  <a:lnTo>
                    <a:pt x="977" y="740"/>
                  </a:lnTo>
                  <a:lnTo>
                    <a:pt x="1040" y="722"/>
                  </a:lnTo>
                  <a:lnTo>
                    <a:pt x="1058" y="614"/>
                  </a:lnTo>
                  <a:lnTo>
                    <a:pt x="1085" y="596"/>
                  </a:lnTo>
                  <a:lnTo>
                    <a:pt x="1117" y="596"/>
                  </a:lnTo>
                  <a:lnTo>
                    <a:pt x="1138" y="569"/>
                  </a:lnTo>
                  <a:lnTo>
                    <a:pt x="1147" y="542"/>
                  </a:lnTo>
                  <a:lnTo>
                    <a:pt x="1165" y="530"/>
                  </a:lnTo>
                  <a:lnTo>
                    <a:pt x="1207" y="542"/>
                  </a:lnTo>
                  <a:lnTo>
                    <a:pt x="1225" y="542"/>
                  </a:lnTo>
                  <a:lnTo>
                    <a:pt x="1213" y="578"/>
                  </a:lnTo>
                  <a:lnTo>
                    <a:pt x="1228" y="596"/>
                  </a:lnTo>
                  <a:lnTo>
                    <a:pt x="1231" y="608"/>
                  </a:lnTo>
                  <a:lnTo>
                    <a:pt x="1267" y="644"/>
                  </a:lnTo>
                  <a:lnTo>
                    <a:pt x="1276" y="671"/>
                  </a:lnTo>
                  <a:lnTo>
                    <a:pt x="1324" y="674"/>
                  </a:lnTo>
                  <a:lnTo>
                    <a:pt x="1345" y="692"/>
                  </a:lnTo>
                  <a:lnTo>
                    <a:pt x="1357" y="692"/>
                  </a:lnTo>
                  <a:lnTo>
                    <a:pt x="1384" y="752"/>
                  </a:lnTo>
                  <a:lnTo>
                    <a:pt x="1411" y="824"/>
                  </a:lnTo>
                  <a:lnTo>
                    <a:pt x="1396" y="866"/>
                  </a:lnTo>
                  <a:lnTo>
                    <a:pt x="1399" y="881"/>
                  </a:lnTo>
                  <a:lnTo>
                    <a:pt x="1375" y="926"/>
                  </a:lnTo>
                  <a:lnTo>
                    <a:pt x="1381" y="959"/>
                  </a:lnTo>
                  <a:lnTo>
                    <a:pt x="1471" y="998"/>
                  </a:lnTo>
                  <a:lnTo>
                    <a:pt x="1567" y="1010"/>
                  </a:lnTo>
                  <a:lnTo>
                    <a:pt x="1666" y="1079"/>
                  </a:lnTo>
                  <a:lnTo>
                    <a:pt x="1696" y="1091"/>
                  </a:lnTo>
                  <a:lnTo>
                    <a:pt x="1699" y="1109"/>
                  </a:lnTo>
                  <a:lnTo>
                    <a:pt x="1720" y="1153"/>
                  </a:lnTo>
                  <a:lnTo>
                    <a:pt x="1741" y="1207"/>
                  </a:lnTo>
                  <a:lnTo>
                    <a:pt x="1768" y="1255"/>
                  </a:lnTo>
                  <a:close/>
                </a:path>
              </a:pathLst>
            </a:custGeom>
            <a:solidFill>
              <a:srgbClr val="CCECFF"/>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2" name="Freeform 136"/>
            <p:cNvSpPr>
              <a:spLocks/>
            </p:cNvSpPr>
            <p:nvPr/>
          </p:nvSpPr>
          <p:spPr bwMode="auto">
            <a:xfrm>
              <a:off x="395536" y="1084287"/>
              <a:ext cx="6215063" cy="4848225"/>
            </a:xfrm>
            <a:custGeom>
              <a:avLst/>
              <a:gdLst>
                <a:gd name="T0" fmla="*/ 943 w 4428"/>
                <a:gd name="T1" fmla="*/ 440 h 3493"/>
                <a:gd name="T2" fmla="*/ 1151 w 4428"/>
                <a:gd name="T3" fmla="*/ 406 h 3493"/>
                <a:gd name="T4" fmla="*/ 1243 w 4428"/>
                <a:gd name="T5" fmla="*/ 330 h 3493"/>
                <a:gd name="T6" fmla="*/ 1351 w 4428"/>
                <a:gd name="T7" fmla="*/ 257 h 3493"/>
                <a:gd name="T8" fmla="*/ 1345 w 4428"/>
                <a:gd name="T9" fmla="*/ 208 h 3493"/>
                <a:gd name="T10" fmla="*/ 1307 w 4428"/>
                <a:gd name="T11" fmla="*/ 150 h 3493"/>
                <a:gd name="T12" fmla="*/ 1397 w 4428"/>
                <a:gd name="T13" fmla="*/ 63 h 3493"/>
                <a:gd name="T14" fmla="*/ 1455 w 4428"/>
                <a:gd name="T15" fmla="*/ 0 h 3493"/>
                <a:gd name="T16" fmla="*/ 1571 w 4428"/>
                <a:gd name="T17" fmla="*/ 64 h 3493"/>
                <a:gd name="T18" fmla="*/ 1648 w 4428"/>
                <a:gd name="T19" fmla="*/ 111 h 3493"/>
                <a:gd name="T20" fmla="*/ 1755 w 4428"/>
                <a:gd name="T21" fmla="*/ 143 h 3493"/>
                <a:gd name="T22" fmla="*/ 1813 w 4428"/>
                <a:gd name="T23" fmla="*/ 141 h 3493"/>
                <a:gd name="T24" fmla="*/ 1762 w 4428"/>
                <a:gd name="T25" fmla="*/ 238 h 3493"/>
                <a:gd name="T26" fmla="*/ 1755 w 4428"/>
                <a:gd name="T27" fmla="*/ 316 h 3493"/>
                <a:gd name="T28" fmla="*/ 1698 w 4428"/>
                <a:gd name="T29" fmla="*/ 359 h 3493"/>
                <a:gd name="T30" fmla="*/ 1622 w 4428"/>
                <a:gd name="T31" fmla="*/ 419 h 3493"/>
                <a:gd name="T32" fmla="*/ 1523 w 4428"/>
                <a:gd name="T33" fmla="*/ 476 h 3493"/>
                <a:gd name="T34" fmla="*/ 1462 w 4428"/>
                <a:gd name="T35" fmla="*/ 462 h 3493"/>
                <a:gd name="T36" fmla="*/ 1406 w 4428"/>
                <a:gd name="T37" fmla="*/ 526 h 3493"/>
                <a:gd name="T38" fmla="*/ 1475 w 4428"/>
                <a:gd name="T39" fmla="*/ 557 h 3493"/>
                <a:gd name="T40" fmla="*/ 1544 w 4428"/>
                <a:gd name="T41" fmla="*/ 557 h 3493"/>
                <a:gd name="T42" fmla="*/ 1500 w 4428"/>
                <a:gd name="T43" fmla="*/ 638 h 3493"/>
                <a:gd name="T44" fmla="*/ 1583 w 4428"/>
                <a:gd name="T45" fmla="*/ 721 h 3493"/>
                <a:gd name="T46" fmla="*/ 1590 w 4428"/>
                <a:gd name="T47" fmla="*/ 735 h 3493"/>
                <a:gd name="T48" fmla="*/ 1561 w 4428"/>
                <a:gd name="T49" fmla="*/ 775 h 3493"/>
                <a:gd name="T50" fmla="*/ 1608 w 4428"/>
                <a:gd name="T51" fmla="*/ 828 h 3493"/>
                <a:gd name="T52" fmla="*/ 1548 w 4428"/>
                <a:gd name="T53" fmla="*/ 894 h 3493"/>
                <a:gd name="T54" fmla="*/ 1534 w 4428"/>
                <a:gd name="T55" fmla="*/ 951 h 3493"/>
                <a:gd name="T56" fmla="*/ 1507 w 4428"/>
                <a:gd name="T57" fmla="*/ 979 h 3493"/>
                <a:gd name="T58" fmla="*/ 1452 w 4428"/>
                <a:gd name="T59" fmla="*/ 1029 h 3493"/>
                <a:gd name="T60" fmla="*/ 1388 w 4428"/>
                <a:gd name="T61" fmla="*/ 1043 h 3493"/>
                <a:gd name="T62" fmla="*/ 1309 w 4428"/>
                <a:gd name="T63" fmla="*/ 1083 h 3493"/>
                <a:gd name="T64" fmla="*/ 1224 w 4428"/>
                <a:gd name="T65" fmla="*/ 1141 h 3493"/>
                <a:gd name="T66" fmla="*/ 1137 w 4428"/>
                <a:gd name="T67" fmla="*/ 1102 h 3493"/>
                <a:gd name="T68" fmla="*/ 1061 w 4428"/>
                <a:gd name="T69" fmla="*/ 1059 h 3493"/>
                <a:gd name="T70" fmla="*/ 986 w 4428"/>
                <a:gd name="T71" fmla="*/ 1068 h 3493"/>
                <a:gd name="T72" fmla="*/ 918 w 4428"/>
                <a:gd name="T73" fmla="*/ 1071 h 3493"/>
                <a:gd name="T74" fmla="*/ 882 w 4428"/>
                <a:gd name="T75" fmla="*/ 1120 h 3493"/>
                <a:gd name="T76" fmla="*/ 816 w 4428"/>
                <a:gd name="T77" fmla="*/ 1098 h 3493"/>
                <a:gd name="T78" fmla="*/ 797 w 4428"/>
                <a:gd name="T79" fmla="*/ 1055 h 3493"/>
                <a:gd name="T80" fmla="*/ 729 w 4428"/>
                <a:gd name="T81" fmla="*/ 1028 h 3493"/>
                <a:gd name="T82" fmla="*/ 774 w 4428"/>
                <a:gd name="T83" fmla="*/ 910 h 3493"/>
                <a:gd name="T84" fmla="*/ 691 w 4428"/>
                <a:gd name="T85" fmla="*/ 877 h 3493"/>
                <a:gd name="T86" fmla="*/ 639 w 4428"/>
                <a:gd name="T87" fmla="*/ 850 h 3493"/>
                <a:gd name="T88" fmla="*/ 525 w 4428"/>
                <a:gd name="T89" fmla="*/ 889 h 3493"/>
                <a:gd name="T90" fmla="*/ 411 w 4428"/>
                <a:gd name="T91" fmla="*/ 887 h 3493"/>
                <a:gd name="T92" fmla="*/ 312 w 4428"/>
                <a:gd name="T93" fmla="*/ 860 h 3493"/>
                <a:gd name="T94" fmla="*/ 244 w 4428"/>
                <a:gd name="T95" fmla="*/ 811 h 3493"/>
                <a:gd name="T96" fmla="*/ 133 w 4428"/>
                <a:gd name="T97" fmla="*/ 744 h 3493"/>
                <a:gd name="T98" fmla="*/ 90 w 4428"/>
                <a:gd name="T99" fmla="*/ 688 h 3493"/>
                <a:gd name="T100" fmla="*/ 113 w 4428"/>
                <a:gd name="T101" fmla="*/ 652 h 3493"/>
                <a:gd name="T102" fmla="*/ 155 w 4428"/>
                <a:gd name="T103" fmla="*/ 612 h 3493"/>
                <a:gd name="T104" fmla="*/ 86 w 4428"/>
                <a:gd name="T105" fmla="*/ 573 h 3493"/>
                <a:gd name="T106" fmla="*/ 5 w 4428"/>
                <a:gd name="T107" fmla="*/ 502 h 3493"/>
                <a:gd name="T108" fmla="*/ 5 w 4428"/>
                <a:gd name="T109" fmla="*/ 451 h 3493"/>
                <a:gd name="T110" fmla="*/ 45 w 4428"/>
                <a:gd name="T111" fmla="*/ 401 h 3493"/>
                <a:gd name="T112" fmla="*/ 120 w 4428"/>
                <a:gd name="T113" fmla="*/ 392 h 3493"/>
                <a:gd name="T114" fmla="*/ 257 w 4428"/>
                <a:gd name="T115" fmla="*/ 341 h 3493"/>
                <a:gd name="T116" fmla="*/ 320 w 4428"/>
                <a:gd name="T117" fmla="*/ 287 h 3493"/>
                <a:gd name="T118" fmla="*/ 402 w 4428"/>
                <a:gd name="T119" fmla="*/ 241 h 3493"/>
                <a:gd name="T120" fmla="*/ 497 w 4428"/>
                <a:gd name="T121" fmla="*/ 177 h 3493"/>
                <a:gd name="T122" fmla="*/ 555 w 4428"/>
                <a:gd name="T123" fmla="*/ 226 h 3493"/>
                <a:gd name="T124" fmla="*/ 606 w 4428"/>
                <a:gd name="T125" fmla="*/ 326 h 34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428" h="3493">
                  <a:moveTo>
                    <a:pt x="1768" y="1255"/>
                  </a:moveTo>
                  <a:lnTo>
                    <a:pt x="1783" y="1258"/>
                  </a:lnTo>
                  <a:lnTo>
                    <a:pt x="1837" y="1267"/>
                  </a:lnTo>
                  <a:lnTo>
                    <a:pt x="2004" y="1282"/>
                  </a:lnTo>
                  <a:lnTo>
                    <a:pt x="2031" y="1273"/>
                  </a:lnTo>
                  <a:lnTo>
                    <a:pt x="2169" y="1288"/>
                  </a:lnTo>
                  <a:lnTo>
                    <a:pt x="2196" y="1318"/>
                  </a:lnTo>
                  <a:lnTo>
                    <a:pt x="2289" y="1348"/>
                  </a:lnTo>
                  <a:lnTo>
                    <a:pt x="2373" y="1351"/>
                  </a:lnTo>
                  <a:lnTo>
                    <a:pt x="2379" y="1369"/>
                  </a:lnTo>
                  <a:lnTo>
                    <a:pt x="2397" y="1378"/>
                  </a:lnTo>
                  <a:lnTo>
                    <a:pt x="2457" y="1339"/>
                  </a:lnTo>
                  <a:lnTo>
                    <a:pt x="2591" y="1282"/>
                  </a:lnTo>
                  <a:lnTo>
                    <a:pt x="2609" y="1285"/>
                  </a:lnTo>
                  <a:lnTo>
                    <a:pt x="2726" y="1273"/>
                  </a:lnTo>
                  <a:lnTo>
                    <a:pt x="2795" y="1243"/>
                  </a:lnTo>
                  <a:lnTo>
                    <a:pt x="2849" y="1174"/>
                  </a:lnTo>
                  <a:lnTo>
                    <a:pt x="2888" y="1153"/>
                  </a:lnTo>
                  <a:lnTo>
                    <a:pt x="2915" y="1123"/>
                  </a:lnTo>
                  <a:lnTo>
                    <a:pt x="2873" y="1064"/>
                  </a:lnTo>
                  <a:lnTo>
                    <a:pt x="2888" y="1013"/>
                  </a:lnTo>
                  <a:lnTo>
                    <a:pt x="2918" y="983"/>
                  </a:lnTo>
                  <a:lnTo>
                    <a:pt x="2942" y="995"/>
                  </a:lnTo>
                  <a:lnTo>
                    <a:pt x="3017" y="1010"/>
                  </a:lnTo>
                  <a:lnTo>
                    <a:pt x="3056" y="989"/>
                  </a:lnTo>
                  <a:lnTo>
                    <a:pt x="3095" y="935"/>
                  </a:lnTo>
                  <a:lnTo>
                    <a:pt x="3134" y="929"/>
                  </a:lnTo>
                  <a:lnTo>
                    <a:pt x="3191" y="890"/>
                  </a:lnTo>
                  <a:lnTo>
                    <a:pt x="3197" y="860"/>
                  </a:lnTo>
                  <a:lnTo>
                    <a:pt x="3224" y="821"/>
                  </a:lnTo>
                  <a:lnTo>
                    <a:pt x="3263" y="812"/>
                  </a:lnTo>
                  <a:lnTo>
                    <a:pt x="3281" y="785"/>
                  </a:lnTo>
                  <a:lnTo>
                    <a:pt x="3302" y="788"/>
                  </a:lnTo>
                  <a:lnTo>
                    <a:pt x="3331" y="767"/>
                  </a:lnTo>
                  <a:lnTo>
                    <a:pt x="3418" y="761"/>
                  </a:lnTo>
                  <a:lnTo>
                    <a:pt x="3433" y="749"/>
                  </a:lnTo>
                  <a:lnTo>
                    <a:pt x="3433" y="734"/>
                  </a:lnTo>
                  <a:lnTo>
                    <a:pt x="3358" y="656"/>
                  </a:lnTo>
                  <a:lnTo>
                    <a:pt x="3299" y="632"/>
                  </a:lnTo>
                  <a:lnTo>
                    <a:pt x="3266" y="641"/>
                  </a:lnTo>
                  <a:lnTo>
                    <a:pt x="3248" y="671"/>
                  </a:lnTo>
                  <a:lnTo>
                    <a:pt x="3188" y="665"/>
                  </a:lnTo>
                  <a:lnTo>
                    <a:pt x="3149" y="686"/>
                  </a:lnTo>
                  <a:lnTo>
                    <a:pt x="3125" y="668"/>
                  </a:lnTo>
                  <a:lnTo>
                    <a:pt x="3116" y="641"/>
                  </a:lnTo>
                  <a:lnTo>
                    <a:pt x="3134" y="623"/>
                  </a:lnTo>
                  <a:lnTo>
                    <a:pt x="3170" y="473"/>
                  </a:lnTo>
                  <a:lnTo>
                    <a:pt x="3176" y="461"/>
                  </a:lnTo>
                  <a:lnTo>
                    <a:pt x="3200" y="470"/>
                  </a:lnTo>
                  <a:lnTo>
                    <a:pt x="3245" y="479"/>
                  </a:lnTo>
                  <a:lnTo>
                    <a:pt x="3331" y="416"/>
                  </a:lnTo>
                  <a:lnTo>
                    <a:pt x="3340" y="398"/>
                  </a:lnTo>
                  <a:lnTo>
                    <a:pt x="3328" y="374"/>
                  </a:lnTo>
                  <a:lnTo>
                    <a:pt x="3364" y="240"/>
                  </a:lnTo>
                  <a:lnTo>
                    <a:pt x="3385" y="210"/>
                  </a:lnTo>
                  <a:lnTo>
                    <a:pt x="3394" y="189"/>
                  </a:lnTo>
                  <a:lnTo>
                    <a:pt x="3376" y="138"/>
                  </a:lnTo>
                  <a:lnTo>
                    <a:pt x="3349" y="135"/>
                  </a:lnTo>
                  <a:lnTo>
                    <a:pt x="3337" y="126"/>
                  </a:lnTo>
                  <a:lnTo>
                    <a:pt x="3370" y="75"/>
                  </a:lnTo>
                  <a:lnTo>
                    <a:pt x="3412" y="45"/>
                  </a:lnTo>
                  <a:lnTo>
                    <a:pt x="3427" y="45"/>
                  </a:lnTo>
                  <a:lnTo>
                    <a:pt x="3442" y="33"/>
                  </a:lnTo>
                  <a:lnTo>
                    <a:pt x="3532" y="0"/>
                  </a:lnTo>
                  <a:lnTo>
                    <a:pt x="3598" y="15"/>
                  </a:lnTo>
                  <a:lnTo>
                    <a:pt x="3628" y="21"/>
                  </a:lnTo>
                  <a:lnTo>
                    <a:pt x="3661" y="9"/>
                  </a:lnTo>
                  <a:lnTo>
                    <a:pt x="3712" y="36"/>
                  </a:lnTo>
                  <a:lnTo>
                    <a:pt x="3724" y="63"/>
                  </a:lnTo>
                  <a:lnTo>
                    <a:pt x="3766" y="114"/>
                  </a:lnTo>
                  <a:lnTo>
                    <a:pt x="3778" y="144"/>
                  </a:lnTo>
                  <a:lnTo>
                    <a:pt x="3814" y="195"/>
                  </a:lnTo>
                  <a:lnTo>
                    <a:pt x="3829" y="219"/>
                  </a:lnTo>
                  <a:lnTo>
                    <a:pt x="3856" y="246"/>
                  </a:lnTo>
                  <a:lnTo>
                    <a:pt x="3865" y="270"/>
                  </a:lnTo>
                  <a:lnTo>
                    <a:pt x="3883" y="291"/>
                  </a:lnTo>
                  <a:lnTo>
                    <a:pt x="3904" y="321"/>
                  </a:lnTo>
                  <a:lnTo>
                    <a:pt x="3940" y="333"/>
                  </a:lnTo>
                  <a:lnTo>
                    <a:pt x="3979" y="327"/>
                  </a:lnTo>
                  <a:lnTo>
                    <a:pt x="4003" y="339"/>
                  </a:lnTo>
                  <a:lnTo>
                    <a:pt x="4027" y="330"/>
                  </a:lnTo>
                  <a:lnTo>
                    <a:pt x="4083" y="360"/>
                  </a:lnTo>
                  <a:lnTo>
                    <a:pt x="4116" y="362"/>
                  </a:lnTo>
                  <a:lnTo>
                    <a:pt x="4125" y="392"/>
                  </a:lnTo>
                  <a:lnTo>
                    <a:pt x="4143" y="419"/>
                  </a:lnTo>
                  <a:lnTo>
                    <a:pt x="4140" y="437"/>
                  </a:lnTo>
                  <a:lnTo>
                    <a:pt x="4179" y="467"/>
                  </a:lnTo>
                  <a:lnTo>
                    <a:pt x="4263" y="437"/>
                  </a:lnTo>
                  <a:lnTo>
                    <a:pt x="4296" y="392"/>
                  </a:lnTo>
                  <a:lnTo>
                    <a:pt x="4332" y="374"/>
                  </a:lnTo>
                  <a:lnTo>
                    <a:pt x="4365" y="336"/>
                  </a:lnTo>
                  <a:lnTo>
                    <a:pt x="4395" y="327"/>
                  </a:lnTo>
                  <a:lnTo>
                    <a:pt x="4407" y="342"/>
                  </a:lnTo>
                  <a:lnTo>
                    <a:pt x="4401" y="360"/>
                  </a:lnTo>
                  <a:lnTo>
                    <a:pt x="4428" y="389"/>
                  </a:lnTo>
                  <a:lnTo>
                    <a:pt x="4404" y="434"/>
                  </a:lnTo>
                  <a:lnTo>
                    <a:pt x="4407" y="575"/>
                  </a:lnTo>
                  <a:lnTo>
                    <a:pt x="4398" y="602"/>
                  </a:lnTo>
                  <a:lnTo>
                    <a:pt x="4404" y="617"/>
                  </a:lnTo>
                  <a:lnTo>
                    <a:pt x="4389" y="647"/>
                  </a:lnTo>
                  <a:lnTo>
                    <a:pt x="4392" y="677"/>
                  </a:lnTo>
                  <a:lnTo>
                    <a:pt x="4377" y="689"/>
                  </a:lnTo>
                  <a:lnTo>
                    <a:pt x="4302" y="689"/>
                  </a:lnTo>
                  <a:lnTo>
                    <a:pt x="4281" y="728"/>
                  </a:lnTo>
                  <a:lnTo>
                    <a:pt x="4257" y="752"/>
                  </a:lnTo>
                  <a:lnTo>
                    <a:pt x="4299" y="815"/>
                  </a:lnTo>
                  <a:lnTo>
                    <a:pt x="4302" y="869"/>
                  </a:lnTo>
                  <a:lnTo>
                    <a:pt x="4314" y="887"/>
                  </a:lnTo>
                  <a:lnTo>
                    <a:pt x="4320" y="899"/>
                  </a:lnTo>
                  <a:lnTo>
                    <a:pt x="4311" y="932"/>
                  </a:lnTo>
                  <a:lnTo>
                    <a:pt x="4275" y="977"/>
                  </a:lnTo>
                  <a:lnTo>
                    <a:pt x="4263" y="965"/>
                  </a:lnTo>
                  <a:lnTo>
                    <a:pt x="4248" y="953"/>
                  </a:lnTo>
                  <a:lnTo>
                    <a:pt x="4236" y="956"/>
                  </a:lnTo>
                  <a:lnTo>
                    <a:pt x="4230" y="983"/>
                  </a:lnTo>
                  <a:lnTo>
                    <a:pt x="4227" y="1019"/>
                  </a:lnTo>
                  <a:lnTo>
                    <a:pt x="4200" y="1031"/>
                  </a:lnTo>
                  <a:lnTo>
                    <a:pt x="4182" y="1070"/>
                  </a:lnTo>
                  <a:lnTo>
                    <a:pt x="4134" y="1085"/>
                  </a:lnTo>
                  <a:lnTo>
                    <a:pt x="4125" y="1097"/>
                  </a:lnTo>
                  <a:lnTo>
                    <a:pt x="4152" y="1132"/>
                  </a:lnTo>
                  <a:lnTo>
                    <a:pt x="4134" y="1150"/>
                  </a:lnTo>
                  <a:lnTo>
                    <a:pt x="4080" y="1156"/>
                  </a:lnTo>
                  <a:lnTo>
                    <a:pt x="4051" y="1138"/>
                  </a:lnTo>
                  <a:lnTo>
                    <a:pt x="4036" y="1141"/>
                  </a:lnTo>
                  <a:lnTo>
                    <a:pt x="4006" y="1225"/>
                  </a:lnTo>
                  <a:lnTo>
                    <a:pt x="3976" y="1246"/>
                  </a:lnTo>
                  <a:lnTo>
                    <a:pt x="3940" y="1285"/>
                  </a:lnTo>
                  <a:lnTo>
                    <a:pt x="3886" y="1366"/>
                  </a:lnTo>
                  <a:lnTo>
                    <a:pt x="3859" y="1372"/>
                  </a:lnTo>
                  <a:lnTo>
                    <a:pt x="3772" y="1420"/>
                  </a:lnTo>
                  <a:lnTo>
                    <a:pt x="3715" y="1495"/>
                  </a:lnTo>
                  <a:lnTo>
                    <a:pt x="3676" y="1516"/>
                  </a:lnTo>
                  <a:lnTo>
                    <a:pt x="3673" y="1507"/>
                  </a:lnTo>
                  <a:lnTo>
                    <a:pt x="3694" y="1483"/>
                  </a:lnTo>
                  <a:lnTo>
                    <a:pt x="3697" y="1459"/>
                  </a:lnTo>
                  <a:lnTo>
                    <a:pt x="3667" y="1438"/>
                  </a:lnTo>
                  <a:lnTo>
                    <a:pt x="3700" y="1387"/>
                  </a:lnTo>
                  <a:lnTo>
                    <a:pt x="3724" y="1333"/>
                  </a:lnTo>
                  <a:lnTo>
                    <a:pt x="3691" y="1300"/>
                  </a:lnTo>
                  <a:lnTo>
                    <a:pt x="3637" y="1312"/>
                  </a:lnTo>
                  <a:lnTo>
                    <a:pt x="3604" y="1366"/>
                  </a:lnTo>
                  <a:lnTo>
                    <a:pt x="3571" y="1405"/>
                  </a:lnTo>
                  <a:lnTo>
                    <a:pt x="3553" y="1414"/>
                  </a:lnTo>
                  <a:lnTo>
                    <a:pt x="3514" y="1471"/>
                  </a:lnTo>
                  <a:lnTo>
                    <a:pt x="3514" y="1492"/>
                  </a:lnTo>
                  <a:lnTo>
                    <a:pt x="3448" y="1528"/>
                  </a:lnTo>
                  <a:lnTo>
                    <a:pt x="3421" y="1516"/>
                  </a:lnTo>
                  <a:lnTo>
                    <a:pt x="3403" y="1531"/>
                  </a:lnTo>
                  <a:lnTo>
                    <a:pt x="3394" y="1561"/>
                  </a:lnTo>
                  <a:lnTo>
                    <a:pt x="3403" y="1582"/>
                  </a:lnTo>
                  <a:lnTo>
                    <a:pt x="3415" y="1612"/>
                  </a:lnTo>
                  <a:lnTo>
                    <a:pt x="3430" y="1621"/>
                  </a:lnTo>
                  <a:lnTo>
                    <a:pt x="3451" y="1639"/>
                  </a:lnTo>
                  <a:lnTo>
                    <a:pt x="3490" y="1630"/>
                  </a:lnTo>
                  <a:lnTo>
                    <a:pt x="3511" y="1642"/>
                  </a:lnTo>
                  <a:lnTo>
                    <a:pt x="3520" y="1678"/>
                  </a:lnTo>
                  <a:lnTo>
                    <a:pt x="3523" y="1699"/>
                  </a:lnTo>
                  <a:lnTo>
                    <a:pt x="3565" y="1717"/>
                  </a:lnTo>
                  <a:lnTo>
                    <a:pt x="3583" y="1705"/>
                  </a:lnTo>
                  <a:lnTo>
                    <a:pt x="3646" y="1624"/>
                  </a:lnTo>
                  <a:lnTo>
                    <a:pt x="3670" y="1621"/>
                  </a:lnTo>
                  <a:lnTo>
                    <a:pt x="3712" y="1639"/>
                  </a:lnTo>
                  <a:lnTo>
                    <a:pt x="3775" y="1633"/>
                  </a:lnTo>
                  <a:lnTo>
                    <a:pt x="3802" y="1636"/>
                  </a:lnTo>
                  <a:lnTo>
                    <a:pt x="3808" y="1675"/>
                  </a:lnTo>
                  <a:lnTo>
                    <a:pt x="3787" y="1693"/>
                  </a:lnTo>
                  <a:lnTo>
                    <a:pt x="3748" y="1705"/>
                  </a:lnTo>
                  <a:lnTo>
                    <a:pt x="3694" y="1753"/>
                  </a:lnTo>
                  <a:lnTo>
                    <a:pt x="3685" y="1780"/>
                  </a:lnTo>
                  <a:lnTo>
                    <a:pt x="3664" y="1789"/>
                  </a:lnTo>
                  <a:lnTo>
                    <a:pt x="3649" y="1786"/>
                  </a:lnTo>
                  <a:lnTo>
                    <a:pt x="3637" y="1798"/>
                  </a:lnTo>
                  <a:lnTo>
                    <a:pt x="3649" y="1816"/>
                  </a:lnTo>
                  <a:lnTo>
                    <a:pt x="3586" y="1920"/>
                  </a:lnTo>
                  <a:lnTo>
                    <a:pt x="3643" y="1959"/>
                  </a:lnTo>
                  <a:lnTo>
                    <a:pt x="3685" y="1977"/>
                  </a:lnTo>
                  <a:lnTo>
                    <a:pt x="3763" y="2106"/>
                  </a:lnTo>
                  <a:lnTo>
                    <a:pt x="3760" y="2118"/>
                  </a:lnTo>
                  <a:lnTo>
                    <a:pt x="3811" y="2142"/>
                  </a:lnTo>
                  <a:lnTo>
                    <a:pt x="3826" y="2166"/>
                  </a:lnTo>
                  <a:lnTo>
                    <a:pt x="3850" y="2178"/>
                  </a:lnTo>
                  <a:lnTo>
                    <a:pt x="3862" y="2199"/>
                  </a:lnTo>
                  <a:lnTo>
                    <a:pt x="3844" y="2208"/>
                  </a:lnTo>
                  <a:lnTo>
                    <a:pt x="3817" y="2199"/>
                  </a:lnTo>
                  <a:lnTo>
                    <a:pt x="3781" y="2199"/>
                  </a:lnTo>
                  <a:lnTo>
                    <a:pt x="3748" y="2187"/>
                  </a:lnTo>
                  <a:lnTo>
                    <a:pt x="3733" y="2199"/>
                  </a:lnTo>
                  <a:lnTo>
                    <a:pt x="3766" y="2208"/>
                  </a:lnTo>
                  <a:lnTo>
                    <a:pt x="3796" y="2220"/>
                  </a:lnTo>
                  <a:lnTo>
                    <a:pt x="3826" y="2235"/>
                  </a:lnTo>
                  <a:lnTo>
                    <a:pt x="3862" y="2250"/>
                  </a:lnTo>
                  <a:lnTo>
                    <a:pt x="3877" y="2271"/>
                  </a:lnTo>
                  <a:lnTo>
                    <a:pt x="3865" y="2286"/>
                  </a:lnTo>
                  <a:lnTo>
                    <a:pt x="3832" y="2313"/>
                  </a:lnTo>
                  <a:lnTo>
                    <a:pt x="3817" y="2322"/>
                  </a:lnTo>
                  <a:lnTo>
                    <a:pt x="3802" y="2349"/>
                  </a:lnTo>
                  <a:lnTo>
                    <a:pt x="3778" y="2355"/>
                  </a:lnTo>
                  <a:lnTo>
                    <a:pt x="3769" y="2361"/>
                  </a:lnTo>
                  <a:lnTo>
                    <a:pt x="3793" y="2376"/>
                  </a:lnTo>
                  <a:lnTo>
                    <a:pt x="3838" y="2355"/>
                  </a:lnTo>
                  <a:lnTo>
                    <a:pt x="3913" y="2388"/>
                  </a:lnTo>
                  <a:lnTo>
                    <a:pt x="3922" y="2451"/>
                  </a:lnTo>
                  <a:lnTo>
                    <a:pt x="3889" y="2451"/>
                  </a:lnTo>
                  <a:lnTo>
                    <a:pt x="3889" y="2469"/>
                  </a:lnTo>
                  <a:lnTo>
                    <a:pt x="3904" y="2496"/>
                  </a:lnTo>
                  <a:lnTo>
                    <a:pt x="3889" y="2511"/>
                  </a:lnTo>
                  <a:lnTo>
                    <a:pt x="3907" y="2538"/>
                  </a:lnTo>
                  <a:lnTo>
                    <a:pt x="3883" y="2568"/>
                  </a:lnTo>
                  <a:lnTo>
                    <a:pt x="3871" y="2553"/>
                  </a:lnTo>
                  <a:lnTo>
                    <a:pt x="3835" y="2645"/>
                  </a:lnTo>
                  <a:lnTo>
                    <a:pt x="3829" y="2660"/>
                  </a:lnTo>
                  <a:lnTo>
                    <a:pt x="3796" y="2735"/>
                  </a:lnTo>
                  <a:lnTo>
                    <a:pt x="3778" y="2726"/>
                  </a:lnTo>
                  <a:lnTo>
                    <a:pt x="3763" y="2735"/>
                  </a:lnTo>
                  <a:lnTo>
                    <a:pt x="3763" y="2741"/>
                  </a:lnTo>
                  <a:lnTo>
                    <a:pt x="3781" y="2762"/>
                  </a:lnTo>
                  <a:lnTo>
                    <a:pt x="3775" y="2831"/>
                  </a:lnTo>
                  <a:lnTo>
                    <a:pt x="3781" y="2855"/>
                  </a:lnTo>
                  <a:lnTo>
                    <a:pt x="3775" y="2861"/>
                  </a:lnTo>
                  <a:lnTo>
                    <a:pt x="3754" y="2858"/>
                  </a:lnTo>
                  <a:lnTo>
                    <a:pt x="3742" y="2870"/>
                  </a:lnTo>
                  <a:lnTo>
                    <a:pt x="3751" y="2888"/>
                  </a:lnTo>
                  <a:lnTo>
                    <a:pt x="3724" y="2915"/>
                  </a:lnTo>
                  <a:lnTo>
                    <a:pt x="3730" y="2924"/>
                  </a:lnTo>
                  <a:lnTo>
                    <a:pt x="3706" y="2936"/>
                  </a:lnTo>
                  <a:lnTo>
                    <a:pt x="3709" y="2954"/>
                  </a:lnTo>
                  <a:lnTo>
                    <a:pt x="3700" y="2963"/>
                  </a:lnTo>
                  <a:lnTo>
                    <a:pt x="3667" y="2963"/>
                  </a:lnTo>
                  <a:lnTo>
                    <a:pt x="3649" y="2981"/>
                  </a:lnTo>
                  <a:lnTo>
                    <a:pt x="3646" y="2987"/>
                  </a:lnTo>
                  <a:lnTo>
                    <a:pt x="3661" y="2999"/>
                  </a:lnTo>
                  <a:lnTo>
                    <a:pt x="3643" y="3026"/>
                  </a:lnTo>
                  <a:lnTo>
                    <a:pt x="3619" y="3056"/>
                  </a:lnTo>
                  <a:lnTo>
                    <a:pt x="3610" y="3053"/>
                  </a:lnTo>
                  <a:lnTo>
                    <a:pt x="3586" y="3077"/>
                  </a:lnTo>
                  <a:lnTo>
                    <a:pt x="3568" y="3092"/>
                  </a:lnTo>
                  <a:lnTo>
                    <a:pt x="3553" y="3119"/>
                  </a:lnTo>
                  <a:lnTo>
                    <a:pt x="3538" y="3125"/>
                  </a:lnTo>
                  <a:lnTo>
                    <a:pt x="3526" y="3152"/>
                  </a:lnTo>
                  <a:lnTo>
                    <a:pt x="3478" y="3176"/>
                  </a:lnTo>
                  <a:lnTo>
                    <a:pt x="3460" y="3167"/>
                  </a:lnTo>
                  <a:lnTo>
                    <a:pt x="3451" y="3185"/>
                  </a:lnTo>
                  <a:lnTo>
                    <a:pt x="3451" y="3191"/>
                  </a:lnTo>
                  <a:lnTo>
                    <a:pt x="3436" y="3191"/>
                  </a:lnTo>
                  <a:lnTo>
                    <a:pt x="3412" y="3191"/>
                  </a:lnTo>
                  <a:lnTo>
                    <a:pt x="3388" y="3206"/>
                  </a:lnTo>
                  <a:lnTo>
                    <a:pt x="3373" y="3197"/>
                  </a:lnTo>
                  <a:lnTo>
                    <a:pt x="3352" y="3212"/>
                  </a:lnTo>
                  <a:lnTo>
                    <a:pt x="3302" y="3233"/>
                  </a:lnTo>
                  <a:lnTo>
                    <a:pt x="3263" y="3200"/>
                  </a:lnTo>
                  <a:lnTo>
                    <a:pt x="3260" y="3224"/>
                  </a:lnTo>
                  <a:lnTo>
                    <a:pt x="3275" y="3263"/>
                  </a:lnTo>
                  <a:lnTo>
                    <a:pt x="3236" y="3278"/>
                  </a:lnTo>
                  <a:lnTo>
                    <a:pt x="3218" y="3308"/>
                  </a:lnTo>
                  <a:lnTo>
                    <a:pt x="3179" y="3317"/>
                  </a:lnTo>
                  <a:lnTo>
                    <a:pt x="3158" y="3326"/>
                  </a:lnTo>
                  <a:lnTo>
                    <a:pt x="3116" y="3326"/>
                  </a:lnTo>
                  <a:lnTo>
                    <a:pt x="3089" y="3353"/>
                  </a:lnTo>
                  <a:lnTo>
                    <a:pt x="3017" y="3376"/>
                  </a:lnTo>
                  <a:lnTo>
                    <a:pt x="2981" y="3400"/>
                  </a:lnTo>
                  <a:lnTo>
                    <a:pt x="2963" y="3418"/>
                  </a:lnTo>
                  <a:lnTo>
                    <a:pt x="2996" y="3475"/>
                  </a:lnTo>
                  <a:lnTo>
                    <a:pt x="2972" y="3493"/>
                  </a:lnTo>
                  <a:lnTo>
                    <a:pt x="2945" y="3493"/>
                  </a:lnTo>
                  <a:lnTo>
                    <a:pt x="2915" y="3433"/>
                  </a:lnTo>
                  <a:lnTo>
                    <a:pt x="2921" y="3391"/>
                  </a:lnTo>
                  <a:lnTo>
                    <a:pt x="2921" y="3373"/>
                  </a:lnTo>
                  <a:lnTo>
                    <a:pt x="2861" y="3382"/>
                  </a:lnTo>
                  <a:lnTo>
                    <a:pt x="2831" y="3358"/>
                  </a:lnTo>
                  <a:lnTo>
                    <a:pt x="2798" y="3347"/>
                  </a:lnTo>
                  <a:lnTo>
                    <a:pt x="2765" y="3376"/>
                  </a:lnTo>
                  <a:lnTo>
                    <a:pt x="2732" y="3379"/>
                  </a:lnTo>
                  <a:lnTo>
                    <a:pt x="2699" y="3382"/>
                  </a:lnTo>
                  <a:lnTo>
                    <a:pt x="2627" y="3341"/>
                  </a:lnTo>
                  <a:lnTo>
                    <a:pt x="2615" y="3305"/>
                  </a:lnTo>
                  <a:lnTo>
                    <a:pt x="2633" y="3269"/>
                  </a:lnTo>
                  <a:lnTo>
                    <a:pt x="2612" y="3254"/>
                  </a:lnTo>
                  <a:lnTo>
                    <a:pt x="2585" y="3254"/>
                  </a:lnTo>
                  <a:lnTo>
                    <a:pt x="2577" y="3245"/>
                  </a:lnTo>
                  <a:lnTo>
                    <a:pt x="2550" y="3254"/>
                  </a:lnTo>
                  <a:lnTo>
                    <a:pt x="2520" y="3233"/>
                  </a:lnTo>
                  <a:lnTo>
                    <a:pt x="2505" y="3215"/>
                  </a:lnTo>
                  <a:lnTo>
                    <a:pt x="2475" y="3221"/>
                  </a:lnTo>
                  <a:lnTo>
                    <a:pt x="2454" y="3254"/>
                  </a:lnTo>
                  <a:lnTo>
                    <a:pt x="2430" y="3272"/>
                  </a:lnTo>
                  <a:lnTo>
                    <a:pt x="2403" y="3278"/>
                  </a:lnTo>
                  <a:lnTo>
                    <a:pt x="2394" y="3272"/>
                  </a:lnTo>
                  <a:lnTo>
                    <a:pt x="2376" y="3290"/>
                  </a:lnTo>
                  <a:lnTo>
                    <a:pt x="2370" y="3299"/>
                  </a:lnTo>
                  <a:lnTo>
                    <a:pt x="2361" y="3299"/>
                  </a:lnTo>
                  <a:lnTo>
                    <a:pt x="2340" y="3278"/>
                  </a:lnTo>
                  <a:lnTo>
                    <a:pt x="2316" y="3293"/>
                  </a:lnTo>
                  <a:lnTo>
                    <a:pt x="2304" y="3281"/>
                  </a:lnTo>
                  <a:lnTo>
                    <a:pt x="2283" y="3302"/>
                  </a:lnTo>
                  <a:lnTo>
                    <a:pt x="2229" y="3284"/>
                  </a:lnTo>
                  <a:lnTo>
                    <a:pt x="2208" y="3311"/>
                  </a:lnTo>
                  <a:lnTo>
                    <a:pt x="2199" y="3311"/>
                  </a:lnTo>
                  <a:lnTo>
                    <a:pt x="2160" y="3311"/>
                  </a:lnTo>
                  <a:lnTo>
                    <a:pt x="2148" y="3329"/>
                  </a:lnTo>
                  <a:lnTo>
                    <a:pt x="2163" y="3394"/>
                  </a:lnTo>
                  <a:lnTo>
                    <a:pt x="2163" y="3430"/>
                  </a:lnTo>
                  <a:lnTo>
                    <a:pt x="2157" y="3439"/>
                  </a:lnTo>
                  <a:lnTo>
                    <a:pt x="2145" y="3433"/>
                  </a:lnTo>
                  <a:lnTo>
                    <a:pt x="2121" y="3436"/>
                  </a:lnTo>
                  <a:lnTo>
                    <a:pt x="2109" y="3427"/>
                  </a:lnTo>
                  <a:lnTo>
                    <a:pt x="2103" y="3403"/>
                  </a:lnTo>
                  <a:lnTo>
                    <a:pt x="2103" y="3388"/>
                  </a:lnTo>
                  <a:lnTo>
                    <a:pt x="2088" y="3382"/>
                  </a:lnTo>
                  <a:lnTo>
                    <a:pt x="2043" y="3406"/>
                  </a:lnTo>
                  <a:lnTo>
                    <a:pt x="2007" y="3406"/>
                  </a:lnTo>
                  <a:lnTo>
                    <a:pt x="1983" y="3367"/>
                  </a:lnTo>
                  <a:lnTo>
                    <a:pt x="1986" y="3355"/>
                  </a:lnTo>
                  <a:lnTo>
                    <a:pt x="1947" y="3341"/>
                  </a:lnTo>
                  <a:lnTo>
                    <a:pt x="1926" y="3338"/>
                  </a:lnTo>
                  <a:lnTo>
                    <a:pt x="1917" y="3329"/>
                  </a:lnTo>
                  <a:lnTo>
                    <a:pt x="1929" y="3296"/>
                  </a:lnTo>
                  <a:lnTo>
                    <a:pt x="1932" y="3269"/>
                  </a:lnTo>
                  <a:lnTo>
                    <a:pt x="1950" y="3245"/>
                  </a:lnTo>
                  <a:lnTo>
                    <a:pt x="1935" y="3233"/>
                  </a:lnTo>
                  <a:lnTo>
                    <a:pt x="1899" y="3233"/>
                  </a:lnTo>
                  <a:lnTo>
                    <a:pt x="1890" y="3221"/>
                  </a:lnTo>
                  <a:lnTo>
                    <a:pt x="1887" y="3185"/>
                  </a:lnTo>
                  <a:lnTo>
                    <a:pt x="1875" y="3164"/>
                  </a:lnTo>
                  <a:lnTo>
                    <a:pt x="1884" y="3140"/>
                  </a:lnTo>
                  <a:lnTo>
                    <a:pt x="1822" y="3143"/>
                  </a:lnTo>
                  <a:lnTo>
                    <a:pt x="1780" y="3155"/>
                  </a:lnTo>
                  <a:lnTo>
                    <a:pt x="1771" y="3149"/>
                  </a:lnTo>
                  <a:lnTo>
                    <a:pt x="1783" y="3122"/>
                  </a:lnTo>
                  <a:lnTo>
                    <a:pt x="1771" y="3086"/>
                  </a:lnTo>
                  <a:lnTo>
                    <a:pt x="1771" y="3071"/>
                  </a:lnTo>
                  <a:lnTo>
                    <a:pt x="1789" y="3056"/>
                  </a:lnTo>
                  <a:lnTo>
                    <a:pt x="1792" y="3026"/>
                  </a:lnTo>
                  <a:lnTo>
                    <a:pt x="1878" y="2951"/>
                  </a:lnTo>
                  <a:lnTo>
                    <a:pt x="1884" y="2825"/>
                  </a:lnTo>
                  <a:lnTo>
                    <a:pt x="1881" y="2789"/>
                  </a:lnTo>
                  <a:lnTo>
                    <a:pt x="1866" y="2780"/>
                  </a:lnTo>
                  <a:lnTo>
                    <a:pt x="1851" y="2780"/>
                  </a:lnTo>
                  <a:lnTo>
                    <a:pt x="1837" y="2720"/>
                  </a:lnTo>
                  <a:lnTo>
                    <a:pt x="1795" y="2687"/>
                  </a:lnTo>
                  <a:lnTo>
                    <a:pt x="1765" y="2711"/>
                  </a:lnTo>
                  <a:lnTo>
                    <a:pt x="1699" y="2693"/>
                  </a:lnTo>
                  <a:lnTo>
                    <a:pt x="1687" y="2693"/>
                  </a:lnTo>
                  <a:lnTo>
                    <a:pt x="1678" y="2687"/>
                  </a:lnTo>
                  <a:lnTo>
                    <a:pt x="1702" y="2645"/>
                  </a:lnTo>
                  <a:lnTo>
                    <a:pt x="1699" y="2633"/>
                  </a:lnTo>
                  <a:lnTo>
                    <a:pt x="1672" y="2633"/>
                  </a:lnTo>
                  <a:lnTo>
                    <a:pt x="1666" y="2627"/>
                  </a:lnTo>
                  <a:lnTo>
                    <a:pt x="1684" y="2601"/>
                  </a:lnTo>
                  <a:lnTo>
                    <a:pt x="1663" y="2586"/>
                  </a:lnTo>
                  <a:lnTo>
                    <a:pt x="1597" y="2621"/>
                  </a:lnTo>
                  <a:lnTo>
                    <a:pt x="1552" y="2606"/>
                  </a:lnTo>
                  <a:lnTo>
                    <a:pt x="1546" y="2595"/>
                  </a:lnTo>
                  <a:lnTo>
                    <a:pt x="1483" y="2627"/>
                  </a:lnTo>
                  <a:lnTo>
                    <a:pt x="1453" y="2648"/>
                  </a:lnTo>
                  <a:lnTo>
                    <a:pt x="1417" y="2651"/>
                  </a:lnTo>
                  <a:lnTo>
                    <a:pt x="1378" y="2684"/>
                  </a:lnTo>
                  <a:lnTo>
                    <a:pt x="1363" y="2693"/>
                  </a:lnTo>
                  <a:lnTo>
                    <a:pt x="1357" y="2708"/>
                  </a:lnTo>
                  <a:lnTo>
                    <a:pt x="1276" y="2723"/>
                  </a:lnTo>
                  <a:lnTo>
                    <a:pt x="1267" y="2717"/>
                  </a:lnTo>
                  <a:lnTo>
                    <a:pt x="1249" y="2693"/>
                  </a:lnTo>
                  <a:lnTo>
                    <a:pt x="1195" y="2687"/>
                  </a:lnTo>
                  <a:lnTo>
                    <a:pt x="1153" y="2663"/>
                  </a:lnTo>
                  <a:lnTo>
                    <a:pt x="1114" y="2654"/>
                  </a:lnTo>
                  <a:lnTo>
                    <a:pt x="1058" y="2696"/>
                  </a:lnTo>
                  <a:lnTo>
                    <a:pt x="1010" y="2735"/>
                  </a:lnTo>
                  <a:lnTo>
                    <a:pt x="1001" y="2720"/>
                  </a:lnTo>
                  <a:lnTo>
                    <a:pt x="1010" y="2681"/>
                  </a:lnTo>
                  <a:lnTo>
                    <a:pt x="998" y="2663"/>
                  </a:lnTo>
                  <a:lnTo>
                    <a:pt x="956" y="2666"/>
                  </a:lnTo>
                  <a:lnTo>
                    <a:pt x="872" y="2669"/>
                  </a:lnTo>
                  <a:lnTo>
                    <a:pt x="836" y="2642"/>
                  </a:lnTo>
                  <a:lnTo>
                    <a:pt x="812" y="2642"/>
                  </a:lnTo>
                  <a:lnTo>
                    <a:pt x="767" y="2642"/>
                  </a:lnTo>
                  <a:lnTo>
                    <a:pt x="758" y="2636"/>
                  </a:lnTo>
                  <a:lnTo>
                    <a:pt x="755" y="2615"/>
                  </a:lnTo>
                  <a:lnTo>
                    <a:pt x="704" y="2586"/>
                  </a:lnTo>
                  <a:lnTo>
                    <a:pt x="692" y="2553"/>
                  </a:lnTo>
                  <a:lnTo>
                    <a:pt x="680" y="2556"/>
                  </a:lnTo>
                  <a:lnTo>
                    <a:pt x="617" y="2520"/>
                  </a:lnTo>
                  <a:lnTo>
                    <a:pt x="617" y="2481"/>
                  </a:lnTo>
                  <a:lnTo>
                    <a:pt x="608" y="2469"/>
                  </a:lnTo>
                  <a:lnTo>
                    <a:pt x="593" y="2484"/>
                  </a:lnTo>
                  <a:lnTo>
                    <a:pt x="572" y="2484"/>
                  </a:lnTo>
                  <a:lnTo>
                    <a:pt x="551" y="2436"/>
                  </a:lnTo>
                  <a:lnTo>
                    <a:pt x="449" y="2349"/>
                  </a:lnTo>
                  <a:lnTo>
                    <a:pt x="422" y="2325"/>
                  </a:lnTo>
                  <a:lnTo>
                    <a:pt x="395" y="2352"/>
                  </a:lnTo>
                  <a:lnTo>
                    <a:pt x="380" y="2349"/>
                  </a:lnTo>
                  <a:lnTo>
                    <a:pt x="365" y="2331"/>
                  </a:lnTo>
                  <a:lnTo>
                    <a:pt x="321" y="2280"/>
                  </a:lnTo>
                  <a:lnTo>
                    <a:pt x="321" y="2265"/>
                  </a:lnTo>
                  <a:lnTo>
                    <a:pt x="261" y="2217"/>
                  </a:lnTo>
                  <a:lnTo>
                    <a:pt x="246" y="2193"/>
                  </a:lnTo>
                  <a:lnTo>
                    <a:pt x="219" y="2190"/>
                  </a:lnTo>
                  <a:lnTo>
                    <a:pt x="216" y="2175"/>
                  </a:lnTo>
                  <a:lnTo>
                    <a:pt x="222" y="2154"/>
                  </a:lnTo>
                  <a:lnTo>
                    <a:pt x="222" y="2127"/>
                  </a:lnTo>
                  <a:lnTo>
                    <a:pt x="219" y="2106"/>
                  </a:lnTo>
                  <a:lnTo>
                    <a:pt x="207" y="2079"/>
                  </a:lnTo>
                  <a:lnTo>
                    <a:pt x="213" y="2061"/>
                  </a:lnTo>
                  <a:lnTo>
                    <a:pt x="234" y="2058"/>
                  </a:lnTo>
                  <a:lnTo>
                    <a:pt x="255" y="2079"/>
                  </a:lnTo>
                  <a:lnTo>
                    <a:pt x="294" y="2076"/>
                  </a:lnTo>
                  <a:lnTo>
                    <a:pt x="303" y="2061"/>
                  </a:lnTo>
                  <a:lnTo>
                    <a:pt x="300" y="2022"/>
                  </a:lnTo>
                  <a:lnTo>
                    <a:pt x="273" y="1995"/>
                  </a:lnTo>
                  <a:lnTo>
                    <a:pt x="276" y="1968"/>
                  </a:lnTo>
                  <a:lnTo>
                    <a:pt x="285" y="1968"/>
                  </a:lnTo>
                  <a:lnTo>
                    <a:pt x="291" y="1944"/>
                  </a:lnTo>
                  <a:lnTo>
                    <a:pt x="300" y="1926"/>
                  </a:lnTo>
                  <a:lnTo>
                    <a:pt x="321" y="1926"/>
                  </a:lnTo>
                  <a:lnTo>
                    <a:pt x="342" y="1920"/>
                  </a:lnTo>
                  <a:lnTo>
                    <a:pt x="348" y="1896"/>
                  </a:lnTo>
                  <a:lnTo>
                    <a:pt x="377" y="1878"/>
                  </a:lnTo>
                  <a:lnTo>
                    <a:pt x="392" y="1837"/>
                  </a:lnTo>
                  <a:lnTo>
                    <a:pt x="431" y="1810"/>
                  </a:lnTo>
                  <a:lnTo>
                    <a:pt x="422" y="1801"/>
                  </a:lnTo>
                  <a:lnTo>
                    <a:pt x="401" y="1801"/>
                  </a:lnTo>
                  <a:lnTo>
                    <a:pt x="365" y="1747"/>
                  </a:lnTo>
                  <a:lnTo>
                    <a:pt x="333" y="1738"/>
                  </a:lnTo>
                  <a:lnTo>
                    <a:pt x="246" y="1765"/>
                  </a:lnTo>
                  <a:lnTo>
                    <a:pt x="210" y="1756"/>
                  </a:lnTo>
                  <a:lnTo>
                    <a:pt x="135" y="1702"/>
                  </a:lnTo>
                  <a:lnTo>
                    <a:pt x="114" y="1699"/>
                  </a:lnTo>
                  <a:lnTo>
                    <a:pt x="99" y="1663"/>
                  </a:lnTo>
                  <a:lnTo>
                    <a:pt x="111" y="1627"/>
                  </a:lnTo>
                  <a:lnTo>
                    <a:pt x="105" y="1609"/>
                  </a:lnTo>
                  <a:lnTo>
                    <a:pt x="78" y="1591"/>
                  </a:lnTo>
                  <a:lnTo>
                    <a:pt x="69" y="1573"/>
                  </a:lnTo>
                  <a:lnTo>
                    <a:pt x="12" y="1540"/>
                  </a:lnTo>
                  <a:lnTo>
                    <a:pt x="12" y="1531"/>
                  </a:lnTo>
                  <a:lnTo>
                    <a:pt x="39" y="1519"/>
                  </a:lnTo>
                  <a:lnTo>
                    <a:pt x="57" y="1528"/>
                  </a:lnTo>
                  <a:lnTo>
                    <a:pt x="72" y="1513"/>
                  </a:lnTo>
                  <a:lnTo>
                    <a:pt x="66" y="1459"/>
                  </a:lnTo>
                  <a:lnTo>
                    <a:pt x="72" y="1414"/>
                  </a:lnTo>
                  <a:lnTo>
                    <a:pt x="36" y="1375"/>
                  </a:lnTo>
                  <a:lnTo>
                    <a:pt x="9" y="1384"/>
                  </a:lnTo>
                  <a:lnTo>
                    <a:pt x="0" y="1357"/>
                  </a:lnTo>
                  <a:lnTo>
                    <a:pt x="15" y="1330"/>
                  </a:lnTo>
                  <a:lnTo>
                    <a:pt x="6" y="1303"/>
                  </a:lnTo>
                  <a:lnTo>
                    <a:pt x="30" y="1282"/>
                  </a:lnTo>
                  <a:lnTo>
                    <a:pt x="42" y="1273"/>
                  </a:lnTo>
                  <a:lnTo>
                    <a:pt x="42" y="1252"/>
                  </a:lnTo>
                  <a:lnTo>
                    <a:pt x="75" y="1234"/>
                  </a:lnTo>
                  <a:lnTo>
                    <a:pt x="111" y="1228"/>
                  </a:lnTo>
                  <a:lnTo>
                    <a:pt x="141" y="1216"/>
                  </a:lnTo>
                  <a:lnTo>
                    <a:pt x="165" y="1225"/>
                  </a:lnTo>
                  <a:lnTo>
                    <a:pt x="183" y="1216"/>
                  </a:lnTo>
                  <a:lnTo>
                    <a:pt x="189" y="1222"/>
                  </a:lnTo>
                  <a:lnTo>
                    <a:pt x="192" y="1243"/>
                  </a:lnTo>
                  <a:lnTo>
                    <a:pt x="207" y="1252"/>
                  </a:lnTo>
                  <a:lnTo>
                    <a:pt x="246" y="1249"/>
                  </a:lnTo>
                  <a:lnTo>
                    <a:pt x="291" y="1201"/>
                  </a:lnTo>
                  <a:lnTo>
                    <a:pt x="377" y="1219"/>
                  </a:lnTo>
                  <a:lnTo>
                    <a:pt x="422" y="1189"/>
                  </a:lnTo>
                  <a:lnTo>
                    <a:pt x="554" y="1159"/>
                  </a:lnTo>
                  <a:lnTo>
                    <a:pt x="563" y="1141"/>
                  </a:lnTo>
                  <a:lnTo>
                    <a:pt x="575" y="1091"/>
                  </a:lnTo>
                  <a:lnTo>
                    <a:pt x="611" y="1061"/>
                  </a:lnTo>
                  <a:lnTo>
                    <a:pt x="623" y="1061"/>
                  </a:lnTo>
                  <a:lnTo>
                    <a:pt x="623" y="1046"/>
                  </a:lnTo>
                  <a:lnTo>
                    <a:pt x="626" y="920"/>
                  </a:lnTo>
                  <a:lnTo>
                    <a:pt x="632" y="896"/>
                  </a:lnTo>
                  <a:lnTo>
                    <a:pt x="596" y="881"/>
                  </a:lnTo>
                  <a:lnTo>
                    <a:pt x="593" y="872"/>
                  </a:lnTo>
                  <a:lnTo>
                    <a:pt x="632" y="860"/>
                  </a:lnTo>
                  <a:lnTo>
                    <a:pt x="731" y="851"/>
                  </a:lnTo>
                  <a:lnTo>
                    <a:pt x="746" y="872"/>
                  </a:lnTo>
                  <a:lnTo>
                    <a:pt x="779" y="881"/>
                  </a:lnTo>
                  <a:lnTo>
                    <a:pt x="788" y="881"/>
                  </a:lnTo>
                  <a:lnTo>
                    <a:pt x="803" y="863"/>
                  </a:lnTo>
                  <a:lnTo>
                    <a:pt x="785" y="845"/>
                  </a:lnTo>
                  <a:lnTo>
                    <a:pt x="857" y="698"/>
                  </a:lnTo>
                  <a:lnTo>
                    <a:pt x="869" y="689"/>
                  </a:lnTo>
                  <a:lnTo>
                    <a:pt x="935" y="722"/>
                  </a:lnTo>
                  <a:lnTo>
                    <a:pt x="965" y="722"/>
                  </a:lnTo>
                  <a:lnTo>
                    <a:pt x="977" y="740"/>
                  </a:lnTo>
                  <a:lnTo>
                    <a:pt x="1040" y="722"/>
                  </a:lnTo>
                  <a:lnTo>
                    <a:pt x="1058" y="614"/>
                  </a:lnTo>
                  <a:lnTo>
                    <a:pt x="1085" y="596"/>
                  </a:lnTo>
                  <a:lnTo>
                    <a:pt x="1117" y="596"/>
                  </a:lnTo>
                  <a:lnTo>
                    <a:pt x="1138" y="569"/>
                  </a:lnTo>
                  <a:lnTo>
                    <a:pt x="1147" y="542"/>
                  </a:lnTo>
                  <a:lnTo>
                    <a:pt x="1165" y="530"/>
                  </a:lnTo>
                  <a:lnTo>
                    <a:pt x="1207" y="542"/>
                  </a:lnTo>
                  <a:lnTo>
                    <a:pt x="1225" y="542"/>
                  </a:lnTo>
                  <a:lnTo>
                    <a:pt x="1213" y="578"/>
                  </a:lnTo>
                  <a:lnTo>
                    <a:pt x="1228" y="596"/>
                  </a:lnTo>
                  <a:lnTo>
                    <a:pt x="1231" y="608"/>
                  </a:lnTo>
                  <a:lnTo>
                    <a:pt x="1267" y="644"/>
                  </a:lnTo>
                  <a:lnTo>
                    <a:pt x="1276" y="671"/>
                  </a:lnTo>
                  <a:lnTo>
                    <a:pt x="1324" y="674"/>
                  </a:lnTo>
                  <a:lnTo>
                    <a:pt x="1345" y="692"/>
                  </a:lnTo>
                  <a:lnTo>
                    <a:pt x="1357" y="692"/>
                  </a:lnTo>
                  <a:lnTo>
                    <a:pt x="1384" y="752"/>
                  </a:lnTo>
                  <a:lnTo>
                    <a:pt x="1411" y="824"/>
                  </a:lnTo>
                  <a:lnTo>
                    <a:pt x="1396" y="866"/>
                  </a:lnTo>
                  <a:lnTo>
                    <a:pt x="1399" y="881"/>
                  </a:lnTo>
                  <a:lnTo>
                    <a:pt x="1375" y="926"/>
                  </a:lnTo>
                  <a:lnTo>
                    <a:pt x="1381" y="959"/>
                  </a:lnTo>
                  <a:lnTo>
                    <a:pt x="1471" y="998"/>
                  </a:lnTo>
                  <a:lnTo>
                    <a:pt x="1567" y="1010"/>
                  </a:lnTo>
                  <a:lnTo>
                    <a:pt x="1666" y="1079"/>
                  </a:lnTo>
                  <a:lnTo>
                    <a:pt x="1696" y="1091"/>
                  </a:lnTo>
                  <a:lnTo>
                    <a:pt x="1699" y="1109"/>
                  </a:lnTo>
                  <a:lnTo>
                    <a:pt x="1720" y="1153"/>
                  </a:lnTo>
                  <a:lnTo>
                    <a:pt x="1741" y="1207"/>
                  </a:lnTo>
                  <a:lnTo>
                    <a:pt x="1768" y="1255"/>
                  </a:lnTo>
                </a:path>
              </a:pathLst>
            </a:custGeom>
            <a:solidFill>
              <a:srgbClr val="CCECFF"/>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3" name="Freeform 137"/>
            <p:cNvSpPr>
              <a:spLocks/>
            </p:cNvSpPr>
            <p:nvPr/>
          </p:nvSpPr>
          <p:spPr bwMode="auto">
            <a:xfrm>
              <a:off x="924174" y="3595712"/>
              <a:ext cx="77787" cy="95250"/>
            </a:xfrm>
            <a:custGeom>
              <a:avLst/>
              <a:gdLst>
                <a:gd name="T0" fmla="*/ 0 w 54"/>
                <a:gd name="T1" fmla="*/ 22 h 68"/>
                <a:gd name="T2" fmla="*/ 6 w 54"/>
                <a:gd name="T3" fmla="*/ 10 h 68"/>
                <a:gd name="T4" fmla="*/ 25 w 54"/>
                <a:gd name="T5" fmla="*/ 0 h 68"/>
                <a:gd name="T6" fmla="*/ 0 w 54"/>
                <a:gd name="T7" fmla="*/ 22 h 6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 h="68">
                  <a:moveTo>
                    <a:pt x="0" y="68"/>
                  </a:moveTo>
                  <a:lnTo>
                    <a:pt x="15" y="27"/>
                  </a:lnTo>
                  <a:lnTo>
                    <a:pt x="54" y="0"/>
                  </a:lnTo>
                  <a:lnTo>
                    <a:pt x="0" y="68"/>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4" name="Freeform 138"/>
            <p:cNvSpPr>
              <a:spLocks/>
            </p:cNvSpPr>
            <p:nvPr/>
          </p:nvSpPr>
          <p:spPr bwMode="auto">
            <a:xfrm>
              <a:off x="924174" y="3595712"/>
              <a:ext cx="77787" cy="95250"/>
            </a:xfrm>
            <a:custGeom>
              <a:avLst/>
              <a:gdLst>
                <a:gd name="T0" fmla="*/ 0 w 54"/>
                <a:gd name="T1" fmla="*/ 22 h 68"/>
                <a:gd name="T2" fmla="*/ 6 w 54"/>
                <a:gd name="T3" fmla="*/ 10 h 68"/>
                <a:gd name="T4" fmla="*/ 25 w 54"/>
                <a:gd name="T5" fmla="*/ 0 h 68"/>
                <a:gd name="T6" fmla="*/ 0 60000 65536"/>
                <a:gd name="T7" fmla="*/ 0 60000 65536"/>
                <a:gd name="T8" fmla="*/ 0 60000 65536"/>
              </a:gdLst>
              <a:ahLst/>
              <a:cxnLst>
                <a:cxn ang="T6">
                  <a:pos x="T0" y="T1"/>
                </a:cxn>
                <a:cxn ang="T7">
                  <a:pos x="T2" y="T3"/>
                </a:cxn>
                <a:cxn ang="T8">
                  <a:pos x="T4" y="T5"/>
                </a:cxn>
              </a:cxnLst>
              <a:rect l="0" t="0" r="r" b="b"/>
              <a:pathLst>
                <a:path w="54" h="68">
                  <a:moveTo>
                    <a:pt x="0" y="68"/>
                  </a:moveTo>
                  <a:lnTo>
                    <a:pt x="15" y="27"/>
                  </a:lnTo>
                  <a:lnTo>
                    <a:pt x="54" y="0"/>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5" name="Freeform 139"/>
            <p:cNvSpPr>
              <a:spLocks/>
            </p:cNvSpPr>
            <p:nvPr/>
          </p:nvSpPr>
          <p:spPr bwMode="auto">
            <a:xfrm>
              <a:off x="4486524" y="5154637"/>
              <a:ext cx="941387" cy="777875"/>
            </a:xfrm>
            <a:custGeom>
              <a:avLst/>
              <a:gdLst>
                <a:gd name="T0" fmla="*/ 81 w 671"/>
                <a:gd name="T1" fmla="*/ 27 h 560"/>
                <a:gd name="T2" fmla="*/ 85 w 671"/>
                <a:gd name="T3" fmla="*/ 15 h 560"/>
                <a:gd name="T4" fmla="*/ 110 w 671"/>
                <a:gd name="T5" fmla="*/ 21 h 560"/>
                <a:gd name="T6" fmla="*/ 109 w 671"/>
                <a:gd name="T7" fmla="*/ 12 h 560"/>
                <a:gd name="T8" fmla="*/ 120 w 671"/>
                <a:gd name="T9" fmla="*/ 4 h 560"/>
                <a:gd name="T10" fmla="*/ 148 w 671"/>
                <a:gd name="T11" fmla="*/ 0 h 560"/>
                <a:gd name="T12" fmla="*/ 174 w 671"/>
                <a:gd name="T13" fmla="*/ 4 h 560"/>
                <a:gd name="T14" fmla="*/ 171 w 671"/>
                <a:gd name="T15" fmla="*/ 13 h 560"/>
                <a:gd name="T16" fmla="*/ 163 w 671"/>
                <a:gd name="T17" fmla="*/ 27 h 560"/>
                <a:gd name="T18" fmla="*/ 204 w 671"/>
                <a:gd name="T19" fmla="*/ 19 h 560"/>
                <a:gd name="T20" fmla="*/ 221 w 671"/>
                <a:gd name="T21" fmla="*/ 21 h 560"/>
                <a:gd name="T22" fmla="*/ 220 w 671"/>
                <a:gd name="T23" fmla="*/ 11 h 560"/>
                <a:gd name="T24" fmla="*/ 248 w 671"/>
                <a:gd name="T25" fmla="*/ 17 h 560"/>
                <a:gd name="T26" fmla="*/ 265 w 671"/>
                <a:gd name="T27" fmla="*/ 27 h 560"/>
                <a:gd name="T28" fmla="*/ 268 w 671"/>
                <a:gd name="T29" fmla="*/ 51 h 560"/>
                <a:gd name="T30" fmla="*/ 257 w 671"/>
                <a:gd name="T31" fmla="*/ 64 h 560"/>
                <a:gd name="T32" fmla="*/ 232 w 671"/>
                <a:gd name="T33" fmla="*/ 80 h 560"/>
                <a:gd name="T34" fmla="*/ 221 w 671"/>
                <a:gd name="T35" fmla="*/ 82 h 560"/>
                <a:gd name="T36" fmla="*/ 214 w 671"/>
                <a:gd name="T37" fmla="*/ 85 h 560"/>
                <a:gd name="T38" fmla="*/ 194 w 671"/>
                <a:gd name="T39" fmla="*/ 89 h 560"/>
                <a:gd name="T40" fmla="*/ 180 w 671"/>
                <a:gd name="T41" fmla="*/ 92 h 560"/>
                <a:gd name="T42" fmla="*/ 143 w 671"/>
                <a:gd name="T43" fmla="*/ 88 h 560"/>
                <a:gd name="T44" fmla="*/ 148 w 671"/>
                <a:gd name="T45" fmla="*/ 108 h 560"/>
                <a:gd name="T46" fmla="*/ 124 w 671"/>
                <a:gd name="T47" fmla="*/ 123 h 560"/>
                <a:gd name="T48" fmla="*/ 101 w 671"/>
                <a:gd name="T49" fmla="*/ 129 h 560"/>
                <a:gd name="T50" fmla="*/ 71 w 671"/>
                <a:gd name="T51" fmla="*/ 139 h 560"/>
                <a:gd name="T52" fmla="*/ 27 w 671"/>
                <a:gd name="T53" fmla="*/ 154 h 560"/>
                <a:gd name="T54" fmla="*/ 34 w 671"/>
                <a:gd name="T55" fmla="*/ 178 h 560"/>
                <a:gd name="T56" fmla="*/ 13 w 671"/>
                <a:gd name="T57" fmla="*/ 184 h 560"/>
                <a:gd name="T58" fmla="*/ 5 w 671"/>
                <a:gd name="T59" fmla="*/ 149 h 560"/>
                <a:gd name="T60" fmla="*/ 13 w 671"/>
                <a:gd name="T61" fmla="*/ 133 h 560"/>
                <a:gd name="T62" fmla="*/ 24 w 671"/>
                <a:gd name="T63" fmla="*/ 125 h 560"/>
                <a:gd name="T64" fmla="*/ 37 w 671"/>
                <a:gd name="T65" fmla="*/ 106 h 560"/>
                <a:gd name="T66" fmla="*/ 59 w 671"/>
                <a:gd name="T67" fmla="*/ 76 h 560"/>
                <a:gd name="T68" fmla="*/ 74 w 671"/>
                <a:gd name="T69" fmla="*/ 53 h 560"/>
                <a:gd name="T70" fmla="*/ 74 w 671"/>
                <a:gd name="T71" fmla="*/ 31 h 5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71" h="560">
                  <a:moveTo>
                    <a:pt x="180" y="96"/>
                  </a:moveTo>
                  <a:lnTo>
                    <a:pt x="198" y="84"/>
                  </a:lnTo>
                  <a:lnTo>
                    <a:pt x="198" y="54"/>
                  </a:lnTo>
                  <a:lnTo>
                    <a:pt x="207" y="48"/>
                  </a:lnTo>
                  <a:lnTo>
                    <a:pt x="228" y="48"/>
                  </a:lnTo>
                  <a:lnTo>
                    <a:pt x="267" y="66"/>
                  </a:lnTo>
                  <a:lnTo>
                    <a:pt x="273" y="54"/>
                  </a:lnTo>
                  <a:lnTo>
                    <a:pt x="264" y="36"/>
                  </a:lnTo>
                  <a:lnTo>
                    <a:pt x="267" y="27"/>
                  </a:lnTo>
                  <a:lnTo>
                    <a:pt x="291" y="6"/>
                  </a:lnTo>
                  <a:lnTo>
                    <a:pt x="336" y="18"/>
                  </a:lnTo>
                  <a:lnTo>
                    <a:pt x="360" y="0"/>
                  </a:lnTo>
                  <a:lnTo>
                    <a:pt x="378" y="18"/>
                  </a:lnTo>
                  <a:lnTo>
                    <a:pt x="422" y="9"/>
                  </a:lnTo>
                  <a:lnTo>
                    <a:pt x="431" y="24"/>
                  </a:lnTo>
                  <a:lnTo>
                    <a:pt x="416" y="42"/>
                  </a:lnTo>
                  <a:lnTo>
                    <a:pt x="396" y="75"/>
                  </a:lnTo>
                  <a:lnTo>
                    <a:pt x="396" y="84"/>
                  </a:lnTo>
                  <a:lnTo>
                    <a:pt x="408" y="93"/>
                  </a:lnTo>
                  <a:lnTo>
                    <a:pt x="497" y="57"/>
                  </a:lnTo>
                  <a:lnTo>
                    <a:pt x="530" y="75"/>
                  </a:lnTo>
                  <a:lnTo>
                    <a:pt x="539" y="66"/>
                  </a:lnTo>
                  <a:lnTo>
                    <a:pt x="530" y="48"/>
                  </a:lnTo>
                  <a:lnTo>
                    <a:pt x="533" y="33"/>
                  </a:lnTo>
                  <a:lnTo>
                    <a:pt x="593" y="48"/>
                  </a:lnTo>
                  <a:lnTo>
                    <a:pt x="602" y="54"/>
                  </a:lnTo>
                  <a:lnTo>
                    <a:pt x="620" y="54"/>
                  </a:lnTo>
                  <a:lnTo>
                    <a:pt x="644" y="84"/>
                  </a:lnTo>
                  <a:lnTo>
                    <a:pt x="671" y="144"/>
                  </a:lnTo>
                  <a:lnTo>
                    <a:pt x="653" y="159"/>
                  </a:lnTo>
                  <a:lnTo>
                    <a:pt x="638" y="186"/>
                  </a:lnTo>
                  <a:lnTo>
                    <a:pt x="623" y="192"/>
                  </a:lnTo>
                  <a:lnTo>
                    <a:pt x="611" y="219"/>
                  </a:lnTo>
                  <a:lnTo>
                    <a:pt x="563" y="243"/>
                  </a:lnTo>
                  <a:lnTo>
                    <a:pt x="545" y="234"/>
                  </a:lnTo>
                  <a:lnTo>
                    <a:pt x="536" y="252"/>
                  </a:lnTo>
                  <a:lnTo>
                    <a:pt x="536" y="258"/>
                  </a:lnTo>
                  <a:lnTo>
                    <a:pt x="521" y="258"/>
                  </a:lnTo>
                  <a:lnTo>
                    <a:pt x="497" y="258"/>
                  </a:lnTo>
                  <a:lnTo>
                    <a:pt x="473" y="273"/>
                  </a:lnTo>
                  <a:lnTo>
                    <a:pt x="458" y="264"/>
                  </a:lnTo>
                  <a:lnTo>
                    <a:pt x="437" y="279"/>
                  </a:lnTo>
                  <a:lnTo>
                    <a:pt x="387" y="300"/>
                  </a:lnTo>
                  <a:lnTo>
                    <a:pt x="348" y="267"/>
                  </a:lnTo>
                  <a:lnTo>
                    <a:pt x="345" y="291"/>
                  </a:lnTo>
                  <a:lnTo>
                    <a:pt x="360" y="330"/>
                  </a:lnTo>
                  <a:lnTo>
                    <a:pt x="321" y="345"/>
                  </a:lnTo>
                  <a:lnTo>
                    <a:pt x="303" y="375"/>
                  </a:lnTo>
                  <a:lnTo>
                    <a:pt x="264" y="384"/>
                  </a:lnTo>
                  <a:lnTo>
                    <a:pt x="243" y="393"/>
                  </a:lnTo>
                  <a:lnTo>
                    <a:pt x="201" y="393"/>
                  </a:lnTo>
                  <a:lnTo>
                    <a:pt x="174" y="420"/>
                  </a:lnTo>
                  <a:lnTo>
                    <a:pt x="102" y="443"/>
                  </a:lnTo>
                  <a:lnTo>
                    <a:pt x="66" y="467"/>
                  </a:lnTo>
                  <a:lnTo>
                    <a:pt x="48" y="485"/>
                  </a:lnTo>
                  <a:lnTo>
                    <a:pt x="81" y="542"/>
                  </a:lnTo>
                  <a:lnTo>
                    <a:pt x="57" y="560"/>
                  </a:lnTo>
                  <a:lnTo>
                    <a:pt x="30" y="560"/>
                  </a:lnTo>
                  <a:lnTo>
                    <a:pt x="0" y="500"/>
                  </a:lnTo>
                  <a:lnTo>
                    <a:pt x="6" y="458"/>
                  </a:lnTo>
                  <a:lnTo>
                    <a:pt x="6" y="440"/>
                  </a:lnTo>
                  <a:lnTo>
                    <a:pt x="30" y="402"/>
                  </a:lnTo>
                  <a:lnTo>
                    <a:pt x="57" y="396"/>
                  </a:lnTo>
                  <a:lnTo>
                    <a:pt x="57" y="378"/>
                  </a:lnTo>
                  <a:lnTo>
                    <a:pt x="87" y="363"/>
                  </a:lnTo>
                  <a:lnTo>
                    <a:pt x="90" y="327"/>
                  </a:lnTo>
                  <a:lnTo>
                    <a:pt x="144" y="288"/>
                  </a:lnTo>
                  <a:lnTo>
                    <a:pt x="141" y="234"/>
                  </a:lnTo>
                  <a:lnTo>
                    <a:pt x="180" y="180"/>
                  </a:lnTo>
                  <a:lnTo>
                    <a:pt x="180" y="162"/>
                  </a:lnTo>
                  <a:lnTo>
                    <a:pt x="192" y="141"/>
                  </a:lnTo>
                  <a:lnTo>
                    <a:pt x="180" y="96"/>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6" name="Freeform 140"/>
            <p:cNvSpPr>
              <a:spLocks/>
            </p:cNvSpPr>
            <p:nvPr/>
          </p:nvSpPr>
          <p:spPr bwMode="auto">
            <a:xfrm>
              <a:off x="4486524" y="5154637"/>
              <a:ext cx="941387" cy="777875"/>
            </a:xfrm>
            <a:custGeom>
              <a:avLst/>
              <a:gdLst>
                <a:gd name="T0" fmla="*/ 81 w 671"/>
                <a:gd name="T1" fmla="*/ 27 h 560"/>
                <a:gd name="T2" fmla="*/ 85 w 671"/>
                <a:gd name="T3" fmla="*/ 15 h 560"/>
                <a:gd name="T4" fmla="*/ 110 w 671"/>
                <a:gd name="T5" fmla="*/ 21 h 560"/>
                <a:gd name="T6" fmla="*/ 109 w 671"/>
                <a:gd name="T7" fmla="*/ 12 h 560"/>
                <a:gd name="T8" fmla="*/ 120 w 671"/>
                <a:gd name="T9" fmla="*/ 4 h 560"/>
                <a:gd name="T10" fmla="*/ 148 w 671"/>
                <a:gd name="T11" fmla="*/ 0 h 560"/>
                <a:gd name="T12" fmla="*/ 174 w 671"/>
                <a:gd name="T13" fmla="*/ 4 h 560"/>
                <a:gd name="T14" fmla="*/ 171 w 671"/>
                <a:gd name="T15" fmla="*/ 13 h 560"/>
                <a:gd name="T16" fmla="*/ 163 w 671"/>
                <a:gd name="T17" fmla="*/ 27 h 560"/>
                <a:gd name="T18" fmla="*/ 204 w 671"/>
                <a:gd name="T19" fmla="*/ 19 h 560"/>
                <a:gd name="T20" fmla="*/ 221 w 671"/>
                <a:gd name="T21" fmla="*/ 21 h 560"/>
                <a:gd name="T22" fmla="*/ 220 w 671"/>
                <a:gd name="T23" fmla="*/ 11 h 560"/>
                <a:gd name="T24" fmla="*/ 248 w 671"/>
                <a:gd name="T25" fmla="*/ 17 h 560"/>
                <a:gd name="T26" fmla="*/ 265 w 671"/>
                <a:gd name="T27" fmla="*/ 27 h 560"/>
                <a:gd name="T28" fmla="*/ 268 w 671"/>
                <a:gd name="T29" fmla="*/ 51 h 560"/>
                <a:gd name="T30" fmla="*/ 257 w 671"/>
                <a:gd name="T31" fmla="*/ 64 h 560"/>
                <a:gd name="T32" fmla="*/ 232 w 671"/>
                <a:gd name="T33" fmla="*/ 80 h 560"/>
                <a:gd name="T34" fmla="*/ 221 w 671"/>
                <a:gd name="T35" fmla="*/ 82 h 560"/>
                <a:gd name="T36" fmla="*/ 214 w 671"/>
                <a:gd name="T37" fmla="*/ 85 h 560"/>
                <a:gd name="T38" fmla="*/ 194 w 671"/>
                <a:gd name="T39" fmla="*/ 89 h 560"/>
                <a:gd name="T40" fmla="*/ 180 w 671"/>
                <a:gd name="T41" fmla="*/ 92 h 560"/>
                <a:gd name="T42" fmla="*/ 143 w 671"/>
                <a:gd name="T43" fmla="*/ 88 h 560"/>
                <a:gd name="T44" fmla="*/ 148 w 671"/>
                <a:gd name="T45" fmla="*/ 108 h 560"/>
                <a:gd name="T46" fmla="*/ 124 w 671"/>
                <a:gd name="T47" fmla="*/ 123 h 560"/>
                <a:gd name="T48" fmla="*/ 101 w 671"/>
                <a:gd name="T49" fmla="*/ 129 h 560"/>
                <a:gd name="T50" fmla="*/ 71 w 671"/>
                <a:gd name="T51" fmla="*/ 139 h 560"/>
                <a:gd name="T52" fmla="*/ 27 w 671"/>
                <a:gd name="T53" fmla="*/ 154 h 560"/>
                <a:gd name="T54" fmla="*/ 34 w 671"/>
                <a:gd name="T55" fmla="*/ 178 h 560"/>
                <a:gd name="T56" fmla="*/ 13 w 671"/>
                <a:gd name="T57" fmla="*/ 184 h 560"/>
                <a:gd name="T58" fmla="*/ 5 w 671"/>
                <a:gd name="T59" fmla="*/ 149 h 560"/>
                <a:gd name="T60" fmla="*/ 13 w 671"/>
                <a:gd name="T61" fmla="*/ 133 h 560"/>
                <a:gd name="T62" fmla="*/ 24 w 671"/>
                <a:gd name="T63" fmla="*/ 125 h 560"/>
                <a:gd name="T64" fmla="*/ 37 w 671"/>
                <a:gd name="T65" fmla="*/ 106 h 560"/>
                <a:gd name="T66" fmla="*/ 59 w 671"/>
                <a:gd name="T67" fmla="*/ 76 h 560"/>
                <a:gd name="T68" fmla="*/ 74 w 671"/>
                <a:gd name="T69" fmla="*/ 53 h 560"/>
                <a:gd name="T70" fmla="*/ 74 w 671"/>
                <a:gd name="T71" fmla="*/ 31 h 5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71" h="560">
                  <a:moveTo>
                    <a:pt x="180" y="96"/>
                  </a:moveTo>
                  <a:lnTo>
                    <a:pt x="198" y="84"/>
                  </a:lnTo>
                  <a:lnTo>
                    <a:pt x="198" y="54"/>
                  </a:lnTo>
                  <a:lnTo>
                    <a:pt x="207" y="48"/>
                  </a:lnTo>
                  <a:lnTo>
                    <a:pt x="228" y="48"/>
                  </a:lnTo>
                  <a:lnTo>
                    <a:pt x="267" y="66"/>
                  </a:lnTo>
                  <a:lnTo>
                    <a:pt x="273" y="54"/>
                  </a:lnTo>
                  <a:lnTo>
                    <a:pt x="264" y="36"/>
                  </a:lnTo>
                  <a:lnTo>
                    <a:pt x="267" y="27"/>
                  </a:lnTo>
                  <a:lnTo>
                    <a:pt x="291" y="6"/>
                  </a:lnTo>
                  <a:lnTo>
                    <a:pt x="336" y="18"/>
                  </a:lnTo>
                  <a:lnTo>
                    <a:pt x="360" y="0"/>
                  </a:lnTo>
                  <a:lnTo>
                    <a:pt x="378" y="18"/>
                  </a:lnTo>
                  <a:lnTo>
                    <a:pt x="422" y="9"/>
                  </a:lnTo>
                  <a:lnTo>
                    <a:pt x="431" y="24"/>
                  </a:lnTo>
                  <a:lnTo>
                    <a:pt x="416" y="42"/>
                  </a:lnTo>
                  <a:lnTo>
                    <a:pt x="396" y="75"/>
                  </a:lnTo>
                  <a:lnTo>
                    <a:pt x="396" y="84"/>
                  </a:lnTo>
                  <a:lnTo>
                    <a:pt x="408" y="93"/>
                  </a:lnTo>
                  <a:lnTo>
                    <a:pt x="497" y="57"/>
                  </a:lnTo>
                  <a:lnTo>
                    <a:pt x="530" y="75"/>
                  </a:lnTo>
                  <a:lnTo>
                    <a:pt x="539" y="66"/>
                  </a:lnTo>
                  <a:lnTo>
                    <a:pt x="530" y="48"/>
                  </a:lnTo>
                  <a:lnTo>
                    <a:pt x="533" y="33"/>
                  </a:lnTo>
                  <a:lnTo>
                    <a:pt x="593" y="48"/>
                  </a:lnTo>
                  <a:lnTo>
                    <a:pt x="602" y="54"/>
                  </a:lnTo>
                  <a:lnTo>
                    <a:pt x="620" y="54"/>
                  </a:lnTo>
                  <a:lnTo>
                    <a:pt x="644" y="84"/>
                  </a:lnTo>
                  <a:lnTo>
                    <a:pt x="671" y="144"/>
                  </a:lnTo>
                  <a:lnTo>
                    <a:pt x="653" y="159"/>
                  </a:lnTo>
                  <a:lnTo>
                    <a:pt x="638" y="186"/>
                  </a:lnTo>
                  <a:lnTo>
                    <a:pt x="623" y="192"/>
                  </a:lnTo>
                  <a:lnTo>
                    <a:pt x="611" y="219"/>
                  </a:lnTo>
                  <a:lnTo>
                    <a:pt x="563" y="243"/>
                  </a:lnTo>
                  <a:lnTo>
                    <a:pt x="545" y="234"/>
                  </a:lnTo>
                  <a:lnTo>
                    <a:pt x="536" y="252"/>
                  </a:lnTo>
                  <a:lnTo>
                    <a:pt x="536" y="258"/>
                  </a:lnTo>
                  <a:lnTo>
                    <a:pt x="521" y="258"/>
                  </a:lnTo>
                  <a:lnTo>
                    <a:pt x="497" y="258"/>
                  </a:lnTo>
                  <a:lnTo>
                    <a:pt x="473" y="273"/>
                  </a:lnTo>
                  <a:lnTo>
                    <a:pt x="458" y="264"/>
                  </a:lnTo>
                  <a:lnTo>
                    <a:pt x="437" y="279"/>
                  </a:lnTo>
                  <a:lnTo>
                    <a:pt x="387" y="300"/>
                  </a:lnTo>
                  <a:lnTo>
                    <a:pt x="348" y="267"/>
                  </a:lnTo>
                  <a:lnTo>
                    <a:pt x="345" y="291"/>
                  </a:lnTo>
                  <a:lnTo>
                    <a:pt x="360" y="330"/>
                  </a:lnTo>
                  <a:lnTo>
                    <a:pt x="321" y="345"/>
                  </a:lnTo>
                  <a:lnTo>
                    <a:pt x="303" y="375"/>
                  </a:lnTo>
                  <a:lnTo>
                    <a:pt x="264" y="384"/>
                  </a:lnTo>
                  <a:lnTo>
                    <a:pt x="243" y="393"/>
                  </a:lnTo>
                  <a:lnTo>
                    <a:pt x="201" y="393"/>
                  </a:lnTo>
                  <a:lnTo>
                    <a:pt x="174" y="420"/>
                  </a:lnTo>
                  <a:lnTo>
                    <a:pt x="102" y="443"/>
                  </a:lnTo>
                  <a:lnTo>
                    <a:pt x="66" y="467"/>
                  </a:lnTo>
                  <a:lnTo>
                    <a:pt x="48" y="485"/>
                  </a:lnTo>
                  <a:lnTo>
                    <a:pt x="81" y="542"/>
                  </a:lnTo>
                  <a:lnTo>
                    <a:pt x="57" y="560"/>
                  </a:lnTo>
                  <a:lnTo>
                    <a:pt x="30" y="560"/>
                  </a:lnTo>
                  <a:lnTo>
                    <a:pt x="0" y="500"/>
                  </a:lnTo>
                  <a:lnTo>
                    <a:pt x="6" y="458"/>
                  </a:lnTo>
                  <a:lnTo>
                    <a:pt x="6" y="440"/>
                  </a:lnTo>
                  <a:lnTo>
                    <a:pt x="30" y="402"/>
                  </a:lnTo>
                  <a:lnTo>
                    <a:pt x="57" y="396"/>
                  </a:lnTo>
                  <a:lnTo>
                    <a:pt x="57" y="378"/>
                  </a:lnTo>
                  <a:lnTo>
                    <a:pt x="87" y="363"/>
                  </a:lnTo>
                  <a:lnTo>
                    <a:pt x="90" y="327"/>
                  </a:lnTo>
                  <a:lnTo>
                    <a:pt x="144" y="288"/>
                  </a:lnTo>
                  <a:lnTo>
                    <a:pt x="141" y="234"/>
                  </a:lnTo>
                  <a:lnTo>
                    <a:pt x="180" y="180"/>
                  </a:lnTo>
                  <a:lnTo>
                    <a:pt x="180" y="162"/>
                  </a:lnTo>
                  <a:lnTo>
                    <a:pt x="192" y="141"/>
                  </a:lnTo>
                  <a:lnTo>
                    <a:pt x="180" y="96"/>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7" name="Freeform 141"/>
            <p:cNvSpPr>
              <a:spLocks/>
            </p:cNvSpPr>
            <p:nvPr/>
          </p:nvSpPr>
          <p:spPr bwMode="auto">
            <a:xfrm>
              <a:off x="3780086" y="5080025"/>
              <a:ext cx="976313" cy="698500"/>
            </a:xfrm>
            <a:custGeom>
              <a:avLst/>
              <a:gdLst>
                <a:gd name="T0" fmla="*/ 13 w 695"/>
                <a:gd name="T1" fmla="*/ 64 h 503"/>
                <a:gd name="T2" fmla="*/ 32 w 695"/>
                <a:gd name="T3" fmla="*/ 57 h 503"/>
                <a:gd name="T4" fmla="*/ 60 w 695"/>
                <a:gd name="T5" fmla="*/ 64 h 503"/>
                <a:gd name="T6" fmla="*/ 66 w 695"/>
                <a:gd name="T7" fmla="*/ 51 h 503"/>
                <a:gd name="T8" fmla="*/ 109 w 695"/>
                <a:gd name="T9" fmla="*/ 39 h 503"/>
                <a:gd name="T10" fmla="*/ 142 w 695"/>
                <a:gd name="T11" fmla="*/ 33 h 503"/>
                <a:gd name="T12" fmla="*/ 156 w 695"/>
                <a:gd name="T13" fmla="*/ 36 h 503"/>
                <a:gd name="T14" fmla="*/ 167 w 695"/>
                <a:gd name="T15" fmla="*/ 29 h 503"/>
                <a:gd name="T16" fmla="*/ 172 w 695"/>
                <a:gd name="T17" fmla="*/ 21 h 503"/>
                <a:gd name="T18" fmla="*/ 186 w 695"/>
                <a:gd name="T19" fmla="*/ 13 h 503"/>
                <a:gd name="T20" fmla="*/ 204 w 695"/>
                <a:gd name="T21" fmla="*/ 6 h 503"/>
                <a:gd name="T22" fmla="*/ 212 w 695"/>
                <a:gd name="T23" fmla="*/ 13 h 503"/>
                <a:gd name="T24" fmla="*/ 231 w 695"/>
                <a:gd name="T25" fmla="*/ 4 h 503"/>
                <a:gd name="T26" fmla="*/ 251 w 695"/>
                <a:gd name="T27" fmla="*/ 4 h 503"/>
                <a:gd name="T28" fmla="*/ 260 w 695"/>
                <a:gd name="T29" fmla="*/ 15 h 503"/>
                <a:gd name="T30" fmla="*/ 248 w 695"/>
                <a:gd name="T31" fmla="*/ 36 h 503"/>
                <a:gd name="T32" fmla="*/ 248 w 695"/>
                <a:gd name="T33" fmla="*/ 46 h 503"/>
                <a:gd name="T34" fmla="*/ 266 w 695"/>
                <a:gd name="T35" fmla="*/ 53 h 503"/>
                <a:gd name="T36" fmla="*/ 281 w 695"/>
                <a:gd name="T37" fmla="*/ 49 h 503"/>
                <a:gd name="T38" fmla="*/ 281 w 695"/>
                <a:gd name="T39" fmla="*/ 72 h 503"/>
                <a:gd name="T40" fmla="*/ 265 w 695"/>
                <a:gd name="T41" fmla="*/ 95 h 503"/>
                <a:gd name="T42" fmla="*/ 244 w 695"/>
                <a:gd name="T43" fmla="*/ 125 h 503"/>
                <a:gd name="T44" fmla="*/ 231 w 695"/>
                <a:gd name="T45" fmla="*/ 141 h 503"/>
                <a:gd name="T46" fmla="*/ 220 w 695"/>
                <a:gd name="T47" fmla="*/ 149 h 503"/>
                <a:gd name="T48" fmla="*/ 185 w 695"/>
                <a:gd name="T49" fmla="*/ 166 h 503"/>
                <a:gd name="T50" fmla="*/ 159 w 695"/>
                <a:gd name="T51" fmla="*/ 154 h 503"/>
                <a:gd name="T52" fmla="*/ 132 w 695"/>
                <a:gd name="T53" fmla="*/ 164 h 503"/>
                <a:gd name="T54" fmla="*/ 88 w 695"/>
                <a:gd name="T55" fmla="*/ 151 h 503"/>
                <a:gd name="T56" fmla="*/ 92 w 695"/>
                <a:gd name="T57" fmla="*/ 128 h 503"/>
                <a:gd name="T58" fmla="*/ 71 w 695"/>
                <a:gd name="T59" fmla="*/ 123 h 503"/>
                <a:gd name="T60" fmla="*/ 57 w 695"/>
                <a:gd name="T61" fmla="*/ 123 h 503"/>
                <a:gd name="T62" fmla="*/ 49 w 695"/>
                <a:gd name="T63" fmla="*/ 106 h 503"/>
                <a:gd name="T64" fmla="*/ 61 w 695"/>
                <a:gd name="T65" fmla="*/ 103 h 503"/>
                <a:gd name="T66" fmla="*/ 60 w 695"/>
                <a:gd name="T67" fmla="*/ 88 h 503"/>
                <a:gd name="T68" fmla="*/ 24 w 695"/>
                <a:gd name="T69" fmla="*/ 76 h 503"/>
                <a:gd name="T70" fmla="*/ 5 w 695"/>
                <a:gd name="T71" fmla="*/ 76 h 503"/>
                <a:gd name="T72" fmla="*/ 0 w 695"/>
                <a:gd name="T73" fmla="*/ 64 h 5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95" h="503">
                  <a:moveTo>
                    <a:pt x="0" y="192"/>
                  </a:moveTo>
                  <a:lnTo>
                    <a:pt x="30" y="195"/>
                  </a:lnTo>
                  <a:lnTo>
                    <a:pt x="63" y="165"/>
                  </a:lnTo>
                  <a:lnTo>
                    <a:pt x="75" y="174"/>
                  </a:lnTo>
                  <a:lnTo>
                    <a:pt x="138" y="198"/>
                  </a:lnTo>
                  <a:lnTo>
                    <a:pt x="147" y="192"/>
                  </a:lnTo>
                  <a:lnTo>
                    <a:pt x="150" y="171"/>
                  </a:lnTo>
                  <a:lnTo>
                    <a:pt x="162" y="159"/>
                  </a:lnTo>
                  <a:lnTo>
                    <a:pt x="248" y="102"/>
                  </a:lnTo>
                  <a:lnTo>
                    <a:pt x="263" y="120"/>
                  </a:lnTo>
                  <a:lnTo>
                    <a:pt x="317" y="138"/>
                  </a:lnTo>
                  <a:lnTo>
                    <a:pt x="344" y="99"/>
                  </a:lnTo>
                  <a:lnTo>
                    <a:pt x="359" y="108"/>
                  </a:lnTo>
                  <a:lnTo>
                    <a:pt x="380" y="108"/>
                  </a:lnTo>
                  <a:lnTo>
                    <a:pt x="380" y="96"/>
                  </a:lnTo>
                  <a:lnTo>
                    <a:pt x="407" y="87"/>
                  </a:lnTo>
                  <a:lnTo>
                    <a:pt x="407" y="78"/>
                  </a:lnTo>
                  <a:lnTo>
                    <a:pt x="419" y="66"/>
                  </a:lnTo>
                  <a:lnTo>
                    <a:pt x="425" y="69"/>
                  </a:lnTo>
                  <a:lnTo>
                    <a:pt x="452" y="42"/>
                  </a:lnTo>
                  <a:lnTo>
                    <a:pt x="476" y="48"/>
                  </a:lnTo>
                  <a:lnTo>
                    <a:pt x="497" y="18"/>
                  </a:lnTo>
                  <a:lnTo>
                    <a:pt x="509" y="42"/>
                  </a:lnTo>
                  <a:lnTo>
                    <a:pt x="515" y="39"/>
                  </a:lnTo>
                  <a:lnTo>
                    <a:pt x="551" y="6"/>
                  </a:lnTo>
                  <a:lnTo>
                    <a:pt x="560" y="6"/>
                  </a:lnTo>
                  <a:lnTo>
                    <a:pt x="578" y="0"/>
                  </a:lnTo>
                  <a:lnTo>
                    <a:pt x="608" y="6"/>
                  </a:lnTo>
                  <a:lnTo>
                    <a:pt x="608" y="39"/>
                  </a:lnTo>
                  <a:lnTo>
                    <a:pt x="629" y="45"/>
                  </a:lnTo>
                  <a:lnTo>
                    <a:pt x="623" y="75"/>
                  </a:lnTo>
                  <a:lnTo>
                    <a:pt x="602" y="108"/>
                  </a:lnTo>
                  <a:lnTo>
                    <a:pt x="593" y="138"/>
                  </a:lnTo>
                  <a:lnTo>
                    <a:pt x="602" y="138"/>
                  </a:lnTo>
                  <a:lnTo>
                    <a:pt x="626" y="117"/>
                  </a:lnTo>
                  <a:lnTo>
                    <a:pt x="647" y="162"/>
                  </a:lnTo>
                  <a:lnTo>
                    <a:pt x="665" y="150"/>
                  </a:lnTo>
                  <a:lnTo>
                    <a:pt x="683" y="150"/>
                  </a:lnTo>
                  <a:lnTo>
                    <a:pt x="695" y="195"/>
                  </a:lnTo>
                  <a:lnTo>
                    <a:pt x="683" y="216"/>
                  </a:lnTo>
                  <a:lnTo>
                    <a:pt x="683" y="234"/>
                  </a:lnTo>
                  <a:lnTo>
                    <a:pt x="644" y="288"/>
                  </a:lnTo>
                  <a:lnTo>
                    <a:pt x="647" y="342"/>
                  </a:lnTo>
                  <a:lnTo>
                    <a:pt x="593" y="381"/>
                  </a:lnTo>
                  <a:lnTo>
                    <a:pt x="590" y="417"/>
                  </a:lnTo>
                  <a:lnTo>
                    <a:pt x="560" y="432"/>
                  </a:lnTo>
                  <a:lnTo>
                    <a:pt x="560" y="450"/>
                  </a:lnTo>
                  <a:lnTo>
                    <a:pt x="533" y="456"/>
                  </a:lnTo>
                  <a:lnTo>
                    <a:pt x="509" y="494"/>
                  </a:lnTo>
                  <a:lnTo>
                    <a:pt x="449" y="503"/>
                  </a:lnTo>
                  <a:lnTo>
                    <a:pt x="419" y="479"/>
                  </a:lnTo>
                  <a:lnTo>
                    <a:pt x="386" y="468"/>
                  </a:lnTo>
                  <a:lnTo>
                    <a:pt x="353" y="497"/>
                  </a:lnTo>
                  <a:lnTo>
                    <a:pt x="320" y="500"/>
                  </a:lnTo>
                  <a:lnTo>
                    <a:pt x="287" y="503"/>
                  </a:lnTo>
                  <a:lnTo>
                    <a:pt x="215" y="462"/>
                  </a:lnTo>
                  <a:lnTo>
                    <a:pt x="203" y="426"/>
                  </a:lnTo>
                  <a:lnTo>
                    <a:pt x="221" y="390"/>
                  </a:lnTo>
                  <a:lnTo>
                    <a:pt x="200" y="375"/>
                  </a:lnTo>
                  <a:lnTo>
                    <a:pt x="173" y="375"/>
                  </a:lnTo>
                  <a:lnTo>
                    <a:pt x="165" y="366"/>
                  </a:lnTo>
                  <a:lnTo>
                    <a:pt x="138" y="375"/>
                  </a:lnTo>
                  <a:lnTo>
                    <a:pt x="108" y="354"/>
                  </a:lnTo>
                  <a:lnTo>
                    <a:pt x="120" y="321"/>
                  </a:lnTo>
                  <a:lnTo>
                    <a:pt x="141" y="318"/>
                  </a:lnTo>
                  <a:lnTo>
                    <a:pt x="150" y="312"/>
                  </a:lnTo>
                  <a:lnTo>
                    <a:pt x="159" y="282"/>
                  </a:lnTo>
                  <a:lnTo>
                    <a:pt x="147" y="267"/>
                  </a:lnTo>
                  <a:lnTo>
                    <a:pt x="72" y="252"/>
                  </a:lnTo>
                  <a:lnTo>
                    <a:pt x="57" y="231"/>
                  </a:lnTo>
                  <a:lnTo>
                    <a:pt x="36" y="231"/>
                  </a:lnTo>
                  <a:lnTo>
                    <a:pt x="15" y="231"/>
                  </a:lnTo>
                  <a:lnTo>
                    <a:pt x="0" y="204"/>
                  </a:lnTo>
                  <a:lnTo>
                    <a:pt x="0" y="19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8" name="Freeform 142"/>
            <p:cNvSpPr>
              <a:spLocks/>
            </p:cNvSpPr>
            <p:nvPr/>
          </p:nvSpPr>
          <p:spPr bwMode="auto">
            <a:xfrm>
              <a:off x="3780086" y="5080025"/>
              <a:ext cx="976313" cy="698500"/>
            </a:xfrm>
            <a:custGeom>
              <a:avLst/>
              <a:gdLst>
                <a:gd name="T0" fmla="*/ 13 w 695"/>
                <a:gd name="T1" fmla="*/ 64 h 503"/>
                <a:gd name="T2" fmla="*/ 32 w 695"/>
                <a:gd name="T3" fmla="*/ 57 h 503"/>
                <a:gd name="T4" fmla="*/ 60 w 695"/>
                <a:gd name="T5" fmla="*/ 64 h 503"/>
                <a:gd name="T6" fmla="*/ 66 w 695"/>
                <a:gd name="T7" fmla="*/ 51 h 503"/>
                <a:gd name="T8" fmla="*/ 109 w 695"/>
                <a:gd name="T9" fmla="*/ 39 h 503"/>
                <a:gd name="T10" fmla="*/ 142 w 695"/>
                <a:gd name="T11" fmla="*/ 33 h 503"/>
                <a:gd name="T12" fmla="*/ 156 w 695"/>
                <a:gd name="T13" fmla="*/ 36 h 503"/>
                <a:gd name="T14" fmla="*/ 167 w 695"/>
                <a:gd name="T15" fmla="*/ 29 h 503"/>
                <a:gd name="T16" fmla="*/ 172 w 695"/>
                <a:gd name="T17" fmla="*/ 21 h 503"/>
                <a:gd name="T18" fmla="*/ 186 w 695"/>
                <a:gd name="T19" fmla="*/ 13 h 503"/>
                <a:gd name="T20" fmla="*/ 204 w 695"/>
                <a:gd name="T21" fmla="*/ 6 h 503"/>
                <a:gd name="T22" fmla="*/ 212 w 695"/>
                <a:gd name="T23" fmla="*/ 13 h 503"/>
                <a:gd name="T24" fmla="*/ 231 w 695"/>
                <a:gd name="T25" fmla="*/ 4 h 503"/>
                <a:gd name="T26" fmla="*/ 251 w 695"/>
                <a:gd name="T27" fmla="*/ 4 h 503"/>
                <a:gd name="T28" fmla="*/ 260 w 695"/>
                <a:gd name="T29" fmla="*/ 15 h 503"/>
                <a:gd name="T30" fmla="*/ 248 w 695"/>
                <a:gd name="T31" fmla="*/ 36 h 503"/>
                <a:gd name="T32" fmla="*/ 248 w 695"/>
                <a:gd name="T33" fmla="*/ 46 h 503"/>
                <a:gd name="T34" fmla="*/ 266 w 695"/>
                <a:gd name="T35" fmla="*/ 53 h 503"/>
                <a:gd name="T36" fmla="*/ 281 w 695"/>
                <a:gd name="T37" fmla="*/ 49 h 503"/>
                <a:gd name="T38" fmla="*/ 281 w 695"/>
                <a:gd name="T39" fmla="*/ 72 h 503"/>
                <a:gd name="T40" fmla="*/ 265 w 695"/>
                <a:gd name="T41" fmla="*/ 95 h 503"/>
                <a:gd name="T42" fmla="*/ 244 w 695"/>
                <a:gd name="T43" fmla="*/ 125 h 503"/>
                <a:gd name="T44" fmla="*/ 231 w 695"/>
                <a:gd name="T45" fmla="*/ 141 h 503"/>
                <a:gd name="T46" fmla="*/ 220 w 695"/>
                <a:gd name="T47" fmla="*/ 149 h 503"/>
                <a:gd name="T48" fmla="*/ 185 w 695"/>
                <a:gd name="T49" fmla="*/ 166 h 503"/>
                <a:gd name="T50" fmla="*/ 159 w 695"/>
                <a:gd name="T51" fmla="*/ 154 h 503"/>
                <a:gd name="T52" fmla="*/ 132 w 695"/>
                <a:gd name="T53" fmla="*/ 164 h 503"/>
                <a:gd name="T54" fmla="*/ 88 w 695"/>
                <a:gd name="T55" fmla="*/ 151 h 503"/>
                <a:gd name="T56" fmla="*/ 92 w 695"/>
                <a:gd name="T57" fmla="*/ 128 h 503"/>
                <a:gd name="T58" fmla="*/ 71 w 695"/>
                <a:gd name="T59" fmla="*/ 123 h 503"/>
                <a:gd name="T60" fmla="*/ 57 w 695"/>
                <a:gd name="T61" fmla="*/ 123 h 503"/>
                <a:gd name="T62" fmla="*/ 49 w 695"/>
                <a:gd name="T63" fmla="*/ 106 h 503"/>
                <a:gd name="T64" fmla="*/ 61 w 695"/>
                <a:gd name="T65" fmla="*/ 103 h 503"/>
                <a:gd name="T66" fmla="*/ 60 w 695"/>
                <a:gd name="T67" fmla="*/ 88 h 503"/>
                <a:gd name="T68" fmla="*/ 24 w 695"/>
                <a:gd name="T69" fmla="*/ 76 h 503"/>
                <a:gd name="T70" fmla="*/ 5 w 695"/>
                <a:gd name="T71" fmla="*/ 76 h 503"/>
                <a:gd name="T72" fmla="*/ 0 w 695"/>
                <a:gd name="T73" fmla="*/ 64 h 5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95" h="503">
                  <a:moveTo>
                    <a:pt x="0" y="192"/>
                  </a:moveTo>
                  <a:lnTo>
                    <a:pt x="30" y="195"/>
                  </a:lnTo>
                  <a:lnTo>
                    <a:pt x="63" y="165"/>
                  </a:lnTo>
                  <a:lnTo>
                    <a:pt x="75" y="174"/>
                  </a:lnTo>
                  <a:lnTo>
                    <a:pt x="138" y="198"/>
                  </a:lnTo>
                  <a:lnTo>
                    <a:pt x="147" y="192"/>
                  </a:lnTo>
                  <a:lnTo>
                    <a:pt x="150" y="171"/>
                  </a:lnTo>
                  <a:lnTo>
                    <a:pt x="162" y="159"/>
                  </a:lnTo>
                  <a:lnTo>
                    <a:pt x="248" y="102"/>
                  </a:lnTo>
                  <a:lnTo>
                    <a:pt x="263" y="120"/>
                  </a:lnTo>
                  <a:lnTo>
                    <a:pt x="317" y="138"/>
                  </a:lnTo>
                  <a:lnTo>
                    <a:pt x="344" y="99"/>
                  </a:lnTo>
                  <a:lnTo>
                    <a:pt x="359" y="108"/>
                  </a:lnTo>
                  <a:lnTo>
                    <a:pt x="380" y="108"/>
                  </a:lnTo>
                  <a:lnTo>
                    <a:pt x="380" y="96"/>
                  </a:lnTo>
                  <a:lnTo>
                    <a:pt x="407" y="87"/>
                  </a:lnTo>
                  <a:lnTo>
                    <a:pt x="407" y="78"/>
                  </a:lnTo>
                  <a:lnTo>
                    <a:pt x="419" y="66"/>
                  </a:lnTo>
                  <a:lnTo>
                    <a:pt x="425" y="69"/>
                  </a:lnTo>
                  <a:lnTo>
                    <a:pt x="452" y="42"/>
                  </a:lnTo>
                  <a:lnTo>
                    <a:pt x="476" y="48"/>
                  </a:lnTo>
                  <a:lnTo>
                    <a:pt x="497" y="18"/>
                  </a:lnTo>
                  <a:lnTo>
                    <a:pt x="509" y="42"/>
                  </a:lnTo>
                  <a:lnTo>
                    <a:pt x="515" y="39"/>
                  </a:lnTo>
                  <a:lnTo>
                    <a:pt x="551" y="6"/>
                  </a:lnTo>
                  <a:lnTo>
                    <a:pt x="560" y="6"/>
                  </a:lnTo>
                  <a:lnTo>
                    <a:pt x="578" y="0"/>
                  </a:lnTo>
                  <a:lnTo>
                    <a:pt x="608" y="6"/>
                  </a:lnTo>
                  <a:lnTo>
                    <a:pt x="608" y="39"/>
                  </a:lnTo>
                  <a:lnTo>
                    <a:pt x="629" y="45"/>
                  </a:lnTo>
                  <a:lnTo>
                    <a:pt x="623" y="75"/>
                  </a:lnTo>
                  <a:lnTo>
                    <a:pt x="602" y="108"/>
                  </a:lnTo>
                  <a:lnTo>
                    <a:pt x="593" y="138"/>
                  </a:lnTo>
                  <a:lnTo>
                    <a:pt x="602" y="138"/>
                  </a:lnTo>
                  <a:lnTo>
                    <a:pt x="626" y="117"/>
                  </a:lnTo>
                  <a:lnTo>
                    <a:pt x="647" y="162"/>
                  </a:lnTo>
                  <a:lnTo>
                    <a:pt x="665" y="150"/>
                  </a:lnTo>
                  <a:lnTo>
                    <a:pt x="683" y="150"/>
                  </a:lnTo>
                  <a:lnTo>
                    <a:pt x="695" y="195"/>
                  </a:lnTo>
                  <a:lnTo>
                    <a:pt x="683" y="216"/>
                  </a:lnTo>
                  <a:lnTo>
                    <a:pt x="683" y="234"/>
                  </a:lnTo>
                  <a:lnTo>
                    <a:pt x="644" y="288"/>
                  </a:lnTo>
                  <a:lnTo>
                    <a:pt x="647" y="342"/>
                  </a:lnTo>
                  <a:lnTo>
                    <a:pt x="593" y="381"/>
                  </a:lnTo>
                  <a:lnTo>
                    <a:pt x="590" y="417"/>
                  </a:lnTo>
                  <a:lnTo>
                    <a:pt x="560" y="432"/>
                  </a:lnTo>
                  <a:lnTo>
                    <a:pt x="560" y="450"/>
                  </a:lnTo>
                  <a:lnTo>
                    <a:pt x="533" y="456"/>
                  </a:lnTo>
                  <a:lnTo>
                    <a:pt x="509" y="494"/>
                  </a:lnTo>
                  <a:lnTo>
                    <a:pt x="449" y="503"/>
                  </a:lnTo>
                  <a:lnTo>
                    <a:pt x="419" y="479"/>
                  </a:lnTo>
                  <a:lnTo>
                    <a:pt x="386" y="468"/>
                  </a:lnTo>
                  <a:lnTo>
                    <a:pt x="353" y="497"/>
                  </a:lnTo>
                  <a:lnTo>
                    <a:pt x="320" y="500"/>
                  </a:lnTo>
                  <a:lnTo>
                    <a:pt x="287" y="503"/>
                  </a:lnTo>
                  <a:lnTo>
                    <a:pt x="215" y="462"/>
                  </a:lnTo>
                  <a:lnTo>
                    <a:pt x="203" y="426"/>
                  </a:lnTo>
                  <a:lnTo>
                    <a:pt x="221" y="390"/>
                  </a:lnTo>
                  <a:lnTo>
                    <a:pt x="200" y="375"/>
                  </a:lnTo>
                  <a:lnTo>
                    <a:pt x="173" y="375"/>
                  </a:lnTo>
                  <a:lnTo>
                    <a:pt x="165" y="366"/>
                  </a:lnTo>
                  <a:lnTo>
                    <a:pt x="138" y="375"/>
                  </a:lnTo>
                  <a:lnTo>
                    <a:pt x="108" y="354"/>
                  </a:lnTo>
                  <a:lnTo>
                    <a:pt x="120" y="321"/>
                  </a:lnTo>
                  <a:lnTo>
                    <a:pt x="141" y="318"/>
                  </a:lnTo>
                  <a:lnTo>
                    <a:pt x="150" y="312"/>
                  </a:lnTo>
                  <a:lnTo>
                    <a:pt x="159" y="282"/>
                  </a:lnTo>
                  <a:lnTo>
                    <a:pt x="147" y="267"/>
                  </a:lnTo>
                  <a:lnTo>
                    <a:pt x="72" y="252"/>
                  </a:lnTo>
                  <a:lnTo>
                    <a:pt x="57" y="231"/>
                  </a:lnTo>
                  <a:lnTo>
                    <a:pt x="36" y="231"/>
                  </a:lnTo>
                  <a:lnTo>
                    <a:pt x="15" y="231"/>
                  </a:lnTo>
                  <a:lnTo>
                    <a:pt x="0" y="204"/>
                  </a:lnTo>
                  <a:lnTo>
                    <a:pt x="0" y="192"/>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49" name="Freeform 143"/>
            <p:cNvSpPr>
              <a:spLocks/>
            </p:cNvSpPr>
            <p:nvPr/>
          </p:nvSpPr>
          <p:spPr bwMode="auto">
            <a:xfrm>
              <a:off x="4364286" y="5953150"/>
              <a:ext cx="312738" cy="284162"/>
            </a:xfrm>
            <a:custGeom>
              <a:avLst/>
              <a:gdLst>
                <a:gd name="T0" fmla="*/ 91 w 222"/>
                <a:gd name="T1" fmla="*/ 12 h 204"/>
                <a:gd name="T2" fmla="*/ 73 w 222"/>
                <a:gd name="T3" fmla="*/ 37 h 204"/>
                <a:gd name="T4" fmla="*/ 73 w 222"/>
                <a:gd name="T5" fmla="*/ 47 h 204"/>
                <a:gd name="T6" fmla="*/ 40 w 222"/>
                <a:gd name="T7" fmla="*/ 68 h 204"/>
                <a:gd name="T8" fmla="*/ 5 w 222"/>
                <a:gd name="T9" fmla="*/ 59 h 204"/>
                <a:gd name="T10" fmla="*/ 0 w 222"/>
                <a:gd name="T11" fmla="*/ 39 h 204"/>
                <a:gd name="T12" fmla="*/ 3 w 222"/>
                <a:gd name="T13" fmla="*/ 31 h 204"/>
                <a:gd name="T14" fmla="*/ 21 w 222"/>
                <a:gd name="T15" fmla="*/ 14 h 204"/>
                <a:gd name="T16" fmla="*/ 27 w 222"/>
                <a:gd name="T17" fmla="*/ 11 h 204"/>
                <a:gd name="T18" fmla="*/ 58 w 222"/>
                <a:gd name="T19" fmla="*/ 6 h 204"/>
                <a:gd name="T20" fmla="*/ 71 w 222"/>
                <a:gd name="T21" fmla="*/ 4 h 204"/>
                <a:gd name="T22" fmla="*/ 76 w 222"/>
                <a:gd name="T23" fmla="*/ 0 h 204"/>
                <a:gd name="T24" fmla="*/ 85 w 222"/>
                <a:gd name="T25" fmla="*/ 4 h 204"/>
                <a:gd name="T26" fmla="*/ 91 w 222"/>
                <a:gd name="T27" fmla="*/ 1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22" h="204">
                  <a:moveTo>
                    <a:pt x="222" y="36"/>
                  </a:moveTo>
                  <a:lnTo>
                    <a:pt x="180" y="108"/>
                  </a:lnTo>
                  <a:lnTo>
                    <a:pt x="180" y="138"/>
                  </a:lnTo>
                  <a:lnTo>
                    <a:pt x="99" y="204"/>
                  </a:lnTo>
                  <a:lnTo>
                    <a:pt x="15" y="177"/>
                  </a:lnTo>
                  <a:lnTo>
                    <a:pt x="0" y="117"/>
                  </a:lnTo>
                  <a:lnTo>
                    <a:pt x="3" y="90"/>
                  </a:lnTo>
                  <a:lnTo>
                    <a:pt x="51" y="42"/>
                  </a:lnTo>
                  <a:lnTo>
                    <a:pt x="66" y="30"/>
                  </a:lnTo>
                  <a:lnTo>
                    <a:pt x="141" y="18"/>
                  </a:lnTo>
                  <a:lnTo>
                    <a:pt x="174" y="15"/>
                  </a:lnTo>
                  <a:lnTo>
                    <a:pt x="186" y="0"/>
                  </a:lnTo>
                  <a:lnTo>
                    <a:pt x="210" y="6"/>
                  </a:lnTo>
                  <a:lnTo>
                    <a:pt x="222" y="36"/>
                  </a:lnTo>
                  <a:close/>
                </a:path>
              </a:pathLst>
            </a:custGeom>
            <a:solidFill>
              <a:schemeClr val="bg1">
                <a:lumMod val="75000"/>
              </a:schemeClr>
            </a:solidFill>
            <a:ln w="0">
              <a:solidFill>
                <a:srgbClr val="000000">
                  <a:lumMod val="50000"/>
                  <a:lumOff val="50000"/>
                </a:srgb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0" name="Freeform 144"/>
            <p:cNvSpPr>
              <a:spLocks/>
            </p:cNvSpPr>
            <p:nvPr/>
          </p:nvSpPr>
          <p:spPr bwMode="auto">
            <a:xfrm>
              <a:off x="4364286" y="5953150"/>
              <a:ext cx="312738" cy="284162"/>
            </a:xfrm>
            <a:custGeom>
              <a:avLst/>
              <a:gdLst>
                <a:gd name="T0" fmla="*/ 91 w 222"/>
                <a:gd name="T1" fmla="*/ 12 h 204"/>
                <a:gd name="T2" fmla="*/ 73 w 222"/>
                <a:gd name="T3" fmla="*/ 37 h 204"/>
                <a:gd name="T4" fmla="*/ 73 w 222"/>
                <a:gd name="T5" fmla="*/ 47 h 204"/>
                <a:gd name="T6" fmla="*/ 40 w 222"/>
                <a:gd name="T7" fmla="*/ 68 h 204"/>
                <a:gd name="T8" fmla="*/ 5 w 222"/>
                <a:gd name="T9" fmla="*/ 59 h 204"/>
                <a:gd name="T10" fmla="*/ 0 w 222"/>
                <a:gd name="T11" fmla="*/ 39 h 204"/>
                <a:gd name="T12" fmla="*/ 3 w 222"/>
                <a:gd name="T13" fmla="*/ 31 h 204"/>
                <a:gd name="T14" fmla="*/ 21 w 222"/>
                <a:gd name="T15" fmla="*/ 14 h 204"/>
                <a:gd name="T16" fmla="*/ 27 w 222"/>
                <a:gd name="T17" fmla="*/ 11 h 204"/>
                <a:gd name="T18" fmla="*/ 58 w 222"/>
                <a:gd name="T19" fmla="*/ 6 h 204"/>
                <a:gd name="T20" fmla="*/ 71 w 222"/>
                <a:gd name="T21" fmla="*/ 4 h 204"/>
                <a:gd name="T22" fmla="*/ 76 w 222"/>
                <a:gd name="T23" fmla="*/ 0 h 204"/>
                <a:gd name="T24" fmla="*/ 85 w 222"/>
                <a:gd name="T25" fmla="*/ 4 h 204"/>
                <a:gd name="T26" fmla="*/ 91 w 222"/>
                <a:gd name="T27" fmla="*/ 1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22" h="204">
                  <a:moveTo>
                    <a:pt x="222" y="36"/>
                  </a:moveTo>
                  <a:lnTo>
                    <a:pt x="180" y="108"/>
                  </a:lnTo>
                  <a:lnTo>
                    <a:pt x="180" y="138"/>
                  </a:lnTo>
                  <a:lnTo>
                    <a:pt x="99" y="204"/>
                  </a:lnTo>
                  <a:lnTo>
                    <a:pt x="15" y="177"/>
                  </a:lnTo>
                  <a:lnTo>
                    <a:pt x="0" y="117"/>
                  </a:lnTo>
                  <a:lnTo>
                    <a:pt x="3" y="90"/>
                  </a:lnTo>
                  <a:lnTo>
                    <a:pt x="51" y="42"/>
                  </a:lnTo>
                  <a:lnTo>
                    <a:pt x="66" y="30"/>
                  </a:lnTo>
                  <a:lnTo>
                    <a:pt x="141" y="18"/>
                  </a:lnTo>
                  <a:lnTo>
                    <a:pt x="174" y="15"/>
                  </a:lnTo>
                  <a:lnTo>
                    <a:pt x="186" y="0"/>
                  </a:lnTo>
                  <a:lnTo>
                    <a:pt x="210" y="6"/>
                  </a:lnTo>
                  <a:lnTo>
                    <a:pt x="222" y="36"/>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1" name="Freeform 145"/>
            <p:cNvSpPr>
              <a:spLocks/>
            </p:cNvSpPr>
            <p:nvPr/>
          </p:nvSpPr>
          <p:spPr bwMode="auto">
            <a:xfrm>
              <a:off x="2881561" y="4710137"/>
              <a:ext cx="1122363" cy="1147763"/>
            </a:xfrm>
            <a:custGeom>
              <a:avLst/>
              <a:gdLst>
                <a:gd name="T0" fmla="*/ 287 w 800"/>
                <a:gd name="T1" fmla="*/ 42 h 827"/>
                <a:gd name="T2" fmla="*/ 265 w 800"/>
                <a:gd name="T3" fmla="*/ 46 h 827"/>
                <a:gd name="T4" fmla="*/ 255 w 800"/>
                <a:gd name="T5" fmla="*/ 33 h 827"/>
                <a:gd name="T6" fmla="*/ 251 w 800"/>
                <a:gd name="T7" fmla="*/ 24 h 827"/>
                <a:gd name="T8" fmla="*/ 232 w 800"/>
                <a:gd name="T9" fmla="*/ 24 h 827"/>
                <a:gd name="T10" fmla="*/ 224 w 800"/>
                <a:gd name="T11" fmla="*/ 36 h 827"/>
                <a:gd name="T12" fmla="*/ 224 w 800"/>
                <a:gd name="T13" fmla="*/ 47 h 827"/>
                <a:gd name="T14" fmla="*/ 204 w 800"/>
                <a:gd name="T15" fmla="*/ 95 h 827"/>
                <a:gd name="T16" fmla="*/ 188 w 800"/>
                <a:gd name="T17" fmla="*/ 98 h 827"/>
                <a:gd name="T18" fmla="*/ 157 w 800"/>
                <a:gd name="T19" fmla="*/ 106 h 827"/>
                <a:gd name="T20" fmla="*/ 113 w 800"/>
                <a:gd name="T21" fmla="*/ 46 h 827"/>
                <a:gd name="T22" fmla="*/ 94 w 800"/>
                <a:gd name="T23" fmla="*/ 37 h 827"/>
                <a:gd name="T24" fmla="*/ 93 w 800"/>
                <a:gd name="T25" fmla="*/ 24 h 827"/>
                <a:gd name="T26" fmla="*/ 70 w 800"/>
                <a:gd name="T27" fmla="*/ 33 h 827"/>
                <a:gd name="T28" fmla="*/ 60 w 800"/>
                <a:gd name="T29" fmla="*/ 0 h 827"/>
                <a:gd name="T30" fmla="*/ 45 w 800"/>
                <a:gd name="T31" fmla="*/ 13 h 827"/>
                <a:gd name="T32" fmla="*/ 43 w 800"/>
                <a:gd name="T33" fmla="*/ 34 h 827"/>
                <a:gd name="T34" fmla="*/ 33 w 800"/>
                <a:gd name="T35" fmla="*/ 30 h 827"/>
                <a:gd name="T36" fmla="*/ 33 w 800"/>
                <a:gd name="T37" fmla="*/ 55 h 827"/>
                <a:gd name="T38" fmla="*/ 45 w 800"/>
                <a:gd name="T39" fmla="*/ 57 h 827"/>
                <a:gd name="T40" fmla="*/ 44 w 800"/>
                <a:gd name="T41" fmla="*/ 112 h 827"/>
                <a:gd name="T42" fmla="*/ 7 w 800"/>
                <a:gd name="T43" fmla="*/ 147 h 827"/>
                <a:gd name="T44" fmla="*/ 0 w 800"/>
                <a:gd name="T45" fmla="*/ 156 h 827"/>
                <a:gd name="T46" fmla="*/ 0 w 800"/>
                <a:gd name="T47" fmla="*/ 177 h 827"/>
                <a:gd name="T48" fmla="*/ 21 w 800"/>
                <a:gd name="T49" fmla="*/ 174 h 827"/>
                <a:gd name="T50" fmla="*/ 43 w 800"/>
                <a:gd name="T51" fmla="*/ 182 h 827"/>
                <a:gd name="T52" fmla="*/ 49 w 800"/>
                <a:gd name="T53" fmla="*/ 201 h 827"/>
                <a:gd name="T54" fmla="*/ 67 w 800"/>
                <a:gd name="T55" fmla="*/ 204 h 827"/>
                <a:gd name="T56" fmla="*/ 66 w 800"/>
                <a:gd name="T57" fmla="*/ 217 h 827"/>
                <a:gd name="T58" fmla="*/ 60 w 800"/>
                <a:gd name="T59" fmla="*/ 236 h 827"/>
                <a:gd name="T60" fmla="*/ 72 w 800"/>
                <a:gd name="T61" fmla="*/ 240 h 827"/>
                <a:gd name="T62" fmla="*/ 86 w 800"/>
                <a:gd name="T63" fmla="*/ 248 h 827"/>
                <a:gd name="T64" fmla="*/ 113 w 800"/>
                <a:gd name="T65" fmla="*/ 261 h 827"/>
                <a:gd name="T66" fmla="*/ 136 w 800"/>
                <a:gd name="T67" fmla="*/ 255 h 827"/>
                <a:gd name="T68" fmla="*/ 140 w 800"/>
                <a:gd name="T69" fmla="*/ 268 h 827"/>
                <a:gd name="T70" fmla="*/ 154 w 800"/>
                <a:gd name="T71" fmla="*/ 270 h 827"/>
                <a:gd name="T72" fmla="*/ 162 w 800"/>
                <a:gd name="T73" fmla="*/ 269 h 827"/>
                <a:gd name="T74" fmla="*/ 155 w 800"/>
                <a:gd name="T75" fmla="*/ 236 h 827"/>
                <a:gd name="T76" fmla="*/ 177 w 800"/>
                <a:gd name="T77" fmla="*/ 229 h 827"/>
                <a:gd name="T78" fmla="*/ 188 w 800"/>
                <a:gd name="T79" fmla="*/ 221 h 827"/>
                <a:gd name="T80" fmla="*/ 220 w 800"/>
                <a:gd name="T81" fmla="*/ 221 h 827"/>
                <a:gd name="T82" fmla="*/ 234 w 800"/>
                <a:gd name="T83" fmla="*/ 219 h 827"/>
                <a:gd name="T84" fmla="*/ 245 w 800"/>
                <a:gd name="T85" fmla="*/ 226 h 827"/>
                <a:gd name="T86" fmla="*/ 257 w 800"/>
                <a:gd name="T87" fmla="*/ 217 h 827"/>
                <a:gd name="T88" fmla="*/ 271 w 800"/>
                <a:gd name="T89" fmla="*/ 217 h 827"/>
                <a:gd name="T90" fmla="*/ 290 w 800"/>
                <a:gd name="T91" fmla="*/ 201 h 827"/>
                <a:gd name="T92" fmla="*/ 308 w 800"/>
                <a:gd name="T93" fmla="*/ 204 h 827"/>
                <a:gd name="T94" fmla="*/ 320 w 800"/>
                <a:gd name="T95" fmla="*/ 193 h 827"/>
                <a:gd name="T96" fmla="*/ 329 w 800"/>
                <a:gd name="T97" fmla="*/ 180 h 827"/>
                <a:gd name="T98" fmla="*/ 293 w 800"/>
                <a:gd name="T99" fmla="*/ 171 h 827"/>
                <a:gd name="T100" fmla="*/ 278 w 800"/>
                <a:gd name="T101" fmla="*/ 164 h 827"/>
                <a:gd name="T102" fmla="*/ 264 w 800"/>
                <a:gd name="T103" fmla="*/ 156 h 827"/>
                <a:gd name="T104" fmla="*/ 268 w 800"/>
                <a:gd name="T105" fmla="*/ 133 h 827"/>
                <a:gd name="T106" fmla="*/ 265 w 800"/>
                <a:gd name="T107" fmla="*/ 92 h 827"/>
                <a:gd name="T108" fmla="*/ 238 w 800"/>
                <a:gd name="T109" fmla="*/ 92 h 827"/>
                <a:gd name="T110" fmla="*/ 232 w 800"/>
                <a:gd name="T111" fmla="*/ 79 h 827"/>
                <a:gd name="T112" fmla="*/ 239 w 800"/>
                <a:gd name="T113" fmla="*/ 64 h 827"/>
                <a:gd name="T114" fmla="*/ 255 w 800"/>
                <a:gd name="T115" fmla="*/ 63 h 827"/>
                <a:gd name="T116" fmla="*/ 284 w 800"/>
                <a:gd name="T117" fmla="*/ 63 h 8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00" h="827">
                  <a:moveTo>
                    <a:pt x="704" y="153"/>
                  </a:moveTo>
                  <a:lnTo>
                    <a:pt x="698" y="129"/>
                  </a:lnTo>
                  <a:lnTo>
                    <a:pt x="677" y="123"/>
                  </a:lnTo>
                  <a:lnTo>
                    <a:pt x="644" y="141"/>
                  </a:lnTo>
                  <a:lnTo>
                    <a:pt x="620" y="132"/>
                  </a:lnTo>
                  <a:lnTo>
                    <a:pt x="620" y="102"/>
                  </a:lnTo>
                  <a:lnTo>
                    <a:pt x="608" y="87"/>
                  </a:lnTo>
                  <a:lnTo>
                    <a:pt x="608" y="72"/>
                  </a:lnTo>
                  <a:lnTo>
                    <a:pt x="575" y="66"/>
                  </a:lnTo>
                  <a:lnTo>
                    <a:pt x="566" y="75"/>
                  </a:lnTo>
                  <a:lnTo>
                    <a:pt x="572" y="96"/>
                  </a:lnTo>
                  <a:lnTo>
                    <a:pt x="545" y="108"/>
                  </a:lnTo>
                  <a:lnTo>
                    <a:pt x="539" y="123"/>
                  </a:lnTo>
                  <a:lnTo>
                    <a:pt x="545" y="144"/>
                  </a:lnTo>
                  <a:lnTo>
                    <a:pt x="488" y="210"/>
                  </a:lnTo>
                  <a:lnTo>
                    <a:pt x="497" y="288"/>
                  </a:lnTo>
                  <a:lnTo>
                    <a:pt x="470" y="312"/>
                  </a:lnTo>
                  <a:lnTo>
                    <a:pt x="458" y="297"/>
                  </a:lnTo>
                  <a:lnTo>
                    <a:pt x="404" y="330"/>
                  </a:lnTo>
                  <a:lnTo>
                    <a:pt x="383" y="318"/>
                  </a:lnTo>
                  <a:lnTo>
                    <a:pt x="302" y="165"/>
                  </a:lnTo>
                  <a:lnTo>
                    <a:pt x="272" y="141"/>
                  </a:lnTo>
                  <a:lnTo>
                    <a:pt x="245" y="135"/>
                  </a:lnTo>
                  <a:lnTo>
                    <a:pt x="233" y="114"/>
                  </a:lnTo>
                  <a:lnTo>
                    <a:pt x="248" y="93"/>
                  </a:lnTo>
                  <a:lnTo>
                    <a:pt x="227" y="75"/>
                  </a:lnTo>
                  <a:lnTo>
                    <a:pt x="197" y="96"/>
                  </a:lnTo>
                  <a:lnTo>
                    <a:pt x="170" y="102"/>
                  </a:lnTo>
                  <a:lnTo>
                    <a:pt x="152" y="18"/>
                  </a:lnTo>
                  <a:lnTo>
                    <a:pt x="149" y="0"/>
                  </a:lnTo>
                  <a:lnTo>
                    <a:pt x="119" y="33"/>
                  </a:lnTo>
                  <a:lnTo>
                    <a:pt x="110" y="39"/>
                  </a:lnTo>
                  <a:lnTo>
                    <a:pt x="113" y="93"/>
                  </a:lnTo>
                  <a:lnTo>
                    <a:pt x="104" y="105"/>
                  </a:lnTo>
                  <a:lnTo>
                    <a:pt x="92" y="105"/>
                  </a:lnTo>
                  <a:lnTo>
                    <a:pt x="80" y="93"/>
                  </a:lnTo>
                  <a:lnTo>
                    <a:pt x="66" y="108"/>
                  </a:lnTo>
                  <a:lnTo>
                    <a:pt x="80" y="168"/>
                  </a:lnTo>
                  <a:lnTo>
                    <a:pt x="95" y="168"/>
                  </a:lnTo>
                  <a:lnTo>
                    <a:pt x="110" y="177"/>
                  </a:lnTo>
                  <a:lnTo>
                    <a:pt x="113" y="213"/>
                  </a:lnTo>
                  <a:lnTo>
                    <a:pt x="107" y="339"/>
                  </a:lnTo>
                  <a:lnTo>
                    <a:pt x="21" y="414"/>
                  </a:lnTo>
                  <a:lnTo>
                    <a:pt x="18" y="444"/>
                  </a:lnTo>
                  <a:lnTo>
                    <a:pt x="0" y="459"/>
                  </a:lnTo>
                  <a:lnTo>
                    <a:pt x="0" y="474"/>
                  </a:lnTo>
                  <a:lnTo>
                    <a:pt x="12" y="510"/>
                  </a:lnTo>
                  <a:lnTo>
                    <a:pt x="0" y="537"/>
                  </a:lnTo>
                  <a:lnTo>
                    <a:pt x="9" y="543"/>
                  </a:lnTo>
                  <a:lnTo>
                    <a:pt x="51" y="531"/>
                  </a:lnTo>
                  <a:lnTo>
                    <a:pt x="113" y="528"/>
                  </a:lnTo>
                  <a:lnTo>
                    <a:pt x="104" y="552"/>
                  </a:lnTo>
                  <a:lnTo>
                    <a:pt x="116" y="573"/>
                  </a:lnTo>
                  <a:lnTo>
                    <a:pt x="119" y="609"/>
                  </a:lnTo>
                  <a:lnTo>
                    <a:pt x="128" y="621"/>
                  </a:lnTo>
                  <a:lnTo>
                    <a:pt x="164" y="621"/>
                  </a:lnTo>
                  <a:lnTo>
                    <a:pt x="179" y="633"/>
                  </a:lnTo>
                  <a:lnTo>
                    <a:pt x="161" y="657"/>
                  </a:lnTo>
                  <a:lnTo>
                    <a:pt x="158" y="684"/>
                  </a:lnTo>
                  <a:lnTo>
                    <a:pt x="146" y="717"/>
                  </a:lnTo>
                  <a:lnTo>
                    <a:pt x="155" y="726"/>
                  </a:lnTo>
                  <a:lnTo>
                    <a:pt x="176" y="729"/>
                  </a:lnTo>
                  <a:lnTo>
                    <a:pt x="215" y="743"/>
                  </a:lnTo>
                  <a:lnTo>
                    <a:pt x="212" y="755"/>
                  </a:lnTo>
                  <a:lnTo>
                    <a:pt x="236" y="794"/>
                  </a:lnTo>
                  <a:lnTo>
                    <a:pt x="272" y="794"/>
                  </a:lnTo>
                  <a:lnTo>
                    <a:pt x="317" y="770"/>
                  </a:lnTo>
                  <a:lnTo>
                    <a:pt x="332" y="776"/>
                  </a:lnTo>
                  <a:lnTo>
                    <a:pt x="332" y="791"/>
                  </a:lnTo>
                  <a:lnTo>
                    <a:pt x="338" y="815"/>
                  </a:lnTo>
                  <a:lnTo>
                    <a:pt x="350" y="824"/>
                  </a:lnTo>
                  <a:lnTo>
                    <a:pt x="374" y="821"/>
                  </a:lnTo>
                  <a:lnTo>
                    <a:pt x="386" y="827"/>
                  </a:lnTo>
                  <a:lnTo>
                    <a:pt x="392" y="818"/>
                  </a:lnTo>
                  <a:lnTo>
                    <a:pt x="392" y="782"/>
                  </a:lnTo>
                  <a:lnTo>
                    <a:pt x="377" y="717"/>
                  </a:lnTo>
                  <a:lnTo>
                    <a:pt x="389" y="699"/>
                  </a:lnTo>
                  <a:lnTo>
                    <a:pt x="428" y="699"/>
                  </a:lnTo>
                  <a:lnTo>
                    <a:pt x="437" y="699"/>
                  </a:lnTo>
                  <a:lnTo>
                    <a:pt x="458" y="672"/>
                  </a:lnTo>
                  <a:lnTo>
                    <a:pt x="512" y="690"/>
                  </a:lnTo>
                  <a:lnTo>
                    <a:pt x="533" y="669"/>
                  </a:lnTo>
                  <a:lnTo>
                    <a:pt x="545" y="681"/>
                  </a:lnTo>
                  <a:lnTo>
                    <a:pt x="569" y="666"/>
                  </a:lnTo>
                  <a:lnTo>
                    <a:pt x="590" y="687"/>
                  </a:lnTo>
                  <a:lnTo>
                    <a:pt x="599" y="687"/>
                  </a:lnTo>
                  <a:lnTo>
                    <a:pt x="605" y="678"/>
                  </a:lnTo>
                  <a:lnTo>
                    <a:pt x="623" y="660"/>
                  </a:lnTo>
                  <a:lnTo>
                    <a:pt x="632" y="666"/>
                  </a:lnTo>
                  <a:lnTo>
                    <a:pt x="659" y="660"/>
                  </a:lnTo>
                  <a:lnTo>
                    <a:pt x="683" y="642"/>
                  </a:lnTo>
                  <a:lnTo>
                    <a:pt x="704" y="609"/>
                  </a:lnTo>
                  <a:lnTo>
                    <a:pt x="734" y="603"/>
                  </a:lnTo>
                  <a:lnTo>
                    <a:pt x="749" y="621"/>
                  </a:lnTo>
                  <a:lnTo>
                    <a:pt x="761" y="588"/>
                  </a:lnTo>
                  <a:lnTo>
                    <a:pt x="782" y="585"/>
                  </a:lnTo>
                  <a:lnTo>
                    <a:pt x="791" y="579"/>
                  </a:lnTo>
                  <a:lnTo>
                    <a:pt x="800" y="549"/>
                  </a:lnTo>
                  <a:lnTo>
                    <a:pt x="788" y="534"/>
                  </a:lnTo>
                  <a:lnTo>
                    <a:pt x="713" y="519"/>
                  </a:lnTo>
                  <a:lnTo>
                    <a:pt x="698" y="498"/>
                  </a:lnTo>
                  <a:lnTo>
                    <a:pt x="677" y="498"/>
                  </a:lnTo>
                  <a:lnTo>
                    <a:pt x="656" y="498"/>
                  </a:lnTo>
                  <a:lnTo>
                    <a:pt x="641" y="471"/>
                  </a:lnTo>
                  <a:lnTo>
                    <a:pt x="641" y="459"/>
                  </a:lnTo>
                  <a:lnTo>
                    <a:pt x="650" y="405"/>
                  </a:lnTo>
                  <a:lnTo>
                    <a:pt x="620" y="375"/>
                  </a:lnTo>
                  <a:lnTo>
                    <a:pt x="644" y="279"/>
                  </a:lnTo>
                  <a:lnTo>
                    <a:pt x="629" y="267"/>
                  </a:lnTo>
                  <a:lnTo>
                    <a:pt x="578" y="282"/>
                  </a:lnTo>
                  <a:lnTo>
                    <a:pt x="566" y="261"/>
                  </a:lnTo>
                  <a:lnTo>
                    <a:pt x="566" y="237"/>
                  </a:lnTo>
                  <a:lnTo>
                    <a:pt x="554" y="228"/>
                  </a:lnTo>
                  <a:lnTo>
                    <a:pt x="581" y="192"/>
                  </a:lnTo>
                  <a:lnTo>
                    <a:pt x="608" y="201"/>
                  </a:lnTo>
                  <a:lnTo>
                    <a:pt x="620" y="189"/>
                  </a:lnTo>
                  <a:lnTo>
                    <a:pt x="668" y="198"/>
                  </a:lnTo>
                  <a:lnTo>
                    <a:pt x="692" y="189"/>
                  </a:lnTo>
                  <a:lnTo>
                    <a:pt x="704" y="153"/>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2" name="Freeform 146"/>
            <p:cNvSpPr>
              <a:spLocks/>
            </p:cNvSpPr>
            <p:nvPr/>
          </p:nvSpPr>
          <p:spPr bwMode="auto">
            <a:xfrm>
              <a:off x="2881561" y="4710137"/>
              <a:ext cx="1122363" cy="1147763"/>
            </a:xfrm>
            <a:custGeom>
              <a:avLst/>
              <a:gdLst>
                <a:gd name="T0" fmla="*/ 287 w 800"/>
                <a:gd name="T1" fmla="*/ 42 h 827"/>
                <a:gd name="T2" fmla="*/ 265 w 800"/>
                <a:gd name="T3" fmla="*/ 46 h 827"/>
                <a:gd name="T4" fmla="*/ 255 w 800"/>
                <a:gd name="T5" fmla="*/ 33 h 827"/>
                <a:gd name="T6" fmla="*/ 251 w 800"/>
                <a:gd name="T7" fmla="*/ 24 h 827"/>
                <a:gd name="T8" fmla="*/ 232 w 800"/>
                <a:gd name="T9" fmla="*/ 24 h 827"/>
                <a:gd name="T10" fmla="*/ 224 w 800"/>
                <a:gd name="T11" fmla="*/ 36 h 827"/>
                <a:gd name="T12" fmla="*/ 224 w 800"/>
                <a:gd name="T13" fmla="*/ 47 h 827"/>
                <a:gd name="T14" fmla="*/ 204 w 800"/>
                <a:gd name="T15" fmla="*/ 95 h 827"/>
                <a:gd name="T16" fmla="*/ 188 w 800"/>
                <a:gd name="T17" fmla="*/ 98 h 827"/>
                <a:gd name="T18" fmla="*/ 157 w 800"/>
                <a:gd name="T19" fmla="*/ 106 h 827"/>
                <a:gd name="T20" fmla="*/ 113 w 800"/>
                <a:gd name="T21" fmla="*/ 46 h 827"/>
                <a:gd name="T22" fmla="*/ 94 w 800"/>
                <a:gd name="T23" fmla="*/ 37 h 827"/>
                <a:gd name="T24" fmla="*/ 93 w 800"/>
                <a:gd name="T25" fmla="*/ 24 h 827"/>
                <a:gd name="T26" fmla="*/ 70 w 800"/>
                <a:gd name="T27" fmla="*/ 33 h 827"/>
                <a:gd name="T28" fmla="*/ 60 w 800"/>
                <a:gd name="T29" fmla="*/ 0 h 827"/>
                <a:gd name="T30" fmla="*/ 45 w 800"/>
                <a:gd name="T31" fmla="*/ 13 h 827"/>
                <a:gd name="T32" fmla="*/ 43 w 800"/>
                <a:gd name="T33" fmla="*/ 34 h 827"/>
                <a:gd name="T34" fmla="*/ 33 w 800"/>
                <a:gd name="T35" fmla="*/ 30 h 827"/>
                <a:gd name="T36" fmla="*/ 33 w 800"/>
                <a:gd name="T37" fmla="*/ 55 h 827"/>
                <a:gd name="T38" fmla="*/ 45 w 800"/>
                <a:gd name="T39" fmla="*/ 57 h 827"/>
                <a:gd name="T40" fmla="*/ 44 w 800"/>
                <a:gd name="T41" fmla="*/ 112 h 827"/>
                <a:gd name="T42" fmla="*/ 7 w 800"/>
                <a:gd name="T43" fmla="*/ 147 h 827"/>
                <a:gd name="T44" fmla="*/ 0 w 800"/>
                <a:gd name="T45" fmla="*/ 156 h 827"/>
                <a:gd name="T46" fmla="*/ 0 w 800"/>
                <a:gd name="T47" fmla="*/ 177 h 827"/>
                <a:gd name="T48" fmla="*/ 21 w 800"/>
                <a:gd name="T49" fmla="*/ 174 h 827"/>
                <a:gd name="T50" fmla="*/ 43 w 800"/>
                <a:gd name="T51" fmla="*/ 182 h 827"/>
                <a:gd name="T52" fmla="*/ 49 w 800"/>
                <a:gd name="T53" fmla="*/ 201 h 827"/>
                <a:gd name="T54" fmla="*/ 67 w 800"/>
                <a:gd name="T55" fmla="*/ 204 h 827"/>
                <a:gd name="T56" fmla="*/ 66 w 800"/>
                <a:gd name="T57" fmla="*/ 217 h 827"/>
                <a:gd name="T58" fmla="*/ 60 w 800"/>
                <a:gd name="T59" fmla="*/ 236 h 827"/>
                <a:gd name="T60" fmla="*/ 72 w 800"/>
                <a:gd name="T61" fmla="*/ 240 h 827"/>
                <a:gd name="T62" fmla="*/ 86 w 800"/>
                <a:gd name="T63" fmla="*/ 248 h 827"/>
                <a:gd name="T64" fmla="*/ 113 w 800"/>
                <a:gd name="T65" fmla="*/ 261 h 827"/>
                <a:gd name="T66" fmla="*/ 136 w 800"/>
                <a:gd name="T67" fmla="*/ 255 h 827"/>
                <a:gd name="T68" fmla="*/ 140 w 800"/>
                <a:gd name="T69" fmla="*/ 268 h 827"/>
                <a:gd name="T70" fmla="*/ 154 w 800"/>
                <a:gd name="T71" fmla="*/ 270 h 827"/>
                <a:gd name="T72" fmla="*/ 162 w 800"/>
                <a:gd name="T73" fmla="*/ 269 h 827"/>
                <a:gd name="T74" fmla="*/ 155 w 800"/>
                <a:gd name="T75" fmla="*/ 236 h 827"/>
                <a:gd name="T76" fmla="*/ 177 w 800"/>
                <a:gd name="T77" fmla="*/ 229 h 827"/>
                <a:gd name="T78" fmla="*/ 188 w 800"/>
                <a:gd name="T79" fmla="*/ 221 h 827"/>
                <a:gd name="T80" fmla="*/ 220 w 800"/>
                <a:gd name="T81" fmla="*/ 221 h 827"/>
                <a:gd name="T82" fmla="*/ 234 w 800"/>
                <a:gd name="T83" fmla="*/ 219 h 827"/>
                <a:gd name="T84" fmla="*/ 245 w 800"/>
                <a:gd name="T85" fmla="*/ 226 h 827"/>
                <a:gd name="T86" fmla="*/ 257 w 800"/>
                <a:gd name="T87" fmla="*/ 217 h 827"/>
                <a:gd name="T88" fmla="*/ 271 w 800"/>
                <a:gd name="T89" fmla="*/ 217 h 827"/>
                <a:gd name="T90" fmla="*/ 290 w 800"/>
                <a:gd name="T91" fmla="*/ 201 h 827"/>
                <a:gd name="T92" fmla="*/ 308 w 800"/>
                <a:gd name="T93" fmla="*/ 204 h 827"/>
                <a:gd name="T94" fmla="*/ 320 w 800"/>
                <a:gd name="T95" fmla="*/ 193 h 827"/>
                <a:gd name="T96" fmla="*/ 329 w 800"/>
                <a:gd name="T97" fmla="*/ 180 h 827"/>
                <a:gd name="T98" fmla="*/ 293 w 800"/>
                <a:gd name="T99" fmla="*/ 171 h 827"/>
                <a:gd name="T100" fmla="*/ 278 w 800"/>
                <a:gd name="T101" fmla="*/ 164 h 827"/>
                <a:gd name="T102" fmla="*/ 264 w 800"/>
                <a:gd name="T103" fmla="*/ 156 h 827"/>
                <a:gd name="T104" fmla="*/ 268 w 800"/>
                <a:gd name="T105" fmla="*/ 133 h 827"/>
                <a:gd name="T106" fmla="*/ 265 w 800"/>
                <a:gd name="T107" fmla="*/ 92 h 827"/>
                <a:gd name="T108" fmla="*/ 238 w 800"/>
                <a:gd name="T109" fmla="*/ 92 h 827"/>
                <a:gd name="T110" fmla="*/ 232 w 800"/>
                <a:gd name="T111" fmla="*/ 79 h 827"/>
                <a:gd name="T112" fmla="*/ 239 w 800"/>
                <a:gd name="T113" fmla="*/ 64 h 827"/>
                <a:gd name="T114" fmla="*/ 255 w 800"/>
                <a:gd name="T115" fmla="*/ 63 h 827"/>
                <a:gd name="T116" fmla="*/ 284 w 800"/>
                <a:gd name="T117" fmla="*/ 63 h 82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00" h="827">
                  <a:moveTo>
                    <a:pt x="704" y="153"/>
                  </a:moveTo>
                  <a:lnTo>
                    <a:pt x="698" y="129"/>
                  </a:lnTo>
                  <a:lnTo>
                    <a:pt x="677" y="123"/>
                  </a:lnTo>
                  <a:lnTo>
                    <a:pt x="644" y="141"/>
                  </a:lnTo>
                  <a:lnTo>
                    <a:pt x="620" y="132"/>
                  </a:lnTo>
                  <a:lnTo>
                    <a:pt x="620" y="102"/>
                  </a:lnTo>
                  <a:lnTo>
                    <a:pt x="608" y="87"/>
                  </a:lnTo>
                  <a:lnTo>
                    <a:pt x="608" y="72"/>
                  </a:lnTo>
                  <a:lnTo>
                    <a:pt x="575" y="66"/>
                  </a:lnTo>
                  <a:lnTo>
                    <a:pt x="566" y="75"/>
                  </a:lnTo>
                  <a:lnTo>
                    <a:pt x="572" y="96"/>
                  </a:lnTo>
                  <a:lnTo>
                    <a:pt x="545" y="108"/>
                  </a:lnTo>
                  <a:lnTo>
                    <a:pt x="539" y="123"/>
                  </a:lnTo>
                  <a:lnTo>
                    <a:pt x="545" y="144"/>
                  </a:lnTo>
                  <a:lnTo>
                    <a:pt x="488" y="210"/>
                  </a:lnTo>
                  <a:lnTo>
                    <a:pt x="497" y="288"/>
                  </a:lnTo>
                  <a:lnTo>
                    <a:pt x="470" y="312"/>
                  </a:lnTo>
                  <a:lnTo>
                    <a:pt x="458" y="297"/>
                  </a:lnTo>
                  <a:lnTo>
                    <a:pt x="404" y="330"/>
                  </a:lnTo>
                  <a:lnTo>
                    <a:pt x="383" y="318"/>
                  </a:lnTo>
                  <a:lnTo>
                    <a:pt x="302" y="165"/>
                  </a:lnTo>
                  <a:lnTo>
                    <a:pt x="272" y="141"/>
                  </a:lnTo>
                  <a:lnTo>
                    <a:pt x="245" y="135"/>
                  </a:lnTo>
                  <a:lnTo>
                    <a:pt x="233" y="114"/>
                  </a:lnTo>
                  <a:lnTo>
                    <a:pt x="248" y="93"/>
                  </a:lnTo>
                  <a:lnTo>
                    <a:pt x="227" y="75"/>
                  </a:lnTo>
                  <a:lnTo>
                    <a:pt x="197" y="96"/>
                  </a:lnTo>
                  <a:lnTo>
                    <a:pt x="170" y="102"/>
                  </a:lnTo>
                  <a:lnTo>
                    <a:pt x="152" y="18"/>
                  </a:lnTo>
                  <a:lnTo>
                    <a:pt x="149" y="0"/>
                  </a:lnTo>
                  <a:lnTo>
                    <a:pt x="119" y="33"/>
                  </a:lnTo>
                  <a:lnTo>
                    <a:pt x="110" y="39"/>
                  </a:lnTo>
                  <a:lnTo>
                    <a:pt x="113" y="93"/>
                  </a:lnTo>
                  <a:lnTo>
                    <a:pt x="104" y="105"/>
                  </a:lnTo>
                  <a:lnTo>
                    <a:pt x="92" y="105"/>
                  </a:lnTo>
                  <a:lnTo>
                    <a:pt x="80" y="93"/>
                  </a:lnTo>
                  <a:lnTo>
                    <a:pt x="66" y="108"/>
                  </a:lnTo>
                  <a:lnTo>
                    <a:pt x="80" y="168"/>
                  </a:lnTo>
                  <a:lnTo>
                    <a:pt x="95" y="168"/>
                  </a:lnTo>
                  <a:lnTo>
                    <a:pt x="110" y="177"/>
                  </a:lnTo>
                  <a:lnTo>
                    <a:pt x="113" y="213"/>
                  </a:lnTo>
                  <a:lnTo>
                    <a:pt x="107" y="339"/>
                  </a:lnTo>
                  <a:lnTo>
                    <a:pt x="21" y="414"/>
                  </a:lnTo>
                  <a:lnTo>
                    <a:pt x="18" y="444"/>
                  </a:lnTo>
                  <a:lnTo>
                    <a:pt x="0" y="459"/>
                  </a:lnTo>
                  <a:lnTo>
                    <a:pt x="0" y="474"/>
                  </a:lnTo>
                  <a:lnTo>
                    <a:pt x="12" y="510"/>
                  </a:lnTo>
                  <a:lnTo>
                    <a:pt x="0" y="537"/>
                  </a:lnTo>
                  <a:lnTo>
                    <a:pt x="9" y="543"/>
                  </a:lnTo>
                  <a:lnTo>
                    <a:pt x="51" y="531"/>
                  </a:lnTo>
                  <a:lnTo>
                    <a:pt x="113" y="528"/>
                  </a:lnTo>
                  <a:lnTo>
                    <a:pt x="104" y="552"/>
                  </a:lnTo>
                  <a:lnTo>
                    <a:pt x="116" y="573"/>
                  </a:lnTo>
                  <a:lnTo>
                    <a:pt x="119" y="609"/>
                  </a:lnTo>
                  <a:lnTo>
                    <a:pt x="128" y="621"/>
                  </a:lnTo>
                  <a:lnTo>
                    <a:pt x="164" y="621"/>
                  </a:lnTo>
                  <a:lnTo>
                    <a:pt x="179" y="633"/>
                  </a:lnTo>
                  <a:lnTo>
                    <a:pt x="161" y="657"/>
                  </a:lnTo>
                  <a:lnTo>
                    <a:pt x="158" y="684"/>
                  </a:lnTo>
                  <a:lnTo>
                    <a:pt x="146" y="717"/>
                  </a:lnTo>
                  <a:lnTo>
                    <a:pt x="155" y="726"/>
                  </a:lnTo>
                  <a:lnTo>
                    <a:pt x="176" y="729"/>
                  </a:lnTo>
                  <a:lnTo>
                    <a:pt x="215" y="743"/>
                  </a:lnTo>
                  <a:lnTo>
                    <a:pt x="212" y="755"/>
                  </a:lnTo>
                  <a:lnTo>
                    <a:pt x="236" y="794"/>
                  </a:lnTo>
                  <a:lnTo>
                    <a:pt x="272" y="794"/>
                  </a:lnTo>
                  <a:lnTo>
                    <a:pt x="317" y="770"/>
                  </a:lnTo>
                  <a:lnTo>
                    <a:pt x="332" y="776"/>
                  </a:lnTo>
                  <a:lnTo>
                    <a:pt x="332" y="791"/>
                  </a:lnTo>
                  <a:lnTo>
                    <a:pt x="338" y="815"/>
                  </a:lnTo>
                  <a:lnTo>
                    <a:pt x="350" y="824"/>
                  </a:lnTo>
                  <a:lnTo>
                    <a:pt x="374" y="821"/>
                  </a:lnTo>
                  <a:lnTo>
                    <a:pt x="386" y="827"/>
                  </a:lnTo>
                  <a:lnTo>
                    <a:pt x="392" y="818"/>
                  </a:lnTo>
                  <a:lnTo>
                    <a:pt x="392" y="782"/>
                  </a:lnTo>
                  <a:lnTo>
                    <a:pt x="377" y="717"/>
                  </a:lnTo>
                  <a:lnTo>
                    <a:pt x="389" y="699"/>
                  </a:lnTo>
                  <a:lnTo>
                    <a:pt x="428" y="699"/>
                  </a:lnTo>
                  <a:lnTo>
                    <a:pt x="437" y="699"/>
                  </a:lnTo>
                  <a:lnTo>
                    <a:pt x="458" y="672"/>
                  </a:lnTo>
                  <a:lnTo>
                    <a:pt x="512" y="690"/>
                  </a:lnTo>
                  <a:lnTo>
                    <a:pt x="533" y="669"/>
                  </a:lnTo>
                  <a:lnTo>
                    <a:pt x="545" y="681"/>
                  </a:lnTo>
                  <a:lnTo>
                    <a:pt x="569" y="666"/>
                  </a:lnTo>
                  <a:lnTo>
                    <a:pt x="590" y="687"/>
                  </a:lnTo>
                  <a:lnTo>
                    <a:pt x="599" y="687"/>
                  </a:lnTo>
                  <a:lnTo>
                    <a:pt x="605" y="678"/>
                  </a:lnTo>
                  <a:lnTo>
                    <a:pt x="623" y="660"/>
                  </a:lnTo>
                  <a:lnTo>
                    <a:pt x="632" y="666"/>
                  </a:lnTo>
                  <a:lnTo>
                    <a:pt x="659" y="660"/>
                  </a:lnTo>
                  <a:lnTo>
                    <a:pt x="683" y="642"/>
                  </a:lnTo>
                  <a:lnTo>
                    <a:pt x="704" y="609"/>
                  </a:lnTo>
                  <a:lnTo>
                    <a:pt x="734" y="603"/>
                  </a:lnTo>
                  <a:lnTo>
                    <a:pt x="749" y="621"/>
                  </a:lnTo>
                  <a:lnTo>
                    <a:pt x="761" y="588"/>
                  </a:lnTo>
                  <a:lnTo>
                    <a:pt x="782" y="585"/>
                  </a:lnTo>
                  <a:lnTo>
                    <a:pt x="791" y="579"/>
                  </a:lnTo>
                  <a:lnTo>
                    <a:pt x="800" y="549"/>
                  </a:lnTo>
                  <a:lnTo>
                    <a:pt x="788" y="534"/>
                  </a:lnTo>
                  <a:lnTo>
                    <a:pt x="713" y="519"/>
                  </a:lnTo>
                  <a:lnTo>
                    <a:pt x="698" y="498"/>
                  </a:lnTo>
                  <a:lnTo>
                    <a:pt x="677" y="498"/>
                  </a:lnTo>
                  <a:lnTo>
                    <a:pt x="656" y="498"/>
                  </a:lnTo>
                  <a:lnTo>
                    <a:pt x="641" y="471"/>
                  </a:lnTo>
                  <a:lnTo>
                    <a:pt x="641" y="459"/>
                  </a:lnTo>
                  <a:lnTo>
                    <a:pt x="650" y="405"/>
                  </a:lnTo>
                  <a:lnTo>
                    <a:pt x="620" y="375"/>
                  </a:lnTo>
                  <a:lnTo>
                    <a:pt x="644" y="279"/>
                  </a:lnTo>
                  <a:lnTo>
                    <a:pt x="629" y="267"/>
                  </a:lnTo>
                  <a:lnTo>
                    <a:pt x="578" y="282"/>
                  </a:lnTo>
                  <a:lnTo>
                    <a:pt x="566" y="261"/>
                  </a:lnTo>
                  <a:lnTo>
                    <a:pt x="566" y="237"/>
                  </a:lnTo>
                  <a:lnTo>
                    <a:pt x="554" y="228"/>
                  </a:lnTo>
                  <a:lnTo>
                    <a:pt x="581" y="192"/>
                  </a:lnTo>
                  <a:lnTo>
                    <a:pt x="608" y="201"/>
                  </a:lnTo>
                  <a:lnTo>
                    <a:pt x="620" y="189"/>
                  </a:lnTo>
                  <a:lnTo>
                    <a:pt x="668" y="198"/>
                  </a:lnTo>
                  <a:lnTo>
                    <a:pt x="692" y="189"/>
                  </a:lnTo>
                  <a:lnTo>
                    <a:pt x="704" y="153"/>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3" name="Freeform 147"/>
            <p:cNvSpPr>
              <a:spLocks/>
            </p:cNvSpPr>
            <p:nvPr/>
          </p:nvSpPr>
          <p:spPr bwMode="auto">
            <a:xfrm>
              <a:off x="5234236" y="4694262"/>
              <a:ext cx="536575" cy="660400"/>
            </a:xfrm>
            <a:custGeom>
              <a:avLst/>
              <a:gdLst>
                <a:gd name="T0" fmla="*/ 0 w 381"/>
                <a:gd name="T1" fmla="*/ 119 h 476"/>
                <a:gd name="T2" fmla="*/ 5 w 381"/>
                <a:gd name="T3" fmla="*/ 94 h 476"/>
                <a:gd name="T4" fmla="*/ 12 w 381"/>
                <a:gd name="T5" fmla="*/ 86 h 476"/>
                <a:gd name="T6" fmla="*/ 14 w 381"/>
                <a:gd name="T7" fmla="*/ 80 h 476"/>
                <a:gd name="T8" fmla="*/ 20 w 381"/>
                <a:gd name="T9" fmla="*/ 68 h 476"/>
                <a:gd name="T10" fmla="*/ 17 w 381"/>
                <a:gd name="T11" fmla="*/ 64 h 476"/>
                <a:gd name="T12" fmla="*/ 17 w 381"/>
                <a:gd name="T13" fmla="*/ 55 h 476"/>
                <a:gd name="T14" fmla="*/ 34 w 381"/>
                <a:gd name="T15" fmla="*/ 39 h 476"/>
                <a:gd name="T16" fmla="*/ 32 w 381"/>
                <a:gd name="T17" fmla="*/ 30 h 476"/>
                <a:gd name="T18" fmla="*/ 44 w 381"/>
                <a:gd name="T19" fmla="*/ 15 h 476"/>
                <a:gd name="T20" fmla="*/ 54 w 381"/>
                <a:gd name="T21" fmla="*/ 17 h 476"/>
                <a:gd name="T22" fmla="*/ 74 w 381"/>
                <a:gd name="T23" fmla="*/ 5 h 476"/>
                <a:gd name="T24" fmla="*/ 79 w 381"/>
                <a:gd name="T25" fmla="*/ 0 h 476"/>
                <a:gd name="T26" fmla="*/ 92 w 381"/>
                <a:gd name="T27" fmla="*/ 4 h 476"/>
                <a:gd name="T28" fmla="*/ 96 w 381"/>
                <a:gd name="T29" fmla="*/ 14 h 476"/>
                <a:gd name="T30" fmla="*/ 103 w 381"/>
                <a:gd name="T31" fmla="*/ 24 h 476"/>
                <a:gd name="T32" fmla="*/ 115 w 381"/>
                <a:gd name="T33" fmla="*/ 24 h 476"/>
                <a:gd name="T34" fmla="*/ 125 w 381"/>
                <a:gd name="T35" fmla="*/ 15 h 476"/>
                <a:gd name="T36" fmla="*/ 137 w 381"/>
                <a:gd name="T37" fmla="*/ 25 h 476"/>
                <a:gd name="T38" fmla="*/ 158 w 381"/>
                <a:gd name="T39" fmla="*/ 19 h 476"/>
                <a:gd name="T40" fmla="*/ 145 w 381"/>
                <a:gd name="T41" fmla="*/ 44 h 476"/>
                <a:gd name="T42" fmla="*/ 137 w 381"/>
                <a:gd name="T43" fmla="*/ 41 h 476"/>
                <a:gd name="T44" fmla="*/ 132 w 381"/>
                <a:gd name="T45" fmla="*/ 44 h 476"/>
                <a:gd name="T46" fmla="*/ 132 w 381"/>
                <a:gd name="T47" fmla="*/ 46 h 476"/>
                <a:gd name="T48" fmla="*/ 138 w 381"/>
                <a:gd name="T49" fmla="*/ 52 h 476"/>
                <a:gd name="T50" fmla="*/ 136 w 381"/>
                <a:gd name="T51" fmla="*/ 76 h 476"/>
                <a:gd name="T52" fmla="*/ 138 w 381"/>
                <a:gd name="T53" fmla="*/ 84 h 476"/>
                <a:gd name="T54" fmla="*/ 136 w 381"/>
                <a:gd name="T55" fmla="*/ 86 h 476"/>
                <a:gd name="T56" fmla="*/ 126 w 381"/>
                <a:gd name="T57" fmla="*/ 85 h 476"/>
                <a:gd name="T58" fmla="*/ 122 w 381"/>
                <a:gd name="T59" fmla="*/ 89 h 476"/>
                <a:gd name="T60" fmla="*/ 126 w 381"/>
                <a:gd name="T61" fmla="*/ 95 h 476"/>
                <a:gd name="T62" fmla="*/ 115 w 381"/>
                <a:gd name="T63" fmla="*/ 103 h 476"/>
                <a:gd name="T64" fmla="*/ 116 w 381"/>
                <a:gd name="T65" fmla="*/ 107 h 476"/>
                <a:gd name="T66" fmla="*/ 106 w 381"/>
                <a:gd name="T67" fmla="*/ 111 h 476"/>
                <a:gd name="T68" fmla="*/ 109 w 381"/>
                <a:gd name="T69" fmla="*/ 116 h 476"/>
                <a:gd name="T70" fmla="*/ 105 w 381"/>
                <a:gd name="T71" fmla="*/ 119 h 476"/>
                <a:gd name="T72" fmla="*/ 92 w 381"/>
                <a:gd name="T73" fmla="*/ 119 h 476"/>
                <a:gd name="T74" fmla="*/ 84 w 381"/>
                <a:gd name="T75" fmla="*/ 125 h 476"/>
                <a:gd name="T76" fmla="*/ 82 w 381"/>
                <a:gd name="T77" fmla="*/ 127 h 476"/>
                <a:gd name="T78" fmla="*/ 88 w 381"/>
                <a:gd name="T79" fmla="*/ 132 h 476"/>
                <a:gd name="T80" fmla="*/ 81 w 381"/>
                <a:gd name="T81" fmla="*/ 140 h 476"/>
                <a:gd name="T82" fmla="*/ 71 w 381"/>
                <a:gd name="T83" fmla="*/ 149 h 476"/>
                <a:gd name="T84" fmla="*/ 68 w 381"/>
                <a:gd name="T85" fmla="*/ 149 h 476"/>
                <a:gd name="T86" fmla="*/ 57 w 381"/>
                <a:gd name="T87" fmla="*/ 157 h 476"/>
                <a:gd name="T88" fmla="*/ 46 w 381"/>
                <a:gd name="T89" fmla="*/ 138 h 476"/>
                <a:gd name="T90" fmla="*/ 36 w 381"/>
                <a:gd name="T91" fmla="*/ 127 h 476"/>
                <a:gd name="T92" fmla="*/ 29 w 381"/>
                <a:gd name="T93" fmla="*/ 127 h 476"/>
                <a:gd name="T94" fmla="*/ 25 w 381"/>
                <a:gd name="T95" fmla="*/ 125 h 476"/>
                <a:gd name="T96" fmla="*/ 0 w 381"/>
                <a:gd name="T97" fmla="*/ 119 h 4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81" h="476">
                  <a:moveTo>
                    <a:pt x="0" y="365"/>
                  </a:moveTo>
                  <a:lnTo>
                    <a:pt x="12" y="284"/>
                  </a:lnTo>
                  <a:lnTo>
                    <a:pt x="27" y="263"/>
                  </a:lnTo>
                  <a:lnTo>
                    <a:pt x="33" y="239"/>
                  </a:lnTo>
                  <a:lnTo>
                    <a:pt x="48" y="206"/>
                  </a:lnTo>
                  <a:lnTo>
                    <a:pt x="42" y="191"/>
                  </a:lnTo>
                  <a:lnTo>
                    <a:pt x="42" y="164"/>
                  </a:lnTo>
                  <a:lnTo>
                    <a:pt x="81" y="119"/>
                  </a:lnTo>
                  <a:lnTo>
                    <a:pt x="78" y="89"/>
                  </a:lnTo>
                  <a:lnTo>
                    <a:pt x="105" y="47"/>
                  </a:lnTo>
                  <a:lnTo>
                    <a:pt x="129" y="53"/>
                  </a:lnTo>
                  <a:lnTo>
                    <a:pt x="180" y="17"/>
                  </a:lnTo>
                  <a:lnTo>
                    <a:pt x="189" y="0"/>
                  </a:lnTo>
                  <a:lnTo>
                    <a:pt x="219" y="5"/>
                  </a:lnTo>
                  <a:lnTo>
                    <a:pt x="234" y="44"/>
                  </a:lnTo>
                  <a:lnTo>
                    <a:pt x="246" y="71"/>
                  </a:lnTo>
                  <a:lnTo>
                    <a:pt x="279" y="71"/>
                  </a:lnTo>
                  <a:lnTo>
                    <a:pt x="300" y="47"/>
                  </a:lnTo>
                  <a:lnTo>
                    <a:pt x="330" y="77"/>
                  </a:lnTo>
                  <a:lnTo>
                    <a:pt x="381" y="59"/>
                  </a:lnTo>
                  <a:lnTo>
                    <a:pt x="348" y="134"/>
                  </a:lnTo>
                  <a:lnTo>
                    <a:pt x="330" y="125"/>
                  </a:lnTo>
                  <a:lnTo>
                    <a:pt x="315" y="134"/>
                  </a:lnTo>
                  <a:lnTo>
                    <a:pt x="315" y="140"/>
                  </a:lnTo>
                  <a:lnTo>
                    <a:pt x="333" y="161"/>
                  </a:lnTo>
                  <a:lnTo>
                    <a:pt x="327" y="230"/>
                  </a:lnTo>
                  <a:lnTo>
                    <a:pt x="333" y="254"/>
                  </a:lnTo>
                  <a:lnTo>
                    <a:pt x="327" y="260"/>
                  </a:lnTo>
                  <a:lnTo>
                    <a:pt x="306" y="257"/>
                  </a:lnTo>
                  <a:lnTo>
                    <a:pt x="294" y="269"/>
                  </a:lnTo>
                  <a:lnTo>
                    <a:pt x="303" y="287"/>
                  </a:lnTo>
                  <a:lnTo>
                    <a:pt x="276" y="314"/>
                  </a:lnTo>
                  <a:lnTo>
                    <a:pt x="282" y="323"/>
                  </a:lnTo>
                  <a:lnTo>
                    <a:pt x="258" y="335"/>
                  </a:lnTo>
                  <a:lnTo>
                    <a:pt x="261" y="353"/>
                  </a:lnTo>
                  <a:lnTo>
                    <a:pt x="252" y="362"/>
                  </a:lnTo>
                  <a:lnTo>
                    <a:pt x="219" y="362"/>
                  </a:lnTo>
                  <a:lnTo>
                    <a:pt x="201" y="380"/>
                  </a:lnTo>
                  <a:lnTo>
                    <a:pt x="198" y="386"/>
                  </a:lnTo>
                  <a:lnTo>
                    <a:pt x="213" y="398"/>
                  </a:lnTo>
                  <a:lnTo>
                    <a:pt x="195" y="425"/>
                  </a:lnTo>
                  <a:lnTo>
                    <a:pt x="171" y="455"/>
                  </a:lnTo>
                  <a:lnTo>
                    <a:pt x="162" y="452"/>
                  </a:lnTo>
                  <a:lnTo>
                    <a:pt x="138" y="476"/>
                  </a:lnTo>
                  <a:lnTo>
                    <a:pt x="111" y="416"/>
                  </a:lnTo>
                  <a:lnTo>
                    <a:pt x="87" y="386"/>
                  </a:lnTo>
                  <a:lnTo>
                    <a:pt x="69" y="386"/>
                  </a:lnTo>
                  <a:lnTo>
                    <a:pt x="60" y="380"/>
                  </a:lnTo>
                  <a:lnTo>
                    <a:pt x="0" y="365"/>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4" name="Freeform 148"/>
            <p:cNvSpPr>
              <a:spLocks/>
            </p:cNvSpPr>
            <p:nvPr/>
          </p:nvSpPr>
          <p:spPr bwMode="auto">
            <a:xfrm>
              <a:off x="5234236" y="4694262"/>
              <a:ext cx="536575" cy="660400"/>
            </a:xfrm>
            <a:custGeom>
              <a:avLst/>
              <a:gdLst>
                <a:gd name="T0" fmla="*/ 0 w 381"/>
                <a:gd name="T1" fmla="*/ 119 h 476"/>
                <a:gd name="T2" fmla="*/ 5 w 381"/>
                <a:gd name="T3" fmla="*/ 94 h 476"/>
                <a:gd name="T4" fmla="*/ 12 w 381"/>
                <a:gd name="T5" fmla="*/ 86 h 476"/>
                <a:gd name="T6" fmla="*/ 14 w 381"/>
                <a:gd name="T7" fmla="*/ 80 h 476"/>
                <a:gd name="T8" fmla="*/ 20 w 381"/>
                <a:gd name="T9" fmla="*/ 68 h 476"/>
                <a:gd name="T10" fmla="*/ 17 w 381"/>
                <a:gd name="T11" fmla="*/ 64 h 476"/>
                <a:gd name="T12" fmla="*/ 17 w 381"/>
                <a:gd name="T13" fmla="*/ 55 h 476"/>
                <a:gd name="T14" fmla="*/ 34 w 381"/>
                <a:gd name="T15" fmla="*/ 39 h 476"/>
                <a:gd name="T16" fmla="*/ 32 w 381"/>
                <a:gd name="T17" fmla="*/ 30 h 476"/>
                <a:gd name="T18" fmla="*/ 44 w 381"/>
                <a:gd name="T19" fmla="*/ 15 h 476"/>
                <a:gd name="T20" fmla="*/ 54 w 381"/>
                <a:gd name="T21" fmla="*/ 17 h 476"/>
                <a:gd name="T22" fmla="*/ 74 w 381"/>
                <a:gd name="T23" fmla="*/ 5 h 476"/>
                <a:gd name="T24" fmla="*/ 79 w 381"/>
                <a:gd name="T25" fmla="*/ 0 h 476"/>
                <a:gd name="T26" fmla="*/ 92 w 381"/>
                <a:gd name="T27" fmla="*/ 4 h 476"/>
                <a:gd name="T28" fmla="*/ 96 w 381"/>
                <a:gd name="T29" fmla="*/ 14 h 476"/>
                <a:gd name="T30" fmla="*/ 103 w 381"/>
                <a:gd name="T31" fmla="*/ 24 h 476"/>
                <a:gd name="T32" fmla="*/ 115 w 381"/>
                <a:gd name="T33" fmla="*/ 24 h 476"/>
                <a:gd name="T34" fmla="*/ 125 w 381"/>
                <a:gd name="T35" fmla="*/ 15 h 476"/>
                <a:gd name="T36" fmla="*/ 137 w 381"/>
                <a:gd name="T37" fmla="*/ 25 h 476"/>
                <a:gd name="T38" fmla="*/ 158 w 381"/>
                <a:gd name="T39" fmla="*/ 19 h 476"/>
                <a:gd name="T40" fmla="*/ 145 w 381"/>
                <a:gd name="T41" fmla="*/ 44 h 476"/>
                <a:gd name="T42" fmla="*/ 137 w 381"/>
                <a:gd name="T43" fmla="*/ 41 h 476"/>
                <a:gd name="T44" fmla="*/ 132 w 381"/>
                <a:gd name="T45" fmla="*/ 44 h 476"/>
                <a:gd name="T46" fmla="*/ 132 w 381"/>
                <a:gd name="T47" fmla="*/ 46 h 476"/>
                <a:gd name="T48" fmla="*/ 138 w 381"/>
                <a:gd name="T49" fmla="*/ 52 h 476"/>
                <a:gd name="T50" fmla="*/ 136 w 381"/>
                <a:gd name="T51" fmla="*/ 76 h 476"/>
                <a:gd name="T52" fmla="*/ 138 w 381"/>
                <a:gd name="T53" fmla="*/ 84 h 476"/>
                <a:gd name="T54" fmla="*/ 136 w 381"/>
                <a:gd name="T55" fmla="*/ 86 h 476"/>
                <a:gd name="T56" fmla="*/ 126 w 381"/>
                <a:gd name="T57" fmla="*/ 85 h 476"/>
                <a:gd name="T58" fmla="*/ 122 w 381"/>
                <a:gd name="T59" fmla="*/ 89 h 476"/>
                <a:gd name="T60" fmla="*/ 126 w 381"/>
                <a:gd name="T61" fmla="*/ 95 h 476"/>
                <a:gd name="T62" fmla="*/ 115 w 381"/>
                <a:gd name="T63" fmla="*/ 103 h 476"/>
                <a:gd name="T64" fmla="*/ 116 w 381"/>
                <a:gd name="T65" fmla="*/ 107 h 476"/>
                <a:gd name="T66" fmla="*/ 106 w 381"/>
                <a:gd name="T67" fmla="*/ 111 h 476"/>
                <a:gd name="T68" fmla="*/ 109 w 381"/>
                <a:gd name="T69" fmla="*/ 116 h 476"/>
                <a:gd name="T70" fmla="*/ 105 w 381"/>
                <a:gd name="T71" fmla="*/ 119 h 476"/>
                <a:gd name="T72" fmla="*/ 92 w 381"/>
                <a:gd name="T73" fmla="*/ 119 h 476"/>
                <a:gd name="T74" fmla="*/ 84 w 381"/>
                <a:gd name="T75" fmla="*/ 125 h 476"/>
                <a:gd name="T76" fmla="*/ 82 w 381"/>
                <a:gd name="T77" fmla="*/ 127 h 476"/>
                <a:gd name="T78" fmla="*/ 88 w 381"/>
                <a:gd name="T79" fmla="*/ 132 h 476"/>
                <a:gd name="T80" fmla="*/ 81 w 381"/>
                <a:gd name="T81" fmla="*/ 140 h 476"/>
                <a:gd name="T82" fmla="*/ 71 w 381"/>
                <a:gd name="T83" fmla="*/ 149 h 476"/>
                <a:gd name="T84" fmla="*/ 68 w 381"/>
                <a:gd name="T85" fmla="*/ 149 h 476"/>
                <a:gd name="T86" fmla="*/ 57 w 381"/>
                <a:gd name="T87" fmla="*/ 157 h 476"/>
                <a:gd name="T88" fmla="*/ 46 w 381"/>
                <a:gd name="T89" fmla="*/ 138 h 476"/>
                <a:gd name="T90" fmla="*/ 36 w 381"/>
                <a:gd name="T91" fmla="*/ 127 h 476"/>
                <a:gd name="T92" fmla="*/ 29 w 381"/>
                <a:gd name="T93" fmla="*/ 127 h 476"/>
                <a:gd name="T94" fmla="*/ 25 w 381"/>
                <a:gd name="T95" fmla="*/ 125 h 476"/>
                <a:gd name="T96" fmla="*/ 0 w 381"/>
                <a:gd name="T97" fmla="*/ 119 h 4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81" h="476">
                  <a:moveTo>
                    <a:pt x="0" y="365"/>
                  </a:moveTo>
                  <a:lnTo>
                    <a:pt x="12" y="284"/>
                  </a:lnTo>
                  <a:lnTo>
                    <a:pt x="27" y="263"/>
                  </a:lnTo>
                  <a:lnTo>
                    <a:pt x="33" y="239"/>
                  </a:lnTo>
                  <a:lnTo>
                    <a:pt x="48" y="206"/>
                  </a:lnTo>
                  <a:lnTo>
                    <a:pt x="42" y="191"/>
                  </a:lnTo>
                  <a:lnTo>
                    <a:pt x="42" y="164"/>
                  </a:lnTo>
                  <a:lnTo>
                    <a:pt x="81" y="119"/>
                  </a:lnTo>
                  <a:lnTo>
                    <a:pt x="78" y="89"/>
                  </a:lnTo>
                  <a:lnTo>
                    <a:pt x="105" y="47"/>
                  </a:lnTo>
                  <a:lnTo>
                    <a:pt x="129" y="53"/>
                  </a:lnTo>
                  <a:lnTo>
                    <a:pt x="180" y="17"/>
                  </a:lnTo>
                  <a:lnTo>
                    <a:pt x="189" y="0"/>
                  </a:lnTo>
                  <a:lnTo>
                    <a:pt x="219" y="5"/>
                  </a:lnTo>
                  <a:lnTo>
                    <a:pt x="234" y="44"/>
                  </a:lnTo>
                  <a:lnTo>
                    <a:pt x="246" y="71"/>
                  </a:lnTo>
                  <a:lnTo>
                    <a:pt x="279" y="71"/>
                  </a:lnTo>
                  <a:lnTo>
                    <a:pt x="300" y="47"/>
                  </a:lnTo>
                  <a:lnTo>
                    <a:pt x="330" y="77"/>
                  </a:lnTo>
                  <a:lnTo>
                    <a:pt x="381" y="59"/>
                  </a:lnTo>
                  <a:lnTo>
                    <a:pt x="348" y="134"/>
                  </a:lnTo>
                  <a:lnTo>
                    <a:pt x="330" y="125"/>
                  </a:lnTo>
                  <a:lnTo>
                    <a:pt x="315" y="134"/>
                  </a:lnTo>
                  <a:lnTo>
                    <a:pt x="315" y="140"/>
                  </a:lnTo>
                  <a:lnTo>
                    <a:pt x="333" y="161"/>
                  </a:lnTo>
                  <a:lnTo>
                    <a:pt x="327" y="230"/>
                  </a:lnTo>
                  <a:lnTo>
                    <a:pt x="333" y="254"/>
                  </a:lnTo>
                  <a:lnTo>
                    <a:pt x="327" y="260"/>
                  </a:lnTo>
                  <a:lnTo>
                    <a:pt x="306" y="257"/>
                  </a:lnTo>
                  <a:lnTo>
                    <a:pt x="294" y="269"/>
                  </a:lnTo>
                  <a:lnTo>
                    <a:pt x="303" y="287"/>
                  </a:lnTo>
                  <a:lnTo>
                    <a:pt x="276" y="314"/>
                  </a:lnTo>
                  <a:lnTo>
                    <a:pt x="282" y="323"/>
                  </a:lnTo>
                  <a:lnTo>
                    <a:pt x="258" y="335"/>
                  </a:lnTo>
                  <a:lnTo>
                    <a:pt x="261" y="353"/>
                  </a:lnTo>
                  <a:lnTo>
                    <a:pt x="252" y="362"/>
                  </a:lnTo>
                  <a:lnTo>
                    <a:pt x="219" y="362"/>
                  </a:lnTo>
                  <a:lnTo>
                    <a:pt x="201" y="380"/>
                  </a:lnTo>
                  <a:lnTo>
                    <a:pt x="198" y="386"/>
                  </a:lnTo>
                  <a:lnTo>
                    <a:pt x="213" y="398"/>
                  </a:lnTo>
                  <a:lnTo>
                    <a:pt x="195" y="425"/>
                  </a:lnTo>
                  <a:lnTo>
                    <a:pt x="171" y="455"/>
                  </a:lnTo>
                  <a:lnTo>
                    <a:pt x="162" y="452"/>
                  </a:lnTo>
                  <a:lnTo>
                    <a:pt x="138" y="476"/>
                  </a:lnTo>
                  <a:lnTo>
                    <a:pt x="111" y="416"/>
                  </a:lnTo>
                  <a:lnTo>
                    <a:pt x="87" y="386"/>
                  </a:lnTo>
                  <a:lnTo>
                    <a:pt x="69" y="386"/>
                  </a:lnTo>
                  <a:lnTo>
                    <a:pt x="60" y="380"/>
                  </a:lnTo>
                  <a:lnTo>
                    <a:pt x="0" y="365"/>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5" name="Freeform 149"/>
            <p:cNvSpPr>
              <a:spLocks/>
            </p:cNvSpPr>
            <p:nvPr/>
          </p:nvSpPr>
          <p:spPr bwMode="auto">
            <a:xfrm>
              <a:off x="4911974" y="4481537"/>
              <a:ext cx="587375" cy="803275"/>
            </a:xfrm>
            <a:custGeom>
              <a:avLst/>
              <a:gdLst>
                <a:gd name="T0" fmla="*/ 5 w 419"/>
                <a:gd name="T1" fmla="*/ 41 h 578"/>
                <a:gd name="T2" fmla="*/ 15 w 419"/>
                <a:gd name="T3" fmla="*/ 57 h 578"/>
                <a:gd name="T4" fmla="*/ 16 w 419"/>
                <a:gd name="T5" fmla="*/ 67 h 578"/>
                <a:gd name="T6" fmla="*/ 10 w 419"/>
                <a:gd name="T7" fmla="*/ 76 h 578"/>
                <a:gd name="T8" fmla="*/ 5 w 419"/>
                <a:gd name="T9" fmla="*/ 81 h 578"/>
                <a:gd name="T10" fmla="*/ 0 w 419"/>
                <a:gd name="T11" fmla="*/ 97 h 578"/>
                <a:gd name="T12" fmla="*/ 5 w 419"/>
                <a:gd name="T13" fmla="*/ 100 h 578"/>
                <a:gd name="T14" fmla="*/ 7 w 419"/>
                <a:gd name="T15" fmla="*/ 98 h 578"/>
                <a:gd name="T16" fmla="*/ 10 w 419"/>
                <a:gd name="T17" fmla="*/ 100 h 578"/>
                <a:gd name="T18" fmla="*/ 10 w 419"/>
                <a:gd name="T19" fmla="*/ 110 h 578"/>
                <a:gd name="T20" fmla="*/ 16 w 419"/>
                <a:gd name="T21" fmla="*/ 123 h 578"/>
                <a:gd name="T22" fmla="*/ 24 w 419"/>
                <a:gd name="T23" fmla="*/ 125 h 578"/>
                <a:gd name="T24" fmla="*/ 24 w 419"/>
                <a:gd name="T25" fmla="*/ 142 h 578"/>
                <a:gd name="T26" fmla="*/ 20 w 419"/>
                <a:gd name="T27" fmla="*/ 155 h 578"/>
                <a:gd name="T28" fmla="*/ 24 w 419"/>
                <a:gd name="T29" fmla="*/ 159 h 578"/>
                <a:gd name="T30" fmla="*/ 31 w 419"/>
                <a:gd name="T31" fmla="*/ 165 h 578"/>
                <a:gd name="T32" fmla="*/ 48 w 419"/>
                <a:gd name="T33" fmla="*/ 162 h 578"/>
                <a:gd name="T34" fmla="*/ 53 w 419"/>
                <a:gd name="T35" fmla="*/ 166 h 578"/>
                <a:gd name="T36" fmla="*/ 46 w 419"/>
                <a:gd name="T37" fmla="*/ 173 h 578"/>
                <a:gd name="T38" fmla="*/ 37 w 419"/>
                <a:gd name="T39" fmla="*/ 184 h 578"/>
                <a:gd name="T40" fmla="*/ 37 w 419"/>
                <a:gd name="T41" fmla="*/ 186 h 578"/>
                <a:gd name="T42" fmla="*/ 43 w 419"/>
                <a:gd name="T43" fmla="*/ 189 h 578"/>
                <a:gd name="T44" fmla="*/ 78 w 419"/>
                <a:gd name="T45" fmla="*/ 178 h 578"/>
                <a:gd name="T46" fmla="*/ 92 w 419"/>
                <a:gd name="T47" fmla="*/ 184 h 578"/>
                <a:gd name="T48" fmla="*/ 96 w 419"/>
                <a:gd name="T49" fmla="*/ 180 h 578"/>
                <a:gd name="T50" fmla="*/ 92 w 419"/>
                <a:gd name="T51" fmla="*/ 175 h 578"/>
                <a:gd name="T52" fmla="*/ 93 w 419"/>
                <a:gd name="T53" fmla="*/ 170 h 578"/>
                <a:gd name="T54" fmla="*/ 99 w 419"/>
                <a:gd name="T55" fmla="*/ 143 h 578"/>
                <a:gd name="T56" fmla="*/ 105 w 419"/>
                <a:gd name="T57" fmla="*/ 137 h 578"/>
                <a:gd name="T58" fmla="*/ 107 w 419"/>
                <a:gd name="T59" fmla="*/ 129 h 578"/>
                <a:gd name="T60" fmla="*/ 112 w 419"/>
                <a:gd name="T61" fmla="*/ 118 h 578"/>
                <a:gd name="T62" fmla="*/ 112 w 419"/>
                <a:gd name="T63" fmla="*/ 112 h 578"/>
                <a:gd name="T64" fmla="*/ 112 w 419"/>
                <a:gd name="T65" fmla="*/ 105 h 578"/>
                <a:gd name="T66" fmla="*/ 127 w 419"/>
                <a:gd name="T67" fmla="*/ 89 h 578"/>
                <a:gd name="T68" fmla="*/ 126 w 419"/>
                <a:gd name="T69" fmla="*/ 80 h 578"/>
                <a:gd name="T70" fmla="*/ 137 w 419"/>
                <a:gd name="T71" fmla="*/ 64 h 578"/>
                <a:gd name="T72" fmla="*/ 146 w 419"/>
                <a:gd name="T73" fmla="*/ 68 h 578"/>
                <a:gd name="T74" fmla="*/ 166 w 419"/>
                <a:gd name="T75" fmla="*/ 56 h 578"/>
                <a:gd name="T76" fmla="*/ 171 w 419"/>
                <a:gd name="T77" fmla="*/ 51 h 578"/>
                <a:gd name="T78" fmla="*/ 158 w 419"/>
                <a:gd name="T79" fmla="*/ 30 h 578"/>
                <a:gd name="T80" fmla="*/ 149 w 419"/>
                <a:gd name="T81" fmla="*/ 21 h 578"/>
                <a:gd name="T82" fmla="*/ 154 w 419"/>
                <a:gd name="T83" fmla="*/ 17 h 578"/>
                <a:gd name="T84" fmla="*/ 147 w 419"/>
                <a:gd name="T85" fmla="*/ 11 h 578"/>
                <a:gd name="T86" fmla="*/ 127 w 419"/>
                <a:gd name="T87" fmla="*/ 11 h 578"/>
                <a:gd name="T88" fmla="*/ 120 w 419"/>
                <a:gd name="T89" fmla="*/ 4 h 578"/>
                <a:gd name="T90" fmla="*/ 102 w 419"/>
                <a:gd name="T91" fmla="*/ 15 h 578"/>
                <a:gd name="T92" fmla="*/ 97 w 419"/>
                <a:gd name="T93" fmla="*/ 13 h 578"/>
                <a:gd name="T94" fmla="*/ 105 w 419"/>
                <a:gd name="T95" fmla="*/ 4 h 578"/>
                <a:gd name="T96" fmla="*/ 102 w 419"/>
                <a:gd name="T97" fmla="*/ 3 h 578"/>
                <a:gd name="T98" fmla="*/ 97 w 419"/>
                <a:gd name="T99" fmla="*/ 0 h 578"/>
                <a:gd name="T100" fmla="*/ 78 w 419"/>
                <a:gd name="T101" fmla="*/ 8 h 578"/>
                <a:gd name="T102" fmla="*/ 64 w 419"/>
                <a:gd name="T103" fmla="*/ 12 h 578"/>
                <a:gd name="T104" fmla="*/ 54 w 419"/>
                <a:gd name="T105" fmla="*/ 11 h 578"/>
                <a:gd name="T106" fmla="*/ 27 w 419"/>
                <a:gd name="T107" fmla="*/ 30 h 578"/>
                <a:gd name="T108" fmla="*/ 14 w 419"/>
                <a:gd name="T109" fmla="*/ 33 h 578"/>
                <a:gd name="T110" fmla="*/ 5 w 419"/>
                <a:gd name="T111" fmla="*/ 41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19" h="578">
                  <a:moveTo>
                    <a:pt x="9" y="126"/>
                  </a:moveTo>
                  <a:lnTo>
                    <a:pt x="36" y="176"/>
                  </a:lnTo>
                  <a:lnTo>
                    <a:pt x="39" y="203"/>
                  </a:lnTo>
                  <a:lnTo>
                    <a:pt x="24" y="233"/>
                  </a:lnTo>
                  <a:lnTo>
                    <a:pt x="6" y="248"/>
                  </a:lnTo>
                  <a:lnTo>
                    <a:pt x="0" y="296"/>
                  </a:lnTo>
                  <a:lnTo>
                    <a:pt x="6" y="305"/>
                  </a:lnTo>
                  <a:lnTo>
                    <a:pt x="18" y="299"/>
                  </a:lnTo>
                  <a:lnTo>
                    <a:pt x="24" y="305"/>
                  </a:lnTo>
                  <a:lnTo>
                    <a:pt x="24" y="335"/>
                  </a:lnTo>
                  <a:lnTo>
                    <a:pt x="39" y="374"/>
                  </a:lnTo>
                  <a:lnTo>
                    <a:pt x="57" y="380"/>
                  </a:lnTo>
                  <a:lnTo>
                    <a:pt x="57" y="434"/>
                  </a:lnTo>
                  <a:lnTo>
                    <a:pt x="48" y="470"/>
                  </a:lnTo>
                  <a:lnTo>
                    <a:pt x="57" y="485"/>
                  </a:lnTo>
                  <a:lnTo>
                    <a:pt x="75" y="503"/>
                  </a:lnTo>
                  <a:lnTo>
                    <a:pt x="119" y="494"/>
                  </a:lnTo>
                  <a:lnTo>
                    <a:pt x="128" y="509"/>
                  </a:lnTo>
                  <a:lnTo>
                    <a:pt x="113" y="527"/>
                  </a:lnTo>
                  <a:lnTo>
                    <a:pt x="93" y="560"/>
                  </a:lnTo>
                  <a:lnTo>
                    <a:pt x="93" y="569"/>
                  </a:lnTo>
                  <a:lnTo>
                    <a:pt x="105" y="578"/>
                  </a:lnTo>
                  <a:lnTo>
                    <a:pt x="194" y="542"/>
                  </a:lnTo>
                  <a:lnTo>
                    <a:pt x="227" y="560"/>
                  </a:lnTo>
                  <a:lnTo>
                    <a:pt x="236" y="551"/>
                  </a:lnTo>
                  <a:lnTo>
                    <a:pt x="227" y="533"/>
                  </a:lnTo>
                  <a:lnTo>
                    <a:pt x="230" y="518"/>
                  </a:lnTo>
                  <a:lnTo>
                    <a:pt x="242" y="437"/>
                  </a:lnTo>
                  <a:lnTo>
                    <a:pt x="257" y="416"/>
                  </a:lnTo>
                  <a:lnTo>
                    <a:pt x="263" y="392"/>
                  </a:lnTo>
                  <a:lnTo>
                    <a:pt x="278" y="359"/>
                  </a:lnTo>
                  <a:lnTo>
                    <a:pt x="272" y="344"/>
                  </a:lnTo>
                  <a:lnTo>
                    <a:pt x="272" y="317"/>
                  </a:lnTo>
                  <a:lnTo>
                    <a:pt x="311" y="272"/>
                  </a:lnTo>
                  <a:lnTo>
                    <a:pt x="308" y="242"/>
                  </a:lnTo>
                  <a:lnTo>
                    <a:pt x="335" y="200"/>
                  </a:lnTo>
                  <a:lnTo>
                    <a:pt x="359" y="206"/>
                  </a:lnTo>
                  <a:lnTo>
                    <a:pt x="410" y="170"/>
                  </a:lnTo>
                  <a:lnTo>
                    <a:pt x="419" y="153"/>
                  </a:lnTo>
                  <a:lnTo>
                    <a:pt x="386" y="93"/>
                  </a:lnTo>
                  <a:lnTo>
                    <a:pt x="365" y="63"/>
                  </a:lnTo>
                  <a:lnTo>
                    <a:pt x="380" y="51"/>
                  </a:lnTo>
                  <a:lnTo>
                    <a:pt x="362" y="33"/>
                  </a:lnTo>
                  <a:lnTo>
                    <a:pt x="314" y="33"/>
                  </a:lnTo>
                  <a:lnTo>
                    <a:pt x="293" y="9"/>
                  </a:lnTo>
                  <a:lnTo>
                    <a:pt x="254" y="48"/>
                  </a:lnTo>
                  <a:lnTo>
                    <a:pt x="239" y="42"/>
                  </a:lnTo>
                  <a:lnTo>
                    <a:pt x="257" y="12"/>
                  </a:lnTo>
                  <a:lnTo>
                    <a:pt x="254" y="3"/>
                  </a:lnTo>
                  <a:lnTo>
                    <a:pt x="239" y="0"/>
                  </a:lnTo>
                  <a:lnTo>
                    <a:pt x="194" y="24"/>
                  </a:lnTo>
                  <a:lnTo>
                    <a:pt x="158" y="36"/>
                  </a:lnTo>
                  <a:lnTo>
                    <a:pt x="131" y="33"/>
                  </a:lnTo>
                  <a:lnTo>
                    <a:pt x="66" y="90"/>
                  </a:lnTo>
                  <a:lnTo>
                    <a:pt x="33" y="102"/>
                  </a:lnTo>
                  <a:lnTo>
                    <a:pt x="9" y="126"/>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6" name="Freeform 150"/>
            <p:cNvSpPr>
              <a:spLocks/>
            </p:cNvSpPr>
            <p:nvPr/>
          </p:nvSpPr>
          <p:spPr bwMode="auto">
            <a:xfrm>
              <a:off x="4911974" y="4481537"/>
              <a:ext cx="587375" cy="803275"/>
            </a:xfrm>
            <a:custGeom>
              <a:avLst/>
              <a:gdLst>
                <a:gd name="T0" fmla="*/ 5 w 419"/>
                <a:gd name="T1" fmla="*/ 41 h 578"/>
                <a:gd name="T2" fmla="*/ 15 w 419"/>
                <a:gd name="T3" fmla="*/ 57 h 578"/>
                <a:gd name="T4" fmla="*/ 16 w 419"/>
                <a:gd name="T5" fmla="*/ 67 h 578"/>
                <a:gd name="T6" fmla="*/ 10 w 419"/>
                <a:gd name="T7" fmla="*/ 76 h 578"/>
                <a:gd name="T8" fmla="*/ 5 w 419"/>
                <a:gd name="T9" fmla="*/ 81 h 578"/>
                <a:gd name="T10" fmla="*/ 0 w 419"/>
                <a:gd name="T11" fmla="*/ 97 h 578"/>
                <a:gd name="T12" fmla="*/ 5 w 419"/>
                <a:gd name="T13" fmla="*/ 100 h 578"/>
                <a:gd name="T14" fmla="*/ 7 w 419"/>
                <a:gd name="T15" fmla="*/ 98 h 578"/>
                <a:gd name="T16" fmla="*/ 10 w 419"/>
                <a:gd name="T17" fmla="*/ 100 h 578"/>
                <a:gd name="T18" fmla="*/ 10 w 419"/>
                <a:gd name="T19" fmla="*/ 110 h 578"/>
                <a:gd name="T20" fmla="*/ 16 w 419"/>
                <a:gd name="T21" fmla="*/ 123 h 578"/>
                <a:gd name="T22" fmla="*/ 24 w 419"/>
                <a:gd name="T23" fmla="*/ 125 h 578"/>
                <a:gd name="T24" fmla="*/ 24 w 419"/>
                <a:gd name="T25" fmla="*/ 142 h 578"/>
                <a:gd name="T26" fmla="*/ 20 w 419"/>
                <a:gd name="T27" fmla="*/ 155 h 578"/>
                <a:gd name="T28" fmla="*/ 24 w 419"/>
                <a:gd name="T29" fmla="*/ 159 h 578"/>
                <a:gd name="T30" fmla="*/ 31 w 419"/>
                <a:gd name="T31" fmla="*/ 165 h 578"/>
                <a:gd name="T32" fmla="*/ 48 w 419"/>
                <a:gd name="T33" fmla="*/ 162 h 578"/>
                <a:gd name="T34" fmla="*/ 53 w 419"/>
                <a:gd name="T35" fmla="*/ 166 h 578"/>
                <a:gd name="T36" fmla="*/ 46 w 419"/>
                <a:gd name="T37" fmla="*/ 173 h 578"/>
                <a:gd name="T38" fmla="*/ 37 w 419"/>
                <a:gd name="T39" fmla="*/ 184 h 578"/>
                <a:gd name="T40" fmla="*/ 37 w 419"/>
                <a:gd name="T41" fmla="*/ 186 h 578"/>
                <a:gd name="T42" fmla="*/ 43 w 419"/>
                <a:gd name="T43" fmla="*/ 189 h 578"/>
                <a:gd name="T44" fmla="*/ 78 w 419"/>
                <a:gd name="T45" fmla="*/ 178 h 578"/>
                <a:gd name="T46" fmla="*/ 92 w 419"/>
                <a:gd name="T47" fmla="*/ 184 h 578"/>
                <a:gd name="T48" fmla="*/ 96 w 419"/>
                <a:gd name="T49" fmla="*/ 180 h 578"/>
                <a:gd name="T50" fmla="*/ 92 w 419"/>
                <a:gd name="T51" fmla="*/ 175 h 578"/>
                <a:gd name="T52" fmla="*/ 93 w 419"/>
                <a:gd name="T53" fmla="*/ 170 h 578"/>
                <a:gd name="T54" fmla="*/ 99 w 419"/>
                <a:gd name="T55" fmla="*/ 143 h 578"/>
                <a:gd name="T56" fmla="*/ 105 w 419"/>
                <a:gd name="T57" fmla="*/ 137 h 578"/>
                <a:gd name="T58" fmla="*/ 107 w 419"/>
                <a:gd name="T59" fmla="*/ 129 h 578"/>
                <a:gd name="T60" fmla="*/ 112 w 419"/>
                <a:gd name="T61" fmla="*/ 118 h 578"/>
                <a:gd name="T62" fmla="*/ 112 w 419"/>
                <a:gd name="T63" fmla="*/ 112 h 578"/>
                <a:gd name="T64" fmla="*/ 112 w 419"/>
                <a:gd name="T65" fmla="*/ 105 h 578"/>
                <a:gd name="T66" fmla="*/ 127 w 419"/>
                <a:gd name="T67" fmla="*/ 89 h 578"/>
                <a:gd name="T68" fmla="*/ 126 w 419"/>
                <a:gd name="T69" fmla="*/ 80 h 578"/>
                <a:gd name="T70" fmla="*/ 137 w 419"/>
                <a:gd name="T71" fmla="*/ 64 h 578"/>
                <a:gd name="T72" fmla="*/ 146 w 419"/>
                <a:gd name="T73" fmla="*/ 68 h 578"/>
                <a:gd name="T74" fmla="*/ 166 w 419"/>
                <a:gd name="T75" fmla="*/ 56 h 578"/>
                <a:gd name="T76" fmla="*/ 171 w 419"/>
                <a:gd name="T77" fmla="*/ 51 h 578"/>
                <a:gd name="T78" fmla="*/ 158 w 419"/>
                <a:gd name="T79" fmla="*/ 30 h 578"/>
                <a:gd name="T80" fmla="*/ 149 w 419"/>
                <a:gd name="T81" fmla="*/ 21 h 578"/>
                <a:gd name="T82" fmla="*/ 154 w 419"/>
                <a:gd name="T83" fmla="*/ 17 h 578"/>
                <a:gd name="T84" fmla="*/ 147 w 419"/>
                <a:gd name="T85" fmla="*/ 11 h 578"/>
                <a:gd name="T86" fmla="*/ 127 w 419"/>
                <a:gd name="T87" fmla="*/ 11 h 578"/>
                <a:gd name="T88" fmla="*/ 120 w 419"/>
                <a:gd name="T89" fmla="*/ 4 h 578"/>
                <a:gd name="T90" fmla="*/ 102 w 419"/>
                <a:gd name="T91" fmla="*/ 15 h 578"/>
                <a:gd name="T92" fmla="*/ 97 w 419"/>
                <a:gd name="T93" fmla="*/ 13 h 578"/>
                <a:gd name="T94" fmla="*/ 105 w 419"/>
                <a:gd name="T95" fmla="*/ 4 h 578"/>
                <a:gd name="T96" fmla="*/ 102 w 419"/>
                <a:gd name="T97" fmla="*/ 3 h 578"/>
                <a:gd name="T98" fmla="*/ 97 w 419"/>
                <a:gd name="T99" fmla="*/ 0 h 578"/>
                <a:gd name="T100" fmla="*/ 78 w 419"/>
                <a:gd name="T101" fmla="*/ 8 h 578"/>
                <a:gd name="T102" fmla="*/ 64 w 419"/>
                <a:gd name="T103" fmla="*/ 12 h 578"/>
                <a:gd name="T104" fmla="*/ 54 w 419"/>
                <a:gd name="T105" fmla="*/ 11 h 578"/>
                <a:gd name="T106" fmla="*/ 27 w 419"/>
                <a:gd name="T107" fmla="*/ 30 h 578"/>
                <a:gd name="T108" fmla="*/ 14 w 419"/>
                <a:gd name="T109" fmla="*/ 33 h 578"/>
                <a:gd name="T110" fmla="*/ 5 w 419"/>
                <a:gd name="T111" fmla="*/ 41 h 5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19" h="578">
                  <a:moveTo>
                    <a:pt x="9" y="126"/>
                  </a:moveTo>
                  <a:lnTo>
                    <a:pt x="36" y="176"/>
                  </a:lnTo>
                  <a:lnTo>
                    <a:pt x="39" y="203"/>
                  </a:lnTo>
                  <a:lnTo>
                    <a:pt x="24" y="233"/>
                  </a:lnTo>
                  <a:lnTo>
                    <a:pt x="6" y="248"/>
                  </a:lnTo>
                  <a:lnTo>
                    <a:pt x="0" y="296"/>
                  </a:lnTo>
                  <a:lnTo>
                    <a:pt x="6" y="305"/>
                  </a:lnTo>
                  <a:lnTo>
                    <a:pt x="18" y="299"/>
                  </a:lnTo>
                  <a:lnTo>
                    <a:pt x="24" y="305"/>
                  </a:lnTo>
                  <a:lnTo>
                    <a:pt x="24" y="335"/>
                  </a:lnTo>
                  <a:lnTo>
                    <a:pt x="39" y="374"/>
                  </a:lnTo>
                  <a:lnTo>
                    <a:pt x="57" y="380"/>
                  </a:lnTo>
                  <a:lnTo>
                    <a:pt x="57" y="434"/>
                  </a:lnTo>
                  <a:lnTo>
                    <a:pt x="48" y="470"/>
                  </a:lnTo>
                  <a:lnTo>
                    <a:pt x="57" y="485"/>
                  </a:lnTo>
                  <a:lnTo>
                    <a:pt x="75" y="503"/>
                  </a:lnTo>
                  <a:lnTo>
                    <a:pt x="119" y="494"/>
                  </a:lnTo>
                  <a:lnTo>
                    <a:pt x="128" y="509"/>
                  </a:lnTo>
                  <a:lnTo>
                    <a:pt x="113" y="527"/>
                  </a:lnTo>
                  <a:lnTo>
                    <a:pt x="93" y="560"/>
                  </a:lnTo>
                  <a:lnTo>
                    <a:pt x="93" y="569"/>
                  </a:lnTo>
                  <a:lnTo>
                    <a:pt x="105" y="578"/>
                  </a:lnTo>
                  <a:lnTo>
                    <a:pt x="194" y="542"/>
                  </a:lnTo>
                  <a:lnTo>
                    <a:pt x="227" y="560"/>
                  </a:lnTo>
                  <a:lnTo>
                    <a:pt x="236" y="551"/>
                  </a:lnTo>
                  <a:lnTo>
                    <a:pt x="227" y="533"/>
                  </a:lnTo>
                  <a:lnTo>
                    <a:pt x="230" y="518"/>
                  </a:lnTo>
                  <a:lnTo>
                    <a:pt x="242" y="437"/>
                  </a:lnTo>
                  <a:lnTo>
                    <a:pt x="257" y="416"/>
                  </a:lnTo>
                  <a:lnTo>
                    <a:pt x="263" y="392"/>
                  </a:lnTo>
                  <a:lnTo>
                    <a:pt x="278" y="359"/>
                  </a:lnTo>
                  <a:lnTo>
                    <a:pt x="272" y="344"/>
                  </a:lnTo>
                  <a:lnTo>
                    <a:pt x="272" y="317"/>
                  </a:lnTo>
                  <a:lnTo>
                    <a:pt x="311" y="272"/>
                  </a:lnTo>
                  <a:lnTo>
                    <a:pt x="308" y="242"/>
                  </a:lnTo>
                  <a:lnTo>
                    <a:pt x="335" y="200"/>
                  </a:lnTo>
                  <a:lnTo>
                    <a:pt x="359" y="206"/>
                  </a:lnTo>
                  <a:lnTo>
                    <a:pt x="410" y="170"/>
                  </a:lnTo>
                  <a:lnTo>
                    <a:pt x="419" y="153"/>
                  </a:lnTo>
                  <a:lnTo>
                    <a:pt x="386" y="93"/>
                  </a:lnTo>
                  <a:lnTo>
                    <a:pt x="365" y="63"/>
                  </a:lnTo>
                  <a:lnTo>
                    <a:pt x="380" y="51"/>
                  </a:lnTo>
                  <a:lnTo>
                    <a:pt x="362" y="33"/>
                  </a:lnTo>
                  <a:lnTo>
                    <a:pt x="314" y="33"/>
                  </a:lnTo>
                  <a:lnTo>
                    <a:pt x="293" y="9"/>
                  </a:lnTo>
                  <a:lnTo>
                    <a:pt x="254" y="48"/>
                  </a:lnTo>
                  <a:lnTo>
                    <a:pt x="239" y="42"/>
                  </a:lnTo>
                  <a:lnTo>
                    <a:pt x="257" y="12"/>
                  </a:lnTo>
                  <a:lnTo>
                    <a:pt x="254" y="3"/>
                  </a:lnTo>
                  <a:lnTo>
                    <a:pt x="239" y="0"/>
                  </a:lnTo>
                  <a:lnTo>
                    <a:pt x="194" y="24"/>
                  </a:lnTo>
                  <a:lnTo>
                    <a:pt x="158" y="36"/>
                  </a:lnTo>
                  <a:lnTo>
                    <a:pt x="131" y="33"/>
                  </a:lnTo>
                  <a:lnTo>
                    <a:pt x="66" y="90"/>
                  </a:lnTo>
                  <a:lnTo>
                    <a:pt x="33" y="102"/>
                  </a:lnTo>
                  <a:lnTo>
                    <a:pt x="9" y="126"/>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7" name="Freeform 151"/>
            <p:cNvSpPr>
              <a:spLocks/>
            </p:cNvSpPr>
            <p:nvPr/>
          </p:nvSpPr>
          <p:spPr bwMode="auto">
            <a:xfrm>
              <a:off x="4315074" y="4557737"/>
              <a:ext cx="677862" cy="747713"/>
            </a:xfrm>
            <a:custGeom>
              <a:avLst/>
              <a:gdLst>
                <a:gd name="T0" fmla="*/ 170 w 483"/>
                <a:gd name="T1" fmla="*/ 21 h 539"/>
                <a:gd name="T2" fmla="*/ 167 w 483"/>
                <a:gd name="T3" fmla="*/ 7 h 539"/>
                <a:gd name="T4" fmla="*/ 153 w 483"/>
                <a:gd name="T5" fmla="*/ 9 h 539"/>
                <a:gd name="T6" fmla="*/ 142 w 483"/>
                <a:gd name="T7" fmla="*/ 15 h 539"/>
                <a:gd name="T8" fmla="*/ 133 w 483"/>
                <a:gd name="T9" fmla="*/ 9 h 539"/>
                <a:gd name="T10" fmla="*/ 113 w 483"/>
                <a:gd name="T11" fmla="*/ 11 h 539"/>
                <a:gd name="T12" fmla="*/ 54 w 483"/>
                <a:gd name="T13" fmla="*/ 0 h 539"/>
                <a:gd name="T14" fmla="*/ 59 w 483"/>
                <a:gd name="T15" fmla="*/ 12 h 539"/>
                <a:gd name="T16" fmla="*/ 32 w 483"/>
                <a:gd name="T17" fmla="*/ 12 h 539"/>
                <a:gd name="T18" fmla="*/ 10 w 483"/>
                <a:gd name="T19" fmla="*/ 34 h 539"/>
                <a:gd name="T20" fmla="*/ 20 w 483"/>
                <a:gd name="T21" fmla="*/ 85 h 539"/>
                <a:gd name="T22" fmla="*/ 5 w 483"/>
                <a:gd name="T23" fmla="*/ 102 h 539"/>
                <a:gd name="T24" fmla="*/ 25 w 483"/>
                <a:gd name="T25" fmla="*/ 105 h 539"/>
                <a:gd name="T26" fmla="*/ 29 w 483"/>
                <a:gd name="T27" fmla="*/ 138 h 539"/>
                <a:gd name="T28" fmla="*/ 49 w 483"/>
                <a:gd name="T29" fmla="*/ 130 h 539"/>
                <a:gd name="T30" fmla="*/ 55 w 483"/>
                <a:gd name="T31" fmla="*/ 136 h 539"/>
                <a:gd name="T32" fmla="*/ 74 w 483"/>
                <a:gd name="T33" fmla="*/ 125 h 539"/>
                <a:gd name="T34" fmla="*/ 94 w 483"/>
                <a:gd name="T35" fmla="*/ 125 h 539"/>
                <a:gd name="T36" fmla="*/ 103 w 483"/>
                <a:gd name="T37" fmla="*/ 139 h 539"/>
                <a:gd name="T38" fmla="*/ 92 w 483"/>
                <a:gd name="T39" fmla="*/ 159 h 539"/>
                <a:gd name="T40" fmla="*/ 92 w 483"/>
                <a:gd name="T41" fmla="*/ 168 h 539"/>
                <a:gd name="T42" fmla="*/ 110 w 483"/>
                <a:gd name="T43" fmla="*/ 176 h 539"/>
                <a:gd name="T44" fmla="*/ 124 w 483"/>
                <a:gd name="T45" fmla="*/ 172 h 539"/>
                <a:gd name="T46" fmla="*/ 133 w 483"/>
                <a:gd name="T47" fmla="*/ 159 h 539"/>
                <a:gd name="T48" fmla="*/ 145 w 483"/>
                <a:gd name="T49" fmla="*/ 156 h 539"/>
                <a:gd name="T50" fmla="*/ 163 w 483"/>
                <a:gd name="T51" fmla="*/ 159 h 539"/>
                <a:gd name="T52" fmla="*/ 161 w 483"/>
                <a:gd name="T53" fmla="*/ 149 h 539"/>
                <a:gd name="T54" fmla="*/ 189 w 483"/>
                <a:gd name="T55" fmla="*/ 148 h 539"/>
                <a:gd name="T56" fmla="*/ 194 w 483"/>
                <a:gd name="T57" fmla="*/ 136 h 539"/>
                <a:gd name="T58" fmla="*/ 199 w 483"/>
                <a:gd name="T59" fmla="*/ 106 h 539"/>
                <a:gd name="T60" fmla="*/ 185 w 483"/>
                <a:gd name="T61" fmla="*/ 91 h 539"/>
                <a:gd name="T62" fmla="*/ 183 w 483"/>
                <a:gd name="T63" fmla="*/ 80 h 539"/>
                <a:gd name="T64" fmla="*/ 176 w 483"/>
                <a:gd name="T65" fmla="*/ 80 h 539"/>
                <a:gd name="T66" fmla="*/ 185 w 483"/>
                <a:gd name="T67" fmla="*/ 57 h 539"/>
                <a:gd name="T68" fmla="*/ 190 w 483"/>
                <a:gd name="T69" fmla="*/ 40 h 5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83" h="539">
                  <a:moveTo>
                    <a:pt x="435" y="72"/>
                  </a:moveTo>
                  <a:lnTo>
                    <a:pt x="414" y="66"/>
                  </a:lnTo>
                  <a:lnTo>
                    <a:pt x="405" y="54"/>
                  </a:lnTo>
                  <a:lnTo>
                    <a:pt x="405" y="21"/>
                  </a:lnTo>
                  <a:lnTo>
                    <a:pt x="396" y="6"/>
                  </a:lnTo>
                  <a:lnTo>
                    <a:pt x="372" y="27"/>
                  </a:lnTo>
                  <a:lnTo>
                    <a:pt x="360" y="45"/>
                  </a:lnTo>
                  <a:lnTo>
                    <a:pt x="345" y="45"/>
                  </a:lnTo>
                  <a:lnTo>
                    <a:pt x="342" y="18"/>
                  </a:lnTo>
                  <a:lnTo>
                    <a:pt x="321" y="27"/>
                  </a:lnTo>
                  <a:lnTo>
                    <a:pt x="291" y="45"/>
                  </a:lnTo>
                  <a:lnTo>
                    <a:pt x="273" y="33"/>
                  </a:lnTo>
                  <a:lnTo>
                    <a:pt x="237" y="9"/>
                  </a:lnTo>
                  <a:lnTo>
                    <a:pt x="132" y="0"/>
                  </a:lnTo>
                  <a:lnTo>
                    <a:pt x="123" y="12"/>
                  </a:lnTo>
                  <a:lnTo>
                    <a:pt x="144" y="36"/>
                  </a:lnTo>
                  <a:lnTo>
                    <a:pt x="117" y="54"/>
                  </a:lnTo>
                  <a:lnTo>
                    <a:pt x="78" y="36"/>
                  </a:lnTo>
                  <a:lnTo>
                    <a:pt x="39" y="72"/>
                  </a:lnTo>
                  <a:lnTo>
                    <a:pt x="24" y="104"/>
                  </a:lnTo>
                  <a:lnTo>
                    <a:pt x="27" y="179"/>
                  </a:lnTo>
                  <a:lnTo>
                    <a:pt x="48" y="257"/>
                  </a:lnTo>
                  <a:lnTo>
                    <a:pt x="0" y="308"/>
                  </a:lnTo>
                  <a:lnTo>
                    <a:pt x="6" y="314"/>
                  </a:lnTo>
                  <a:lnTo>
                    <a:pt x="48" y="302"/>
                  </a:lnTo>
                  <a:lnTo>
                    <a:pt x="60" y="320"/>
                  </a:lnTo>
                  <a:lnTo>
                    <a:pt x="51" y="377"/>
                  </a:lnTo>
                  <a:lnTo>
                    <a:pt x="72" y="419"/>
                  </a:lnTo>
                  <a:lnTo>
                    <a:pt x="96" y="425"/>
                  </a:lnTo>
                  <a:lnTo>
                    <a:pt x="117" y="395"/>
                  </a:lnTo>
                  <a:lnTo>
                    <a:pt x="129" y="419"/>
                  </a:lnTo>
                  <a:lnTo>
                    <a:pt x="135" y="416"/>
                  </a:lnTo>
                  <a:lnTo>
                    <a:pt x="171" y="383"/>
                  </a:lnTo>
                  <a:lnTo>
                    <a:pt x="180" y="383"/>
                  </a:lnTo>
                  <a:lnTo>
                    <a:pt x="198" y="377"/>
                  </a:lnTo>
                  <a:lnTo>
                    <a:pt x="228" y="383"/>
                  </a:lnTo>
                  <a:lnTo>
                    <a:pt x="228" y="416"/>
                  </a:lnTo>
                  <a:lnTo>
                    <a:pt x="249" y="422"/>
                  </a:lnTo>
                  <a:lnTo>
                    <a:pt x="243" y="452"/>
                  </a:lnTo>
                  <a:lnTo>
                    <a:pt x="222" y="485"/>
                  </a:lnTo>
                  <a:lnTo>
                    <a:pt x="213" y="515"/>
                  </a:lnTo>
                  <a:lnTo>
                    <a:pt x="222" y="515"/>
                  </a:lnTo>
                  <a:lnTo>
                    <a:pt x="246" y="494"/>
                  </a:lnTo>
                  <a:lnTo>
                    <a:pt x="267" y="539"/>
                  </a:lnTo>
                  <a:lnTo>
                    <a:pt x="285" y="527"/>
                  </a:lnTo>
                  <a:lnTo>
                    <a:pt x="303" y="527"/>
                  </a:lnTo>
                  <a:lnTo>
                    <a:pt x="321" y="515"/>
                  </a:lnTo>
                  <a:lnTo>
                    <a:pt x="321" y="485"/>
                  </a:lnTo>
                  <a:lnTo>
                    <a:pt x="330" y="479"/>
                  </a:lnTo>
                  <a:lnTo>
                    <a:pt x="351" y="479"/>
                  </a:lnTo>
                  <a:lnTo>
                    <a:pt x="390" y="497"/>
                  </a:lnTo>
                  <a:lnTo>
                    <a:pt x="396" y="485"/>
                  </a:lnTo>
                  <a:lnTo>
                    <a:pt x="387" y="467"/>
                  </a:lnTo>
                  <a:lnTo>
                    <a:pt x="390" y="458"/>
                  </a:lnTo>
                  <a:lnTo>
                    <a:pt x="414" y="437"/>
                  </a:lnTo>
                  <a:lnTo>
                    <a:pt x="459" y="449"/>
                  </a:lnTo>
                  <a:lnTo>
                    <a:pt x="483" y="431"/>
                  </a:lnTo>
                  <a:lnTo>
                    <a:pt x="474" y="416"/>
                  </a:lnTo>
                  <a:lnTo>
                    <a:pt x="483" y="380"/>
                  </a:lnTo>
                  <a:lnTo>
                    <a:pt x="483" y="326"/>
                  </a:lnTo>
                  <a:lnTo>
                    <a:pt x="465" y="320"/>
                  </a:lnTo>
                  <a:lnTo>
                    <a:pt x="450" y="281"/>
                  </a:lnTo>
                  <a:lnTo>
                    <a:pt x="450" y="251"/>
                  </a:lnTo>
                  <a:lnTo>
                    <a:pt x="444" y="245"/>
                  </a:lnTo>
                  <a:lnTo>
                    <a:pt x="432" y="251"/>
                  </a:lnTo>
                  <a:lnTo>
                    <a:pt x="426" y="242"/>
                  </a:lnTo>
                  <a:lnTo>
                    <a:pt x="432" y="194"/>
                  </a:lnTo>
                  <a:lnTo>
                    <a:pt x="450" y="179"/>
                  </a:lnTo>
                  <a:lnTo>
                    <a:pt x="465" y="149"/>
                  </a:lnTo>
                  <a:lnTo>
                    <a:pt x="462" y="122"/>
                  </a:lnTo>
                  <a:lnTo>
                    <a:pt x="435" y="7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8" name="Freeform 152"/>
            <p:cNvSpPr>
              <a:spLocks/>
            </p:cNvSpPr>
            <p:nvPr/>
          </p:nvSpPr>
          <p:spPr bwMode="auto">
            <a:xfrm>
              <a:off x="4315074" y="4557737"/>
              <a:ext cx="677862" cy="747713"/>
            </a:xfrm>
            <a:custGeom>
              <a:avLst/>
              <a:gdLst>
                <a:gd name="T0" fmla="*/ 170 w 483"/>
                <a:gd name="T1" fmla="*/ 21 h 539"/>
                <a:gd name="T2" fmla="*/ 167 w 483"/>
                <a:gd name="T3" fmla="*/ 7 h 539"/>
                <a:gd name="T4" fmla="*/ 153 w 483"/>
                <a:gd name="T5" fmla="*/ 9 h 539"/>
                <a:gd name="T6" fmla="*/ 142 w 483"/>
                <a:gd name="T7" fmla="*/ 15 h 539"/>
                <a:gd name="T8" fmla="*/ 133 w 483"/>
                <a:gd name="T9" fmla="*/ 9 h 539"/>
                <a:gd name="T10" fmla="*/ 113 w 483"/>
                <a:gd name="T11" fmla="*/ 11 h 539"/>
                <a:gd name="T12" fmla="*/ 54 w 483"/>
                <a:gd name="T13" fmla="*/ 0 h 539"/>
                <a:gd name="T14" fmla="*/ 59 w 483"/>
                <a:gd name="T15" fmla="*/ 12 h 539"/>
                <a:gd name="T16" fmla="*/ 32 w 483"/>
                <a:gd name="T17" fmla="*/ 12 h 539"/>
                <a:gd name="T18" fmla="*/ 10 w 483"/>
                <a:gd name="T19" fmla="*/ 34 h 539"/>
                <a:gd name="T20" fmla="*/ 20 w 483"/>
                <a:gd name="T21" fmla="*/ 85 h 539"/>
                <a:gd name="T22" fmla="*/ 5 w 483"/>
                <a:gd name="T23" fmla="*/ 102 h 539"/>
                <a:gd name="T24" fmla="*/ 25 w 483"/>
                <a:gd name="T25" fmla="*/ 105 h 539"/>
                <a:gd name="T26" fmla="*/ 29 w 483"/>
                <a:gd name="T27" fmla="*/ 138 h 539"/>
                <a:gd name="T28" fmla="*/ 49 w 483"/>
                <a:gd name="T29" fmla="*/ 130 h 539"/>
                <a:gd name="T30" fmla="*/ 55 w 483"/>
                <a:gd name="T31" fmla="*/ 136 h 539"/>
                <a:gd name="T32" fmla="*/ 74 w 483"/>
                <a:gd name="T33" fmla="*/ 125 h 539"/>
                <a:gd name="T34" fmla="*/ 94 w 483"/>
                <a:gd name="T35" fmla="*/ 125 h 539"/>
                <a:gd name="T36" fmla="*/ 103 w 483"/>
                <a:gd name="T37" fmla="*/ 139 h 539"/>
                <a:gd name="T38" fmla="*/ 92 w 483"/>
                <a:gd name="T39" fmla="*/ 159 h 539"/>
                <a:gd name="T40" fmla="*/ 92 w 483"/>
                <a:gd name="T41" fmla="*/ 168 h 539"/>
                <a:gd name="T42" fmla="*/ 110 w 483"/>
                <a:gd name="T43" fmla="*/ 176 h 539"/>
                <a:gd name="T44" fmla="*/ 124 w 483"/>
                <a:gd name="T45" fmla="*/ 172 h 539"/>
                <a:gd name="T46" fmla="*/ 133 w 483"/>
                <a:gd name="T47" fmla="*/ 159 h 539"/>
                <a:gd name="T48" fmla="*/ 145 w 483"/>
                <a:gd name="T49" fmla="*/ 156 h 539"/>
                <a:gd name="T50" fmla="*/ 163 w 483"/>
                <a:gd name="T51" fmla="*/ 159 h 539"/>
                <a:gd name="T52" fmla="*/ 161 w 483"/>
                <a:gd name="T53" fmla="*/ 149 h 539"/>
                <a:gd name="T54" fmla="*/ 189 w 483"/>
                <a:gd name="T55" fmla="*/ 148 h 539"/>
                <a:gd name="T56" fmla="*/ 194 w 483"/>
                <a:gd name="T57" fmla="*/ 136 h 539"/>
                <a:gd name="T58" fmla="*/ 199 w 483"/>
                <a:gd name="T59" fmla="*/ 106 h 539"/>
                <a:gd name="T60" fmla="*/ 185 w 483"/>
                <a:gd name="T61" fmla="*/ 91 h 539"/>
                <a:gd name="T62" fmla="*/ 183 w 483"/>
                <a:gd name="T63" fmla="*/ 80 h 539"/>
                <a:gd name="T64" fmla="*/ 176 w 483"/>
                <a:gd name="T65" fmla="*/ 80 h 539"/>
                <a:gd name="T66" fmla="*/ 185 w 483"/>
                <a:gd name="T67" fmla="*/ 57 h 539"/>
                <a:gd name="T68" fmla="*/ 190 w 483"/>
                <a:gd name="T69" fmla="*/ 40 h 5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83" h="539">
                  <a:moveTo>
                    <a:pt x="435" y="72"/>
                  </a:moveTo>
                  <a:lnTo>
                    <a:pt x="414" y="66"/>
                  </a:lnTo>
                  <a:lnTo>
                    <a:pt x="405" y="54"/>
                  </a:lnTo>
                  <a:lnTo>
                    <a:pt x="405" y="21"/>
                  </a:lnTo>
                  <a:lnTo>
                    <a:pt x="396" y="6"/>
                  </a:lnTo>
                  <a:lnTo>
                    <a:pt x="372" y="27"/>
                  </a:lnTo>
                  <a:lnTo>
                    <a:pt x="360" y="45"/>
                  </a:lnTo>
                  <a:lnTo>
                    <a:pt x="345" y="45"/>
                  </a:lnTo>
                  <a:lnTo>
                    <a:pt x="342" y="18"/>
                  </a:lnTo>
                  <a:lnTo>
                    <a:pt x="321" y="27"/>
                  </a:lnTo>
                  <a:lnTo>
                    <a:pt x="291" y="45"/>
                  </a:lnTo>
                  <a:lnTo>
                    <a:pt x="273" y="33"/>
                  </a:lnTo>
                  <a:lnTo>
                    <a:pt x="237" y="9"/>
                  </a:lnTo>
                  <a:lnTo>
                    <a:pt x="132" y="0"/>
                  </a:lnTo>
                  <a:lnTo>
                    <a:pt x="123" y="12"/>
                  </a:lnTo>
                  <a:lnTo>
                    <a:pt x="144" y="36"/>
                  </a:lnTo>
                  <a:lnTo>
                    <a:pt x="117" y="54"/>
                  </a:lnTo>
                  <a:lnTo>
                    <a:pt x="78" y="36"/>
                  </a:lnTo>
                  <a:lnTo>
                    <a:pt x="39" y="72"/>
                  </a:lnTo>
                  <a:lnTo>
                    <a:pt x="24" y="104"/>
                  </a:lnTo>
                  <a:lnTo>
                    <a:pt x="27" y="179"/>
                  </a:lnTo>
                  <a:lnTo>
                    <a:pt x="48" y="257"/>
                  </a:lnTo>
                  <a:lnTo>
                    <a:pt x="0" y="308"/>
                  </a:lnTo>
                  <a:lnTo>
                    <a:pt x="6" y="314"/>
                  </a:lnTo>
                  <a:lnTo>
                    <a:pt x="48" y="302"/>
                  </a:lnTo>
                  <a:lnTo>
                    <a:pt x="60" y="320"/>
                  </a:lnTo>
                  <a:lnTo>
                    <a:pt x="51" y="377"/>
                  </a:lnTo>
                  <a:lnTo>
                    <a:pt x="72" y="419"/>
                  </a:lnTo>
                  <a:lnTo>
                    <a:pt x="96" y="425"/>
                  </a:lnTo>
                  <a:lnTo>
                    <a:pt x="117" y="395"/>
                  </a:lnTo>
                  <a:lnTo>
                    <a:pt x="129" y="419"/>
                  </a:lnTo>
                  <a:lnTo>
                    <a:pt x="135" y="416"/>
                  </a:lnTo>
                  <a:lnTo>
                    <a:pt x="171" y="383"/>
                  </a:lnTo>
                  <a:lnTo>
                    <a:pt x="180" y="383"/>
                  </a:lnTo>
                  <a:lnTo>
                    <a:pt x="198" y="377"/>
                  </a:lnTo>
                  <a:lnTo>
                    <a:pt x="228" y="383"/>
                  </a:lnTo>
                  <a:lnTo>
                    <a:pt x="228" y="416"/>
                  </a:lnTo>
                  <a:lnTo>
                    <a:pt x="249" y="422"/>
                  </a:lnTo>
                  <a:lnTo>
                    <a:pt x="243" y="452"/>
                  </a:lnTo>
                  <a:lnTo>
                    <a:pt x="222" y="485"/>
                  </a:lnTo>
                  <a:lnTo>
                    <a:pt x="213" y="515"/>
                  </a:lnTo>
                  <a:lnTo>
                    <a:pt x="222" y="515"/>
                  </a:lnTo>
                  <a:lnTo>
                    <a:pt x="246" y="494"/>
                  </a:lnTo>
                  <a:lnTo>
                    <a:pt x="267" y="539"/>
                  </a:lnTo>
                  <a:lnTo>
                    <a:pt x="285" y="527"/>
                  </a:lnTo>
                  <a:lnTo>
                    <a:pt x="303" y="527"/>
                  </a:lnTo>
                  <a:lnTo>
                    <a:pt x="321" y="515"/>
                  </a:lnTo>
                  <a:lnTo>
                    <a:pt x="321" y="485"/>
                  </a:lnTo>
                  <a:lnTo>
                    <a:pt x="330" y="479"/>
                  </a:lnTo>
                  <a:lnTo>
                    <a:pt x="351" y="479"/>
                  </a:lnTo>
                  <a:lnTo>
                    <a:pt x="390" y="497"/>
                  </a:lnTo>
                  <a:lnTo>
                    <a:pt x="396" y="485"/>
                  </a:lnTo>
                  <a:lnTo>
                    <a:pt x="387" y="467"/>
                  </a:lnTo>
                  <a:lnTo>
                    <a:pt x="390" y="458"/>
                  </a:lnTo>
                  <a:lnTo>
                    <a:pt x="414" y="437"/>
                  </a:lnTo>
                  <a:lnTo>
                    <a:pt x="459" y="449"/>
                  </a:lnTo>
                  <a:lnTo>
                    <a:pt x="483" y="431"/>
                  </a:lnTo>
                  <a:lnTo>
                    <a:pt x="474" y="416"/>
                  </a:lnTo>
                  <a:lnTo>
                    <a:pt x="483" y="380"/>
                  </a:lnTo>
                  <a:lnTo>
                    <a:pt x="483" y="326"/>
                  </a:lnTo>
                  <a:lnTo>
                    <a:pt x="465" y="320"/>
                  </a:lnTo>
                  <a:lnTo>
                    <a:pt x="450" y="281"/>
                  </a:lnTo>
                  <a:lnTo>
                    <a:pt x="450" y="251"/>
                  </a:lnTo>
                  <a:lnTo>
                    <a:pt x="444" y="245"/>
                  </a:lnTo>
                  <a:lnTo>
                    <a:pt x="432" y="251"/>
                  </a:lnTo>
                  <a:lnTo>
                    <a:pt x="426" y="242"/>
                  </a:lnTo>
                  <a:lnTo>
                    <a:pt x="432" y="194"/>
                  </a:lnTo>
                  <a:lnTo>
                    <a:pt x="450" y="179"/>
                  </a:lnTo>
                  <a:lnTo>
                    <a:pt x="465" y="149"/>
                  </a:lnTo>
                  <a:lnTo>
                    <a:pt x="462" y="122"/>
                  </a:lnTo>
                  <a:lnTo>
                    <a:pt x="435" y="72"/>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59" name="Freeform 153"/>
            <p:cNvSpPr>
              <a:spLocks/>
            </p:cNvSpPr>
            <p:nvPr/>
          </p:nvSpPr>
          <p:spPr bwMode="auto">
            <a:xfrm>
              <a:off x="3659436" y="4702200"/>
              <a:ext cx="755650" cy="652462"/>
            </a:xfrm>
            <a:custGeom>
              <a:avLst/>
              <a:gdLst>
                <a:gd name="T0" fmla="*/ 61 w 539"/>
                <a:gd name="T1" fmla="*/ 51 h 471"/>
                <a:gd name="T2" fmla="*/ 56 w 539"/>
                <a:gd name="T3" fmla="*/ 63 h 471"/>
                <a:gd name="T4" fmla="*/ 47 w 539"/>
                <a:gd name="T5" fmla="*/ 67 h 471"/>
                <a:gd name="T6" fmla="*/ 27 w 539"/>
                <a:gd name="T7" fmla="*/ 63 h 471"/>
                <a:gd name="T8" fmla="*/ 23 w 539"/>
                <a:gd name="T9" fmla="*/ 67 h 471"/>
                <a:gd name="T10" fmla="*/ 12 w 539"/>
                <a:gd name="T11" fmla="*/ 64 h 471"/>
                <a:gd name="T12" fmla="*/ 0 w 539"/>
                <a:gd name="T13" fmla="*/ 76 h 471"/>
                <a:gd name="T14" fmla="*/ 5 w 539"/>
                <a:gd name="T15" fmla="*/ 79 h 471"/>
                <a:gd name="T16" fmla="*/ 5 w 539"/>
                <a:gd name="T17" fmla="*/ 87 h 471"/>
                <a:gd name="T18" fmla="*/ 10 w 539"/>
                <a:gd name="T19" fmla="*/ 94 h 471"/>
                <a:gd name="T20" fmla="*/ 31 w 539"/>
                <a:gd name="T21" fmla="*/ 88 h 471"/>
                <a:gd name="T22" fmla="*/ 37 w 539"/>
                <a:gd name="T23" fmla="*/ 94 h 471"/>
                <a:gd name="T24" fmla="*/ 27 w 539"/>
                <a:gd name="T25" fmla="*/ 124 h 471"/>
                <a:gd name="T26" fmla="*/ 39 w 539"/>
                <a:gd name="T27" fmla="*/ 133 h 471"/>
                <a:gd name="T28" fmla="*/ 36 w 539"/>
                <a:gd name="T29" fmla="*/ 152 h 471"/>
                <a:gd name="T30" fmla="*/ 48 w 539"/>
                <a:gd name="T31" fmla="*/ 153 h 471"/>
                <a:gd name="T32" fmla="*/ 61 w 539"/>
                <a:gd name="T33" fmla="*/ 142 h 471"/>
                <a:gd name="T34" fmla="*/ 66 w 539"/>
                <a:gd name="T35" fmla="*/ 147 h 471"/>
                <a:gd name="T36" fmla="*/ 93 w 539"/>
                <a:gd name="T37" fmla="*/ 154 h 471"/>
                <a:gd name="T38" fmla="*/ 95 w 539"/>
                <a:gd name="T39" fmla="*/ 152 h 471"/>
                <a:gd name="T40" fmla="*/ 97 w 539"/>
                <a:gd name="T41" fmla="*/ 145 h 471"/>
                <a:gd name="T42" fmla="*/ 103 w 539"/>
                <a:gd name="T43" fmla="*/ 140 h 471"/>
                <a:gd name="T44" fmla="*/ 137 w 539"/>
                <a:gd name="T45" fmla="*/ 122 h 471"/>
                <a:gd name="T46" fmla="*/ 144 w 539"/>
                <a:gd name="T47" fmla="*/ 128 h 471"/>
                <a:gd name="T48" fmla="*/ 166 w 539"/>
                <a:gd name="T49" fmla="*/ 133 h 471"/>
                <a:gd name="T50" fmla="*/ 176 w 539"/>
                <a:gd name="T51" fmla="*/ 122 h 471"/>
                <a:gd name="T52" fmla="*/ 183 w 539"/>
                <a:gd name="T53" fmla="*/ 124 h 471"/>
                <a:gd name="T54" fmla="*/ 191 w 539"/>
                <a:gd name="T55" fmla="*/ 124 h 471"/>
                <a:gd name="T56" fmla="*/ 191 w 539"/>
                <a:gd name="T57" fmla="*/ 121 h 471"/>
                <a:gd name="T58" fmla="*/ 201 w 539"/>
                <a:gd name="T59" fmla="*/ 117 h 471"/>
                <a:gd name="T60" fmla="*/ 201 w 539"/>
                <a:gd name="T61" fmla="*/ 114 h 471"/>
                <a:gd name="T62" fmla="*/ 208 w 539"/>
                <a:gd name="T63" fmla="*/ 111 h 471"/>
                <a:gd name="T64" fmla="*/ 209 w 539"/>
                <a:gd name="T65" fmla="*/ 111 h 471"/>
                <a:gd name="T66" fmla="*/ 220 w 539"/>
                <a:gd name="T67" fmla="*/ 103 h 471"/>
                <a:gd name="T68" fmla="*/ 212 w 539"/>
                <a:gd name="T69" fmla="*/ 88 h 471"/>
                <a:gd name="T70" fmla="*/ 217 w 539"/>
                <a:gd name="T71" fmla="*/ 71 h 471"/>
                <a:gd name="T72" fmla="*/ 210 w 539"/>
                <a:gd name="T73" fmla="*/ 64 h 471"/>
                <a:gd name="T74" fmla="*/ 193 w 539"/>
                <a:gd name="T75" fmla="*/ 69 h 471"/>
                <a:gd name="T76" fmla="*/ 191 w 539"/>
                <a:gd name="T77" fmla="*/ 67 h 471"/>
                <a:gd name="T78" fmla="*/ 210 w 539"/>
                <a:gd name="T79" fmla="*/ 50 h 471"/>
                <a:gd name="T80" fmla="*/ 201 w 539"/>
                <a:gd name="T81" fmla="*/ 24 h 471"/>
                <a:gd name="T82" fmla="*/ 191 w 539"/>
                <a:gd name="T83" fmla="*/ 31 h 471"/>
                <a:gd name="T84" fmla="*/ 179 w 539"/>
                <a:gd name="T85" fmla="*/ 22 h 471"/>
                <a:gd name="T86" fmla="*/ 168 w 539"/>
                <a:gd name="T87" fmla="*/ 12 h 471"/>
                <a:gd name="T88" fmla="*/ 168 w 539"/>
                <a:gd name="T89" fmla="*/ 4 h 471"/>
                <a:gd name="T90" fmla="*/ 161 w 539"/>
                <a:gd name="T91" fmla="*/ 4 h 471"/>
                <a:gd name="T92" fmla="*/ 152 w 539"/>
                <a:gd name="T93" fmla="*/ 6 h 471"/>
                <a:gd name="T94" fmla="*/ 139 w 539"/>
                <a:gd name="T95" fmla="*/ 0 h 471"/>
                <a:gd name="T96" fmla="*/ 132 w 539"/>
                <a:gd name="T97" fmla="*/ 13 h 471"/>
                <a:gd name="T98" fmla="*/ 119 w 539"/>
                <a:gd name="T99" fmla="*/ 13 h 471"/>
                <a:gd name="T100" fmla="*/ 111 w 539"/>
                <a:gd name="T101" fmla="*/ 24 h 471"/>
                <a:gd name="T102" fmla="*/ 106 w 539"/>
                <a:gd name="T103" fmla="*/ 21 h 471"/>
                <a:gd name="T104" fmla="*/ 97 w 539"/>
                <a:gd name="T105" fmla="*/ 24 h 471"/>
                <a:gd name="T106" fmla="*/ 85 w 539"/>
                <a:gd name="T107" fmla="*/ 19 h 471"/>
                <a:gd name="T108" fmla="*/ 73 w 539"/>
                <a:gd name="T109" fmla="*/ 27 h 471"/>
                <a:gd name="T110" fmla="*/ 73 w 539"/>
                <a:gd name="T111" fmla="*/ 32 h 471"/>
                <a:gd name="T112" fmla="*/ 94 w 539"/>
                <a:gd name="T113" fmla="*/ 41 h 471"/>
                <a:gd name="T114" fmla="*/ 100 w 539"/>
                <a:gd name="T115" fmla="*/ 48 h 471"/>
                <a:gd name="T116" fmla="*/ 85 w 539"/>
                <a:gd name="T117" fmla="*/ 51 h 471"/>
                <a:gd name="T118" fmla="*/ 61 w 539"/>
                <a:gd name="T119" fmla="*/ 51 h 4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39" h="471">
                  <a:moveTo>
                    <a:pt x="150" y="159"/>
                  </a:moveTo>
                  <a:lnTo>
                    <a:pt x="138" y="195"/>
                  </a:lnTo>
                  <a:lnTo>
                    <a:pt x="114" y="204"/>
                  </a:lnTo>
                  <a:lnTo>
                    <a:pt x="66" y="195"/>
                  </a:lnTo>
                  <a:lnTo>
                    <a:pt x="54" y="207"/>
                  </a:lnTo>
                  <a:lnTo>
                    <a:pt x="27" y="198"/>
                  </a:lnTo>
                  <a:lnTo>
                    <a:pt x="0" y="234"/>
                  </a:lnTo>
                  <a:lnTo>
                    <a:pt x="12" y="243"/>
                  </a:lnTo>
                  <a:lnTo>
                    <a:pt x="12" y="267"/>
                  </a:lnTo>
                  <a:lnTo>
                    <a:pt x="24" y="288"/>
                  </a:lnTo>
                  <a:lnTo>
                    <a:pt x="75" y="273"/>
                  </a:lnTo>
                  <a:lnTo>
                    <a:pt x="90" y="285"/>
                  </a:lnTo>
                  <a:lnTo>
                    <a:pt x="66" y="381"/>
                  </a:lnTo>
                  <a:lnTo>
                    <a:pt x="96" y="411"/>
                  </a:lnTo>
                  <a:lnTo>
                    <a:pt x="87" y="465"/>
                  </a:lnTo>
                  <a:lnTo>
                    <a:pt x="117" y="468"/>
                  </a:lnTo>
                  <a:lnTo>
                    <a:pt x="150" y="438"/>
                  </a:lnTo>
                  <a:lnTo>
                    <a:pt x="162" y="447"/>
                  </a:lnTo>
                  <a:lnTo>
                    <a:pt x="225" y="471"/>
                  </a:lnTo>
                  <a:lnTo>
                    <a:pt x="234" y="465"/>
                  </a:lnTo>
                  <a:lnTo>
                    <a:pt x="237" y="444"/>
                  </a:lnTo>
                  <a:lnTo>
                    <a:pt x="249" y="432"/>
                  </a:lnTo>
                  <a:lnTo>
                    <a:pt x="335" y="375"/>
                  </a:lnTo>
                  <a:lnTo>
                    <a:pt x="350" y="393"/>
                  </a:lnTo>
                  <a:lnTo>
                    <a:pt x="404" y="411"/>
                  </a:lnTo>
                  <a:lnTo>
                    <a:pt x="431" y="372"/>
                  </a:lnTo>
                  <a:lnTo>
                    <a:pt x="446" y="381"/>
                  </a:lnTo>
                  <a:lnTo>
                    <a:pt x="467" y="381"/>
                  </a:lnTo>
                  <a:lnTo>
                    <a:pt x="467" y="369"/>
                  </a:lnTo>
                  <a:lnTo>
                    <a:pt x="494" y="360"/>
                  </a:lnTo>
                  <a:lnTo>
                    <a:pt x="494" y="351"/>
                  </a:lnTo>
                  <a:lnTo>
                    <a:pt x="506" y="339"/>
                  </a:lnTo>
                  <a:lnTo>
                    <a:pt x="512" y="342"/>
                  </a:lnTo>
                  <a:lnTo>
                    <a:pt x="539" y="315"/>
                  </a:lnTo>
                  <a:lnTo>
                    <a:pt x="518" y="273"/>
                  </a:lnTo>
                  <a:lnTo>
                    <a:pt x="527" y="216"/>
                  </a:lnTo>
                  <a:lnTo>
                    <a:pt x="515" y="198"/>
                  </a:lnTo>
                  <a:lnTo>
                    <a:pt x="473" y="210"/>
                  </a:lnTo>
                  <a:lnTo>
                    <a:pt x="467" y="204"/>
                  </a:lnTo>
                  <a:lnTo>
                    <a:pt x="515" y="153"/>
                  </a:lnTo>
                  <a:lnTo>
                    <a:pt x="494" y="75"/>
                  </a:lnTo>
                  <a:lnTo>
                    <a:pt x="464" y="96"/>
                  </a:lnTo>
                  <a:lnTo>
                    <a:pt x="437" y="69"/>
                  </a:lnTo>
                  <a:lnTo>
                    <a:pt x="413" y="36"/>
                  </a:lnTo>
                  <a:lnTo>
                    <a:pt x="410" y="15"/>
                  </a:lnTo>
                  <a:lnTo>
                    <a:pt x="392" y="9"/>
                  </a:lnTo>
                  <a:lnTo>
                    <a:pt x="371" y="18"/>
                  </a:lnTo>
                  <a:lnTo>
                    <a:pt x="338" y="0"/>
                  </a:lnTo>
                  <a:lnTo>
                    <a:pt x="320" y="39"/>
                  </a:lnTo>
                  <a:lnTo>
                    <a:pt x="290" y="42"/>
                  </a:lnTo>
                  <a:lnTo>
                    <a:pt x="269" y="75"/>
                  </a:lnTo>
                  <a:lnTo>
                    <a:pt x="258" y="66"/>
                  </a:lnTo>
                  <a:lnTo>
                    <a:pt x="237" y="75"/>
                  </a:lnTo>
                  <a:lnTo>
                    <a:pt x="207" y="57"/>
                  </a:lnTo>
                  <a:lnTo>
                    <a:pt x="180" y="84"/>
                  </a:lnTo>
                  <a:lnTo>
                    <a:pt x="180" y="99"/>
                  </a:lnTo>
                  <a:lnTo>
                    <a:pt x="231" y="126"/>
                  </a:lnTo>
                  <a:lnTo>
                    <a:pt x="243" y="147"/>
                  </a:lnTo>
                  <a:lnTo>
                    <a:pt x="207" y="159"/>
                  </a:lnTo>
                  <a:lnTo>
                    <a:pt x="150" y="159"/>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0" name="Freeform 154"/>
            <p:cNvSpPr>
              <a:spLocks/>
            </p:cNvSpPr>
            <p:nvPr/>
          </p:nvSpPr>
          <p:spPr bwMode="auto">
            <a:xfrm>
              <a:off x="3659436" y="4702200"/>
              <a:ext cx="755650" cy="652462"/>
            </a:xfrm>
            <a:custGeom>
              <a:avLst/>
              <a:gdLst>
                <a:gd name="T0" fmla="*/ 61 w 539"/>
                <a:gd name="T1" fmla="*/ 51 h 471"/>
                <a:gd name="T2" fmla="*/ 56 w 539"/>
                <a:gd name="T3" fmla="*/ 63 h 471"/>
                <a:gd name="T4" fmla="*/ 47 w 539"/>
                <a:gd name="T5" fmla="*/ 67 h 471"/>
                <a:gd name="T6" fmla="*/ 27 w 539"/>
                <a:gd name="T7" fmla="*/ 63 h 471"/>
                <a:gd name="T8" fmla="*/ 23 w 539"/>
                <a:gd name="T9" fmla="*/ 67 h 471"/>
                <a:gd name="T10" fmla="*/ 12 w 539"/>
                <a:gd name="T11" fmla="*/ 64 h 471"/>
                <a:gd name="T12" fmla="*/ 0 w 539"/>
                <a:gd name="T13" fmla="*/ 76 h 471"/>
                <a:gd name="T14" fmla="*/ 5 w 539"/>
                <a:gd name="T15" fmla="*/ 79 h 471"/>
                <a:gd name="T16" fmla="*/ 5 w 539"/>
                <a:gd name="T17" fmla="*/ 87 h 471"/>
                <a:gd name="T18" fmla="*/ 10 w 539"/>
                <a:gd name="T19" fmla="*/ 94 h 471"/>
                <a:gd name="T20" fmla="*/ 31 w 539"/>
                <a:gd name="T21" fmla="*/ 88 h 471"/>
                <a:gd name="T22" fmla="*/ 37 w 539"/>
                <a:gd name="T23" fmla="*/ 94 h 471"/>
                <a:gd name="T24" fmla="*/ 27 w 539"/>
                <a:gd name="T25" fmla="*/ 124 h 471"/>
                <a:gd name="T26" fmla="*/ 39 w 539"/>
                <a:gd name="T27" fmla="*/ 133 h 471"/>
                <a:gd name="T28" fmla="*/ 36 w 539"/>
                <a:gd name="T29" fmla="*/ 152 h 471"/>
                <a:gd name="T30" fmla="*/ 48 w 539"/>
                <a:gd name="T31" fmla="*/ 153 h 471"/>
                <a:gd name="T32" fmla="*/ 61 w 539"/>
                <a:gd name="T33" fmla="*/ 142 h 471"/>
                <a:gd name="T34" fmla="*/ 66 w 539"/>
                <a:gd name="T35" fmla="*/ 147 h 471"/>
                <a:gd name="T36" fmla="*/ 93 w 539"/>
                <a:gd name="T37" fmla="*/ 154 h 471"/>
                <a:gd name="T38" fmla="*/ 95 w 539"/>
                <a:gd name="T39" fmla="*/ 152 h 471"/>
                <a:gd name="T40" fmla="*/ 97 w 539"/>
                <a:gd name="T41" fmla="*/ 145 h 471"/>
                <a:gd name="T42" fmla="*/ 103 w 539"/>
                <a:gd name="T43" fmla="*/ 140 h 471"/>
                <a:gd name="T44" fmla="*/ 137 w 539"/>
                <a:gd name="T45" fmla="*/ 122 h 471"/>
                <a:gd name="T46" fmla="*/ 144 w 539"/>
                <a:gd name="T47" fmla="*/ 128 h 471"/>
                <a:gd name="T48" fmla="*/ 166 w 539"/>
                <a:gd name="T49" fmla="*/ 133 h 471"/>
                <a:gd name="T50" fmla="*/ 176 w 539"/>
                <a:gd name="T51" fmla="*/ 122 h 471"/>
                <a:gd name="T52" fmla="*/ 183 w 539"/>
                <a:gd name="T53" fmla="*/ 124 h 471"/>
                <a:gd name="T54" fmla="*/ 191 w 539"/>
                <a:gd name="T55" fmla="*/ 124 h 471"/>
                <a:gd name="T56" fmla="*/ 191 w 539"/>
                <a:gd name="T57" fmla="*/ 121 h 471"/>
                <a:gd name="T58" fmla="*/ 201 w 539"/>
                <a:gd name="T59" fmla="*/ 117 h 471"/>
                <a:gd name="T60" fmla="*/ 201 w 539"/>
                <a:gd name="T61" fmla="*/ 114 h 471"/>
                <a:gd name="T62" fmla="*/ 208 w 539"/>
                <a:gd name="T63" fmla="*/ 111 h 471"/>
                <a:gd name="T64" fmla="*/ 209 w 539"/>
                <a:gd name="T65" fmla="*/ 111 h 471"/>
                <a:gd name="T66" fmla="*/ 220 w 539"/>
                <a:gd name="T67" fmla="*/ 103 h 471"/>
                <a:gd name="T68" fmla="*/ 212 w 539"/>
                <a:gd name="T69" fmla="*/ 88 h 471"/>
                <a:gd name="T70" fmla="*/ 217 w 539"/>
                <a:gd name="T71" fmla="*/ 71 h 471"/>
                <a:gd name="T72" fmla="*/ 210 w 539"/>
                <a:gd name="T73" fmla="*/ 64 h 471"/>
                <a:gd name="T74" fmla="*/ 193 w 539"/>
                <a:gd name="T75" fmla="*/ 69 h 471"/>
                <a:gd name="T76" fmla="*/ 191 w 539"/>
                <a:gd name="T77" fmla="*/ 67 h 471"/>
                <a:gd name="T78" fmla="*/ 210 w 539"/>
                <a:gd name="T79" fmla="*/ 50 h 471"/>
                <a:gd name="T80" fmla="*/ 201 w 539"/>
                <a:gd name="T81" fmla="*/ 24 h 471"/>
                <a:gd name="T82" fmla="*/ 191 w 539"/>
                <a:gd name="T83" fmla="*/ 31 h 471"/>
                <a:gd name="T84" fmla="*/ 179 w 539"/>
                <a:gd name="T85" fmla="*/ 22 h 471"/>
                <a:gd name="T86" fmla="*/ 168 w 539"/>
                <a:gd name="T87" fmla="*/ 12 h 471"/>
                <a:gd name="T88" fmla="*/ 168 w 539"/>
                <a:gd name="T89" fmla="*/ 4 h 471"/>
                <a:gd name="T90" fmla="*/ 161 w 539"/>
                <a:gd name="T91" fmla="*/ 4 h 471"/>
                <a:gd name="T92" fmla="*/ 152 w 539"/>
                <a:gd name="T93" fmla="*/ 6 h 471"/>
                <a:gd name="T94" fmla="*/ 139 w 539"/>
                <a:gd name="T95" fmla="*/ 0 h 471"/>
                <a:gd name="T96" fmla="*/ 132 w 539"/>
                <a:gd name="T97" fmla="*/ 13 h 471"/>
                <a:gd name="T98" fmla="*/ 119 w 539"/>
                <a:gd name="T99" fmla="*/ 13 h 471"/>
                <a:gd name="T100" fmla="*/ 111 w 539"/>
                <a:gd name="T101" fmla="*/ 24 h 471"/>
                <a:gd name="T102" fmla="*/ 106 w 539"/>
                <a:gd name="T103" fmla="*/ 21 h 471"/>
                <a:gd name="T104" fmla="*/ 97 w 539"/>
                <a:gd name="T105" fmla="*/ 24 h 471"/>
                <a:gd name="T106" fmla="*/ 85 w 539"/>
                <a:gd name="T107" fmla="*/ 19 h 471"/>
                <a:gd name="T108" fmla="*/ 73 w 539"/>
                <a:gd name="T109" fmla="*/ 27 h 471"/>
                <a:gd name="T110" fmla="*/ 73 w 539"/>
                <a:gd name="T111" fmla="*/ 32 h 471"/>
                <a:gd name="T112" fmla="*/ 94 w 539"/>
                <a:gd name="T113" fmla="*/ 41 h 471"/>
                <a:gd name="T114" fmla="*/ 100 w 539"/>
                <a:gd name="T115" fmla="*/ 48 h 471"/>
                <a:gd name="T116" fmla="*/ 85 w 539"/>
                <a:gd name="T117" fmla="*/ 51 h 471"/>
                <a:gd name="T118" fmla="*/ 61 w 539"/>
                <a:gd name="T119" fmla="*/ 51 h 47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39" h="471">
                  <a:moveTo>
                    <a:pt x="150" y="159"/>
                  </a:moveTo>
                  <a:lnTo>
                    <a:pt x="138" y="195"/>
                  </a:lnTo>
                  <a:lnTo>
                    <a:pt x="114" y="204"/>
                  </a:lnTo>
                  <a:lnTo>
                    <a:pt x="66" y="195"/>
                  </a:lnTo>
                  <a:lnTo>
                    <a:pt x="54" y="207"/>
                  </a:lnTo>
                  <a:lnTo>
                    <a:pt x="27" y="198"/>
                  </a:lnTo>
                  <a:lnTo>
                    <a:pt x="0" y="234"/>
                  </a:lnTo>
                  <a:lnTo>
                    <a:pt x="12" y="243"/>
                  </a:lnTo>
                  <a:lnTo>
                    <a:pt x="12" y="267"/>
                  </a:lnTo>
                  <a:lnTo>
                    <a:pt x="24" y="288"/>
                  </a:lnTo>
                  <a:lnTo>
                    <a:pt x="75" y="273"/>
                  </a:lnTo>
                  <a:lnTo>
                    <a:pt x="90" y="285"/>
                  </a:lnTo>
                  <a:lnTo>
                    <a:pt x="66" y="381"/>
                  </a:lnTo>
                  <a:lnTo>
                    <a:pt x="96" y="411"/>
                  </a:lnTo>
                  <a:lnTo>
                    <a:pt x="87" y="465"/>
                  </a:lnTo>
                  <a:lnTo>
                    <a:pt x="117" y="468"/>
                  </a:lnTo>
                  <a:lnTo>
                    <a:pt x="150" y="438"/>
                  </a:lnTo>
                  <a:lnTo>
                    <a:pt x="162" y="447"/>
                  </a:lnTo>
                  <a:lnTo>
                    <a:pt x="225" y="471"/>
                  </a:lnTo>
                  <a:lnTo>
                    <a:pt x="234" y="465"/>
                  </a:lnTo>
                  <a:lnTo>
                    <a:pt x="237" y="444"/>
                  </a:lnTo>
                  <a:lnTo>
                    <a:pt x="249" y="432"/>
                  </a:lnTo>
                  <a:lnTo>
                    <a:pt x="335" y="375"/>
                  </a:lnTo>
                  <a:lnTo>
                    <a:pt x="350" y="393"/>
                  </a:lnTo>
                  <a:lnTo>
                    <a:pt x="404" y="411"/>
                  </a:lnTo>
                  <a:lnTo>
                    <a:pt x="431" y="372"/>
                  </a:lnTo>
                  <a:lnTo>
                    <a:pt x="446" y="381"/>
                  </a:lnTo>
                  <a:lnTo>
                    <a:pt x="467" y="381"/>
                  </a:lnTo>
                  <a:lnTo>
                    <a:pt x="467" y="369"/>
                  </a:lnTo>
                  <a:lnTo>
                    <a:pt x="494" y="360"/>
                  </a:lnTo>
                  <a:lnTo>
                    <a:pt x="494" y="351"/>
                  </a:lnTo>
                  <a:lnTo>
                    <a:pt x="506" y="339"/>
                  </a:lnTo>
                  <a:lnTo>
                    <a:pt x="512" y="342"/>
                  </a:lnTo>
                  <a:lnTo>
                    <a:pt x="539" y="315"/>
                  </a:lnTo>
                  <a:lnTo>
                    <a:pt x="518" y="273"/>
                  </a:lnTo>
                  <a:lnTo>
                    <a:pt x="527" y="216"/>
                  </a:lnTo>
                  <a:lnTo>
                    <a:pt x="515" y="198"/>
                  </a:lnTo>
                  <a:lnTo>
                    <a:pt x="473" y="210"/>
                  </a:lnTo>
                  <a:lnTo>
                    <a:pt x="467" y="204"/>
                  </a:lnTo>
                  <a:lnTo>
                    <a:pt x="515" y="153"/>
                  </a:lnTo>
                  <a:lnTo>
                    <a:pt x="494" y="75"/>
                  </a:lnTo>
                  <a:lnTo>
                    <a:pt x="464" y="96"/>
                  </a:lnTo>
                  <a:lnTo>
                    <a:pt x="437" y="69"/>
                  </a:lnTo>
                  <a:lnTo>
                    <a:pt x="413" y="36"/>
                  </a:lnTo>
                  <a:lnTo>
                    <a:pt x="410" y="15"/>
                  </a:lnTo>
                  <a:lnTo>
                    <a:pt x="392" y="9"/>
                  </a:lnTo>
                  <a:lnTo>
                    <a:pt x="371" y="18"/>
                  </a:lnTo>
                  <a:lnTo>
                    <a:pt x="338" y="0"/>
                  </a:lnTo>
                  <a:lnTo>
                    <a:pt x="320" y="39"/>
                  </a:lnTo>
                  <a:lnTo>
                    <a:pt x="290" y="42"/>
                  </a:lnTo>
                  <a:lnTo>
                    <a:pt x="269" y="75"/>
                  </a:lnTo>
                  <a:lnTo>
                    <a:pt x="258" y="66"/>
                  </a:lnTo>
                  <a:lnTo>
                    <a:pt x="237" y="75"/>
                  </a:lnTo>
                  <a:lnTo>
                    <a:pt x="207" y="57"/>
                  </a:lnTo>
                  <a:lnTo>
                    <a:pt x="180" y="84"/>
                  </a:lnTo>
                  <a:lnTo>
                    <a:pt x="180" y="99"/>
                  </a:lnTo>
                  <a:lnTo>
                    <a:pt x="231" y="126"/>
                  </a:lnTo>
                  <a:lnTo>
                    <a:pt x="243" y="147"/>
                  </a:lnTo>
                  <a:lnTo>
                    <a:pt x="207" y="159"/>
                  </a:lnTo>
                  <a:lnTo>
                    <a:pt x="150" y="159"/>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1" name="Freeform 155"/>
            <p:cNvSpPr>
              <a:spLocks/>
            </p:cNvSpPr>
            <p:nvPr/>
          </p:nvSpPr>
          <p:spPr bwMode="auto">
            <a:xfrm>
              <a:off x="5424736" y="4257700"/>
              <a:ext cx="476250" cy="542925"/>
            </a:xfrm>
            <a:custGeom>
              <a:avLst/>
              <a:gdLst>
                <a:gd name="T0" fmla="*/ 102 w 339"/>
                <a:gd name="T1" fmla="*/ 121 h 392"/>
                <a:gd name="T2" fmla="*/ 79 w 339"/>
                <a:gd name="T3" fmla="*/ 126 h 392"/>
                <a:gd name="T4" fmla="*/ 67 w 339"/>
                <a:gd name="T5" fmla="*/ 116 h 392"/>
                <a:gd name="T6" fmla="*/ 59 w 339"/>
                <a:gd name="T7" fmla="*/ 124 h 392"/>
                <a:gd name="T8" fmla="*/ 45 w 339"/>
                <a:gd name="T9" fmla="*/ 124 h 392"/>
                <a:gd name="T10" fmla="*/ 40 w 339"/>
                <a:gd name="T11" fmla="*/ 116 h 392"/>
                <a:gd name="T12" fmla="*/ 34 w 339"/>
                <a:gd name="T13" fmla="*/ 104 h 392"/>
                <a:gd name="T14" fmla="*/ 22 w 339"/>
                <a:gd name="T15" fmla="*/ 102 h 392"/>
                <a:gd name="T16" fmla="*/ 9 w 339"/>
                <a:gd name="T17" fmla="*/ 83 h 392"/>
                <a:gd name="T18" fmla="*/ 0 w 339"/>
                <a:gd name="T19" fmla="*/ 72 h 392"/>
                <a:gd name="T20" fmla="*/ 5 w 339"/>
                <a:gd name="T21" fmla="*/ 69 h 392"/>
                <a:gd name="T22" fmla="*/ 9 w 339"/>
                <a:gd name="T23" fmla="*/ 66 h 392"/>
                <a:gd name="T24" fmla="*/ 22 w 339"/>
                <a:gd name="T25" fmla="*/ 50 h 392"/>
                <a:gd name="T26" fmla="*/ 22 w 339"/>
                <a:gd name="T27" fmla="*/ 39 h 392"/>
                <a:gd name="T28" fmla="*/ 27 w 339"/>
                <a:gd name="T29" fmla="*/ 34 h 392"/>
                <a:gd name="T30" fmla="*/ 37 w 339"/>
                <a:gd name="T31" fmla="*/ 32 h 392"/>
                <a:gd name="T32" fmla="*/ 40 w 339"/>
                <a:gd name="T33" fmla="*/ 29 h 392"/>
                <a:gd name="T34" fmla="*/ 37 w 339"/>
                <a:gd name="T35" fmla="*/ 22 h 392"/>
                <a:gd name="T36" fmla="*/ 41 w 339"/>
                <a:gd name="T37" fmla="*/ 17 h 392"/>
                <a:gd name="T38" fmla="*/ 41 w 339"/>
                <a:gd name="T39" fmla="*/ 4 h 392"/>
                <a:gd name="T40" fmla="*/ 49 w 339"/>
                <a:gd name="T41" fmla="*/ 4 h 392"/>
                <a:gd name="T42" fmla="*/ 63 w 339"/>
                <a:gd name="T43" fmla="*/ 8 h 392"/>
                <a:gd name="T44" fmla="*/ 78 w 339"/>
                <a:gd name="T45" fmla="*/ 10 h 392"/>
                <a:gd name="T46" fmla="*/ 89 w 339"/>
                <a:gd name="T47" fmla="*/ 0 h 392"/>
                <a:gd name="T48" fmla="*/ 102 w 339"/>
                <a:gd name="T49" fmla="*/ 9 h 392"/>
                <a:gd name="T50" fmla="*/ 95 w 339"/>
                <a:gd name="T51" fmla="*/ 12 h 392"/>
                <a:gd name="T52" fmla="*/ 90 w 339"/>
                <a:gd name="T53" fmla="*/ 21 h 392"/>
                <a:gd name="T54" fmla="*/ 79 w 339"/>
                <a:gd name="T55" fmla="*/ 22 h 392"/>
                <a:gd name="T56" fmla="*/ 76 w 339"/>
                <a:gd name="T57" fmla="*/ 24 h 392"/>
                <a:gd name="T58" fmla="*/ 85 w 339"/>
                <a:gd name="T59" fmla="*/ 29 h 392"/>
                <a:gd name="T60" fmla="*/ 103 w 339"/>
                <a:gd name="T61" fmla="*/ 22 h 392"/>
                <a:gd name="T62" fmla="*/ 134 w 339"/>
                <a:gd name="T63" fmla="*/ 33 h 392"/>
                <a:gd name="T64" fmla="*/ 139 w 339"/>
                <a:gd name="T65" fmla="*/ 53 h 392"/>
                <a:gd name="T66" fmla="*/ 125 w 339"/>
                <a:gd name="T67" fmla="*/ 53 h 392"/>
                <a:gd name="T68" fmla="*/ 125 w 339"/>
                <a:gd name="T69" fmla="*/ 59 h 392"/>
                <a:gd name="T70" fmla="*/ 132 w 339"/>
                <a:gd name="T71" fmla="*/ 69 h 392"/>
                <a:gd name="T72" fmla="*/ 125 w 339"/>
                <a:gd name="T73" fmla="*/ 72 h 392"/>
                <a:gd name="T74" fmla="*/ 133 w 339"/>
                <a:gd name="T75" fmla="*/ 81 h 392"/>
                <a:gd name="T76" fmla="*/ 123 w 339"/>
                <a:gd name="T77" fmla="*/ 91 h 392"/>
                <a:gd name="T78" fmla="*/ 118 w 339"/>
                <a:gd name="T79" fmla="*/ 86 h 392"/>
                <a:gd name="T80" fmla="*/ 102 w 339"/>
                <a:gd name="T81" fmla="*/ 116 h 392"/>
                <a:gd name="T82" fmla="*/ 102 w 339"/>
                <a:gd name="T83" fmla="*/ 121 h 3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39" h="392">
                  <a:moveTo>
                    <a:pt x="246" y="374"/>
                  </a:moveTo>
                  <a:lnTo>
                    <a:pt x="195" y="392"/>
                  </a:lnTo>
                  <a:lnTo>
                    <a:pt x="165" y="362"/>
                  </a:lnTo>
                  <a:lnTo>
                    <a:pt x="144" y="386"/>
                  </a:lnTo>
                  <a:lnTo>
                    <a:pt x="111" y="386"/>
                  </a:lnTo>
                  <a:lnTo>
                    <a:pt x="99" y="359"/>
                  </a:lnTo>
                  <a:lnTo>
                    <a:pt x="84" y="320"/>
                  </a:lnTo>
                  <a:lnTo>
                    <a:pt x="54" y="315"/>
                  </a:lnTo>
                  <a:lnTo>
                    <a:pt x="21" y="255"/>
                  </a:lnTo>
                  <a:lnTo>
                    <a:pt x="0" y="225"/>
                  </a:lnTo>
                  <a:lnTo>
                    <a:pt x="15" y="213"/>
                  </a:lnTo>
                  <a:lnTo>
                    <a:pt x="21" y="207"/>
                  </a:lnTo>
                  <a:lnTo>
                    <a:pt x="54" y="159"/>
                  </a:lnTo>
                  <a:lnTo>
                    <a:pt x="54" y="120"/>
                  </a:lnTo>
                  <a:lnTo>
                    <a:pt x="66" y="105"/>
                  </a:lnTo>
                  <a:lnTo>
                    <a:pt x="90" y="99"/>
                  </a:lnTo>
                  <a:lnTo>
                    <a:pt x="99" y="87"/>
                  </a:lnTo>
                  <a:lnTo>
                    <a:pt x="90" y="69"/>
                  </a:lnTo>
                  <a:lnTo>
                    <a:pt x="102" y="51"/>
                  </a:lnTo>
                  <a:lnTo>
                    <a:pt x="102" y="15"/>
                  </a:lnTo>
                  <a:lnTo>
                    <a:pt x="123" y="6"/>
                  </a:lnTo>
                  <a:lnTo>
                    <a:pt x="153" y="24"/>
                  </a:lnTo>
                  <a:lnTo>
                    <a:pt x="192" y="30"/>
                  </a:lnTo>
                  <a:lnTo>
                    <a:pt x="216" y="0"/>
                  </a:lnTo>
                  <a:lnTo>
                    <a:pt x="249" y="27"/>
                  </a:lnTo>
                  <a:lnTo>
                    <a:pt x="234" y="36"/>
                  </a:lnTo>
                  <a:lnTo>
                    <a:pt x="219" y="63"/>
                  </a:lnTo>
                  <a:lnTo>
                    <a:pt x="195" y="69"/>
                  </a:lnTo>
                  <a:lnTo>
                    <a:pt x="186" y="75"/>
                  </a:lnTo>
                  <a:lnTo>
                    <a:pt x="210" y="90"/>
                  </a:lnTo>
                  <a:lnTo>
                    <a:pt x="255" y="69"/>
                  </a:lnTo>
                  <a:lnTo>
                    <a:pt x="330" y="102"/>
                  </a:lnTo>
                  <a:lnTo>
                    <a:pt x="339" y="165"/>
                  </a:lnTo>
                  <a:lnTo>
                    <a:pt x="306" y="165"/>
                  </a:lnTo>
                  <a:lnTo>
                    <a:pt x="306" y="183"/>
                  </a:lnTo>
                  <a:lnTo>
                    <a:pt x="321" y="210"/>
                  </a:lnTo>
                  <a:lnTo>
                    <a:pt x="306" y="225"/>
                  </a:lnTo>
                  <a:lnTo>
                    <a:pt x="324" y="252"/>
                  </a:lnTo>
                  <a:lnTo>
                    <a:pt x="300" y="282"/>
                  </a:lnTo>
                  <a:lnTo>
                    <a:pt x="288" y="267"/>
                  </a:lnTo>
                  <a:lnTo>
                    <a:pt x="252" y="359"/>
                  </a:lnTo>
                  <a:lnTo>
                    <a:pt x="246" y="374"/>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2" name="Freeform 156"/>
            <p:cNvSpPr>
              <a:spLocks/>
            </p:cNvSpPr>
            <p:nvPr/>
          </p:nvSpPr>
          <p:spPr bwMode="auto">
            <a:xfrm>
              <a:off x="5424736" y="4257700"/>
              <a:ext cx="476250" cy="542925"/>
            </a:xfrm>
            <a:custGeom>
              <a:avLst/>
              <a:gdLst>
                <a:gd name="T0" fmla="*/ 102 w 339"/>
                <a:gd name="T1" fmla="*/ 121 h 392"/>
                <a:gd name="T2" fmla="*/ 79 w 339"/>
                <a:gd name="T3" fmla="*/ 126 h 392"/>
                <a:gd name="T4" fmla="*/ 67 w 339"/>
                <a:gd name="T5" fmla="*/ 116 h 392"/>
                <a:gd name="T6" fmla="*/ 59 w 339"/>
                <a:gd name="T7" fmla="*/ 124 h 392"/>
                <a:gd name="T8" fmla="*/ 45 w 339"/>
                <a:gd name="T9" fmla="*/ 124 h 392"/>
                <a:gd name="T10" fmla="*/ 40 w 339"/>
                <a:gd name="T11" fmla="*/ 116 h 392"/>
                <a:gd name="T12" fmla="*/ 34 w 339"/>
                <a:gd name="T13" fmla="*/ 104 h 392"/>
                <a:gd name="T14" fmla="*/ 22 w 339"/>
                <a:gd name="T15" fmla="*/ 102 h 392"/>
                <a:gd name="T16" fmla="*/ 9 w 339"/>
                <a:gd name="T17" fmla="*/ 83 h 392"/>
                <a:gd name="T18" fmla="*/ 0 w 339"/>
                <a:gd name="T19" fmla="*/ 72 h 392"/>
                <a:gd name="T20" fmla="*/ 5 w 339"/>
                <a:gd name="T21" fmla="*/ 69 h 392"/>
                <a:gd name="T22" fmla="*/ 9 w 339"/>
                <a:gd name="T23" fmla="*/ 66 h 392"/>
                <a:gd name="T24" fmla="*/ 22 w 339"/>
                <a:gd name="T25" fmla="*/ 50 h 392"/>
                <a:gd name="T26" fmla="*/ 22 w 339"/>
                <a:gd name="T27" fmla="*/ 39 h 392"/>
                <a:gd name="T28" fmla="*/ 27 w 339"/>
                <a:gd name="T29" fmla="*/ 34 h 392"/>
                <a:gd name="T30" fmla="*/ 37 w 339"/>
                <a:gd name="T31" fmla="*/ 32 h 392"/>
                <a:gd name="T32" fmla="*/ 40 w 339"/>
                <a:gd name="T33" fmla="*/ 29 h 392"/>
                <a:gd name="T34" fmla="*/ 37 w 339"/>
                <a:gd name="T35" fmla="*/ 22 h 392"/>
                <a:gd name="T36" fmla="*/ 41 w 339"/>
                <a:gd name="T37" fmla="*/ 17 h 392"/>
                <a:gd name="T38" fmla="*/ 41 w 339"/>
                <a:gd name="T39" fmla="*/ 4 h 392"/>
                <a:gd name="T40" fmla="*/ 49 w 339"/>
                <a:gd name="T41" fmla="*/ 4 h 392"/>
                <a:gd name="T42" fmla="*/ 63 w 339"/>
                <a:gd name="T43" fmla="*/ 8 h 392"/>
                <a:gd name="T44" fmla="*/ 78 w 339"/>
                <a:gd name="T45" fmla="*/ 10 h 392"/>
                <a:gd name="T46" fmla="*/ 89 w 339"/>
                <a:gd name="T47" fmla="*/ 0 h 392"/>
                <a:gd name="T48" fmla="*/ 102 w 339"/>
                <a:gd name="T49" fmla="*/ 9 h 392"/>
                <a:gd name="T50" fmla="*/ 95 w 339"/>
                <a:gd name="T51" fmla="*/ 12 h 392"/>
                <a:gd name="T52" fmla="*/ 90 w 339"/>
                <a:gd name="T53" fmla="*/ 21 h 392"/>
                <a:gd name="T54" fmla="*/ 79 w 339"/>
                <a:gd name="T55" fmla="*/ 22 h 392"/>
                <a:gd name="T56" fmla="*/ 76 w 339"/>
                <a:gd name="T57" fmla="*/ 24 h 392"/>
                <a:gd name="T58" fmla="*/ 85 w 339"/>
                <a:gd name="T59" fmla="*/ 29 h 392"/>
                <a:gd name="T60" fmla="*/ 103 w 339"/>
                <a:gd name="T61" fmla="*/ 22 h 392"/>
                <a:gd name="T62" fmla="*/ 134 w 339"/>
                <a:gd name="T63" fmla="*/ 33 h 392"/>
                <a:gd name="T64" fmla="*/ 139 w 339"/>
                <a:gd name="T65" fmla="*/ 53 h 392"/>
                <a:gd name="T66" fmla="*/ 125 w 339"/>
                <a:gd name="T67" fmla="*/ 53 h 392"/>
                <a:gd name="T68" fmla="*/ 125 w 339"/>
                <a:gd name="T69" fmla="*/ 59 h 392"/>
                <a:gd name="T70" fmla="*/ 132 w 339"/>
                <a:gd name="T71" fmla="*/ 69 h 392"/>
                <a:gd name="T72" fmla="*/ 125 w 339"/>
                <a:gd name="T73" fmla="*/ 72 h 392"/>
                <a:gd name="T74" fmla="*/ 133 w 339"/>
                <a:gd name="T75" fmla="*/ 81 h 392"/>
                <a:gd name="T76" fmla="*/ 123 w 339"/>
                <a:gd name="T77" fmla="*/ 91 h 392"/>
                <a:gd name="T78" fmla="*/ 118 w 339"/>
                <a:gd name="T79" fmla="*/ 86 h 392"/>
                <a:gd name="T80" fmla="*/ 102 w 339"/>
                <a:gd name="T81" fmla="*/ 116 h 392"/>
                <a:gd name="T82" fmla="*/ 102 w 339"/>
                <a:gd name="T83" fmla="*/ 121 h 3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39" h="392">
                  <a:moveTo>
                    <a:pt x="246" y="374"/>
                  </a:moveTo>
                  <a:lnTo>
                    <a:pt x="195" y="392"/>
                  </a:lnTo>
                  <a:lnTo>
                    <a:pt x="165" y="362"/>
                  </a:lnTo>
                  <a:lnTo>
                    <a:pt x="144" y="386"/>
                  </a:lnTo>
                  <a:lnTo>
                    <a:pt x="111" y="386"/>
                  </a:lnTo>
                  <a:lnTo>
                    <a:pt x="99" y="359"/>
                  </a:lnTo>
                  <a:lnTo>
                    <a:pt x="84" y="320"/>
                  </a:lnTo>
                  <a:lnTo>
                    <a:pt x="54" y="315"/>
                  </a:lnTo>
                  <a:lnTo>
                    <a:pt x="21" y="255"/>
                  </a:lnTo>
                  <a:lnTo>
                    <a:pt x="0" y="225"/>
                  </a:lnTo>
                  <a:lnTo>
                    <a:pt x="15" y="213"/>
                  </a:lnTo>
                  <a:lnTo>
                    <a:pt x="21" y="207"/>
                  </a:lnTo>
                  <a:lnTo>
                    <a:pt x="54" y="159"/>
                  </a:lnTo>
                  <a:lnTo>
                    <a:pt x="54" y="120"/>
                  </a:lnTo>
                  <a:lnTo>
                    <a:pt x="66" y="105"/>
                  </a:lnTo>
                  <a:lnTo>
                    <a:pt x="90" y="99"/>
                  </a:lnTo>
                  <a:lnTo>
                    <a:pt x="99" y="87"/>
                  </a:lnTo>
                  <a:lnTo>
                    <a:pt x="90" y="69"/>
                  </a:lnTo>
                  <a:lnTo>
                    <a:pt x="102" y="51"/>
                  </a:lnTo>
                  <a:lnTo>
                    <a:pt x="102" y="15"/>
                  </a:lnTo>
                  <a:lnTo>
                    <a:pt x="123" y="6"/>
                  </a:lnTo>
                  <a:lnTo>
                    <a:pt x="153" y="24"/>
                  </a:lnTo>
                  <a:lnTo>
                    <a:pt x="192" y="30"/>
                  </a:lnTo>
                  <a:lnTo>
                    <a:pt x="216" y="0"/>
                  </a:lnTo>
                  <a:lnTo>
                    <a:pt x="249" y="27"/>
                  </a:lnTo>
                  <a:lnTo>
                    <a:pt x="234" y="36"/>
                  </a:lnTo>
                  <a:lnTo>
                    <a:pt x="219" y="63"/>
                  </a:lnTo>
                  <a:lnTo>
                    <a:pt x="195" y="69"/>
                  </a:lnTo>
                  <a:lnTo>
                    <a:pt x="186" y="75"/>
                  </a:lnTo>
                  <a:lnTo>
                    <a:pt x="210" y="90"/>
                  </a:lnTo>
                  <a:lnTo>
                    <a:pt x="255" y="69"/>
                  </a:lnTo>
                  <a:lnTo>
                    <a:pt x="330" y="102"/>
                  </a:lnTo>
                  <a:lnTo>
                    <a:pt x="339" y="165"/>
                  </a:lnTo>
                  <a:lnTo>
                    <a:pt x="306" y="165"/>
                  </a:lnTo>
                  <a:lnTo>
                    <a:pt x="306" y="183"/>
                  </a:lnTo>
                  <a:lnTo>
                    <a:pt x="321" y="210"/>
                  </a:lnTo>
                  <a:lnTo>
                    <a:pt x="306" y="225"/>
                  </a:lnTo>
                  <a:lnTo>
                    <a:pt x="324" y="252"/>
                  </a:lnTo>
                  <a:lnTo>
                    <a:pt x="300" y="282"/>
                  </a:lnTo>
                  <a:lnTo>
                    <a:pt x="288" y="267"/>
                  </a:lnTo>
                  <a:lnTo>
                    <a:pt x="252" y="359"/>
                  </a:lnTo>
                  <a:lnTo>
                    <a:pt x="246" y="374"/>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3" name="Freeform 157"/>
            <p:cNvSpPr>
              <a:spLocks/>
            </p:cNvSpPr>
            <p:nvPr/>
          </p:nvSpPr>
          <p:spPr bwMode="auto">
            <a:xfrm>
              <a:off x="4980236" y="3852887"/>
              <a:ext cx="587375" cy="700088"/>
            </a:xfrm>
            <a:custGeom>
              <a:avLst/>
              <a:gdLst>
                <a:gd name="T0" fmla="*/ 41 w 419"/>
                <a:gd name="T1" fmla="*/ 0 h 504"/>
                <a:gd name="T2" fmla="*/ 70 w 419"/>
                <a:gd name="T3" fmla="*/ 15 h 504"/>
                <a:gd name="T4" fmla="*/ 93 w 419"/>
                <a:gd name="T5" fmla="*/ 22 h 504"/>
                <a:gd name="T6" fmla="*/ 105 w 419"/>
                <a:gd name="T7" fmla="*/ 24 h 504"/>
                <a:gd name="T8" fmla="*/ 112 w 419"/>
                <a:gd name="T9" fmla="*/ 45 h 504"/>
                <a:gd name="T10" fmla="*/ 129 w 419"/>
                <a:gd name="T11" fmla="*/ 51 h 504"/>
                <a:gd name="T12" fmla="*/ 143 w 419"/>
                <a:gd name="T13" fmla="*/ 46 h 504"/>
                <a:gd name="T14" fmla="*/ 147 w 419"/>
                <a:gd name="T15" fmla="*/ 57 h 504"/>
                <a:gd name="T16" fmla="*/ 131 w 419"/>
                <a:gd name="T17" fmla="*/ 64 h 504"/>
                <a:gd name="T18" fmla="*/ 124 w 419"/>
                <a:gd name="T19" fmla="*/ 76 h 504"/>
                <a:gd name="T20" fmla="*/ 143 w 419"/>
                <a:gd name="T21" fmla="*/ 89 h 504"/>
                <a:gd name="T22" fmla="*/ 171 w 419"/>
                <a:gd name="T23" fmla="*/ 100 h 504"/>
                <a:gd name="T24" fmla="*/ 166 w 419"/>
                <a:gd name="T25" fmla="*/ 119 h 504"/>
                <a:gd name="T26" fmla="*/ 166 w 419"/>
                <a:gd name="T27" fmla="*/ 128 h 504"/>
                <a:gd name="T28" fmla="*/ 151 w 419"/>
                <a:gd name="T29" fmla="*/ 134 h 504"/>
                <a:gd name="T30" fmla="*/ 138 w 419"/>
                <a:gd name="T31" fmla="*/ 164 h 504"/>
                <a:gd name="T32" fmla="*/ 127 w 419"/>
                <a:gd name="T33" fmla="*/ 160 h 504"/>
                <a:gd name="T34" fmla="*/ 101 w 419"/>
                <a:gd name="T35" fmla="*/ 152 h 504"/>
                <a:gd name="T36" fmla="*/ 78 w 419"/>
                <a:gd name="T37" fmla="*/ 163 h 504"/>
                <a:gd name="T38" fmla="*/ 84 w 419"/>
                <a:gd name="T39" fmla="*/ 149 h 504"/>
                <a:gd name="T40" fmla="*/ 59 w 419"/>
                <a:gd name="T41" fmla="*/ 157 h 504"/>
                <a:gd name="T42" fmla="*/ 48 w 419"/>
                <a:gd name="T43" fmla="*/ 121 h 504"/>
                <a:gd name="T44" fmla="*/ 37 w 419"/>
                <a:gd name="T45" fmla="*/ 117 h 504"/>
                <a:gd name="T46" fmla="*/ 28 w 419"/>
                <a:gd name="T47" fmla="*/ 98 h 504"/>
                <a:gd name="T48" fmla="*/ 39 w 419"/>
                <a:gd name="T49" fmla="*/ 85 h 504"/>
                <a:gd name="T50" fmla="*/ 34 w 419"/>
                <a:gd name="T51" fmla="*/ 71 h 504"/>
                <a:gd name="T52" fmla="*/ 12 w 419"/>
                <a:gd name="T53" fmla="*/ 68 h 504"/>
                <a:gd name="T54" fmla="*/ 12 w 419"/>
                <a:gd name="T55" fmla="*/ 51 h 504"/>
                <a:gd name="T56" fmla="*/ 20 w 419"/>
                <a:gd name="T57" fmla="*/ 37 h 504"/>
                <a:gd name="T58" fmla="*/ 24 w 419"/>
                <a:gd name="T59" fmla="*/ 21 h 504"/>
                <a:gd name="T60" fmla="*/ 37 w 419"/>
                <a:gd name="T61" fmla="*/ 30 h 504"/>
                <a:gd name="T62" fmla="*/ 53 w 419"/>
                <a:gd name="T63" fmla="*/ 21 h 504"/>
                <a:gd name="T64" fmla="*/ 37 w 419"/>
                <a:gd name="T65" fmla="*/ 9 h 5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9" h="504">
                  <a:moveTo>
                    <a:pt x="83" y="6"/>
                  </a:moveTo>
                  <a:lnTo>
                    <a:pt x="101" y="0"/>
                  </a:lnTo>
                  <a:lnTo>
                    <a:pt x="149" y="21"/>
                  </a:lnTo>
                  <a:lnTo>
                    <a:pt x="173" y="45"/>
                  </a:lnTo>
                  <a:lnTo>
                    <a:pt x="212" y="57"/>
                  </a:lnTo>
                  <a:lnTo>
                    <a:pt x="230" y="69"/>
                  </a:lnTo>
                  <a:lnTo>
                    <a:pt x="251" y="66"/>
                  </a:lnTo>
                  <a:lnTo>
                    <a:pt x="257" y="75"/>
                  </a:lnTo>
                  <a:lnTo>
                    <a:pt x="248" y="123"/>
                  </a:lnTo>
                  <a:lnTo>
                    <a:pt x="272" y="135"/>
                  </a:lnTo>
                  <a:lnTo>
                    <a:pt x="281" y="153"/>
                  </a:lnTo>
                  <a:lnTo>
                    <a:pt x="317" y="159"/>
                  </a:lnTo>
                  <a:lnTo>
                    <a:pt x="329" y="138"/>
                  </a:lnTo>
                  <a:lnTo>
                    <a:pt x="350" y="141"/>
                  </a:lnTo>
                  <a:lnTo>
                    <a:pt x="362" y="159"/>
                  </a:lnTo>
                  <a:lnTo>
                    <a:pt x="362" y="174"/>
                  </a:lnTo>
                  <a:lnTo>
                    <a:pt x="320" y="180"/>
                  </a:lnTo>
                  <a:lnTo>
                    <a:pt x="320" y="198"/>
                  </a:lnTo>
                  <a:lnTo>
                    <a:pt x="320" y="210"/>
                  </a:lnTo>
                  <a:lnTo>
                    <a:pt x="305" y="228"/>
                  </a:lnTo>
                  <a:lnTo>
                    <a:pt x="317" y="249"/>
                  </a:lnTo>
                  <a:lnTo>
                    <a:pt x="350" y="273"/>
                  </a:lnTo>
                  <a:lnTo>
                    <a:pt x="353" y="300"/>
                  </a:lnTo>
                  <a:lnTo>
                    <a:pt x="419" y="306"/>
                  </a:lnTo>
                  <a:lnTo>
                    <a:pt x="419" y="342"/>
                  </a:lnTo>
                  <a:lnTo>
                    <a:pt x="407" y="360"/>
                  </a:lnTo>
                  <a:lnTo>
                    <a:pt x="416" y="378"/>
                  </a:lnTo>
                  <a:lnTo>
                    <a:pt x="407" y="390"/>
                  </a:lnTo>
                  <a:lnTo>
                    <a:pt x="383" y="396"/>
                  </a:lnTo>
                  <a:lnTo>
                    <a:pt x="371" y="411"/>
                  </a:lnTo>
                  <a:lnTo>
                    <a:pt x="371" y="450"/>
                  </a:lnTo>
                  <a:lnTo>
                    <a:pt x="338" y="498"/>
                  </a:lnTo>
                  <a:lnTo>
                    <a:pt x="332" y="504"/>
                  </a:lnTo>
                  <a:lnTo>
                    <a:pt x="314" y="486"/>
                  </a:lnTo>
                  <a:lnTo>
                    <a:pt x="266" y="486"/>
                  </a:lnTo>
                  <a:lnTo>
                    <a:pt x="245" y="462"/>
                  </a:lnTo>
                  <a:lnTo>
                    <a:pt x="206" y="501"/>
                  </a:lnTo>
                  <a:lnTo>
                    <a:pt x="191" y="495"/>
                  </a:lnTo>
                  <a:lnTo>
                    <a:pt x="209" y="465"/>
                  </a:lnTo>
                  <a:lnTo>
                    <a:pt x="206" y="456"/>
                  </a:lnTo>
                  <a:lnTo>
                    <a:pt x="191" y="453"/>
                  </a:lnTo>
                  <a:lnTo>
                    <a:pt x="146" y="477"/>
                  </a:lnTo>
                  <a:lnTo>
                    <a:pt x="104" y="396"/>
                  </a:lnTo>
                  <a:lnTo>
                    <a:pt x="119" y="369"/>
                  </a:lnTo>
                  <a:lnTo>
                    <a:pt x="113" y="360"/>
                  </a:lnTo>
                  <a:lnTo>
                    <a:pt x="89" y="354"/>
                  </a:lnTo>
                  <a:lnTo>
                    <a:pt x="54" y="330"/>
                  </a:lnTo>
                  <a:lnTo>
                    <a:pt x="68" y="300"/>
                  </a:lnTo>
                  <a:lnTo>
                    <a:pt x="89" y="288"/>
                  </a:lnTo>
                  <a:lnTo>
                    <a:pt x="95" y="261"/>
                  </a:lnTo>
                  <a:lnTo>
                    <a:pt x="86" y="216"/>
                  </a:lnTo>
                  <a:lnTo>
                    <a:pt x="83" y="213"/>
                  </a:lnTo>
                  <a:lnTo>
                    <a:pt x="60" y="237"/>
                  </a:lnTo>
                  <a:lnTo>
                    <a:pt x="27" y="207"/>
                  </a:lnTo>
                  <a:lnTo>
                    <a:pt x="0" y="177"/>
                  </a:lnTo>
                  <a:lnTo>
                    <a:pt x="27" y="159"/>
                  </a:lnTo>
                  <a:lnTo>
                    <a:pt x="33" y="126"/>
                  </a:lnTo>
                  <a:lnTo>
                    <a:pt x="48" y="114"/>
                  </a:lnTo>
                  <a:lnTo>
                    <a:pt x="45" y="72"/>
                  </a:lnTo>
                  <a:lnTo>
                    <a:pt x="57" y="63"/>
                  </a:lnTo>
                  <a:lnTo>
                    <a:pt x="77" y="75"/>
                  </a:lnTo>
                  <a:lnTo>
                    <a:pt x="89" y="93"/>
                  </a:lnTo>
                  <a:lnTo>
                    <a:pt x="119" y="75"/>
                  </a:lnTo>
                  <a:lnTo>
                    <a:pt x="128" y="66"/>
                  </a:lnTo>
                  <a:lnTo>
                    <a:pt x="122" y="45"/>
                  </a:lnTo>
                  <a:lnTo>
                    <a:pt x="89" y="27"/>
                  </a:lnTo>
                  <a:lnTo>
                    <a:pt x="83" y="6"/>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4" name="Freeform 158"/>
            <p:cNvSpPr>
              <a:spLocks/>
            </p:cNvSpPr>
            <p:nvPr/>
          </p:nvSpPr>
          <p:spPr bwMode="auto">
            <a:xfrm>
              <a:off x="4980236" y="3852887"/>
              <a:ext cx="587375" cy="700088"/>
            </a:xfrm>
            <a:custGeom>
              <a:avLst/>
              <a:gdLst>
                <a:gd name="T0" fmla="*/ 41 w 419"/>
                <a:gd name="T1" fmla="*/ 0 h 504"/>
                <a:gd name="T2" fmla="*/ 70 w 419"/>
                <a:gd name="T3" fmla="*/ 15 h 504"/>
                <a:gd name="T4" fmla="*/ 93 w 419"/>
                <a:gd name="T5" fmla="*/ 22 h 504"/>
                <a:gd name="T6" fmla="*/ 105 w 419"/>
                <a:gd name="T7" fmla="*/ 24 h 504"/>
                <a:gd name="T8" fmla="*/ 112 w 419"/>
                <a:gd name="T9" fmla="*/ 45 h 504"/>
                <a:gd name="T10" fmla="*/ 129 w 419"/>
                <a:gd name="T11" fmla="*/ 51 h 504"/>
                <a:gd name="T12" fmla="*/ 143 w 419"/>
                <a:gd name="T13" fmla="*/ 46 h 504"/>
                <a:gd name="T14" fmla="*/ 147 w 419"/>
                <a:gd name="T15" fmla="*/ 57 h 504"/>
                <a:gd name="T16" fmla="*/ 131 w 419"/>
                <a:gd name="T17" fmla="*/ 64 h 504"/>
                <a:gd name="T18" fmla="*/ 124 w 419"/>
                <a:gd name="T19" fmla="*/ 76 h 504"/>
                <a:gd name="T20" fmla="*/ 143 w 419"/>
                <a:gd name="T21" fmla="*/ 89 h 504"/>
                <a:gd name="T22" fmla="*/ 171 w 419"/>
                <a:gd name="T23" fmla="*/ 100 h 504"/>
                <a:gd name="T24" fmla="*/ 166 w 419"/>
                <a:gd name="T25" fmla="*/ 119 h 504"/>
                <a:gd name="T26" fmla="*/ 166 w 419"/>
                <a:gd name="T27" fmla="*/ 128 h 504"/>
                <a:gd name="T28" fmla="*/ 151 w 419"/>
                <a:gd name="T29" fmla="*/ 134 h 504"/>
                <a:gd name="T30" fmla="*/ 138 w 419"/>
                <a:gd name="T31" fmla="*/ 164 h 504"/>
                <a:gd name="T32" fmla="*/ 127 w 419"/>
                <a:gd name="T33" fmla="*/ 160 h 504"/>
                <a:gd name="T34" fmla="*/ 101 w 419"/>
                <a:gd name="T35" fmla="*/ 152 h 504"/>
                <a:gd name="T36" fmla="*/ 78 w 419"/>
                <a:gd name="T37" fmla="*/ 163 h 504"/>
                <a:gd name="T38" fmla="*/ 84 w 419"/>
                <a:gd name="T39" fmla="*/ 149 h 504"/>
                <a:gd name="T40" fmla="*/ 59 w 419"/>
                <a:gd name="T41" fmla="*/ 157 h 504"/>
                <a:gd name="T42" fmla="*/ 48 w 419"/>
                <a:gd name="T43" fmla="*/ 121 h 504"/>
                <a:gd name="T44" fmla="*/ 37 w 419"/>
                <a:gd name="T45" fmla="*/ 117 h 504"/>
                <a:gd name="T46" fmla="*/ 28 w 419"/>
                <a:gd name="T47" fmla="*/ 98 h 504"/>
                <a:gd name="T48" fmla="*/ 39 w 419"/>
                <a:gd name="T49" fmla="*/ 85 h 504"/>
                <a:gd name="T50" fmla="*/ 34 w 419"/>
                <a:gd name="T51" fmla="*/ 71 h 504"/>
                <a:gd name="T52" fmla="*/ 12 w 419"/>
                <a:gd name="T53" fmla="*/ 68 h 504"/>
                <a:gd name="T54" fmla="*/ 12 w 419"/>
                <a:gd name="T55" fmla="*/ 51 h 504"/>
                <a:gd name="T56" fmla="*/ 20 w 419"/>
                <a:gd name="T57" fmla="*/ 37 h 504"/>
                <a:gd name="T58" fmla="*/ 24 w 419"/>
                <a:gd name="T59" fmla="*/ 21 h 504"/>
                <a:gd name="T60" fmla="*/ 37 w 419"/>
                <a:gd name="T61" fmla="*/ 30 h 504"/>
                <a:gd name="T62" fmla="*/ 53 w 419"/>
                <a:gd name="T63" fmla="*/ 21 h 504"/>
                <a:gd name="T64" fmla="*/ 37 w 419"/>
                <a:gd name="T65" fmla="*/ 9 h 5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19" h="504">
                  <a:moveTo>
                    <a:pt x="83" y="6"/>
                  </a:moveTo>
                  <a:lnTo>
                    <a:pt x="101" y="0"/>
                  </a:lnTo>
                  <a:lnTo>
                    <a:pt x="149" y="21"/>
                  </a:lnTo>
                  <a:lnTo>
                    <a:pt x="173" y="45"/>
                  </a:lnTo>
                  <a:lnTo>
                    <a:pt x="212" y="57"/>
                  </a:lnTo>
                  <a:lnTo>
                    <a:pt x="230" y="69"/>
                  </a:lnTo>
                  <a:lnTo>
                    <a:pt x="251" y="66"/>
                  </a:lnTo>
                  <a:lnTo>
                    <a:pt x="257" y="75"/>
                  </a:lnTo>
                  <a:lnTo>
                    <a:pt x="248" y="123"/>
                  </a:lnTo>
                  <a:lnTo>
                    <a:pt x="272" y="135"/>
                  </a:lnTo>
                  <a:lnTo>
                    <a:pt x="281" y="153"/>
                  </a:lnTo>
                  <a:lnTo>
                    <a:pt x="317" y="159"/>
                  </a:lnTo>
                  <a:lnTo>
                    <a:pt x="329" y="138"/>
                  </a:lnTo>
                  <a:lnTo>
                    <a:pt x="350" y="141"/>
                  </a:lnTo>
                  <a:lnTo>
                    <a:pt x="362" y="159"/>
                  </a:lnTo>
                  <a:lnTo>
                    <a:pt x="362" y="174"/>
                  </a:lnTo>
                  <a:lnTo>
                    <a:pt x="320" y="180"/>
                  </a:lnTo>
                  <a:lnTo>
                    <a:pt x="320" y="198"/>
                  </a:lnTo>
                  <a:lnTo>
                    <a:pt x="320" y="210"/>
                  </a:lnTo>
                  <a:lnTo>
                    <a:pt x="305" y="228"/>
                  </a:lnTo>
                  <a:lnTo>
                    <a:pt x="317" y="249"/>
                  </a:lnTo>
                  <a:lnTo>
                    <a:pt x="350" y="273"/>
                  </a:lnTo>
                  <a:lnTo>
                    <a:pt x="353" y="300"/>
                  </a:lnTo>
                  <a:lnTo>
                    <a:pt x="419" y="306"/>
                  </a:lnTo>
                  <a:lnTo>
                    <a:pt x="419" y="342"/>
                  </a:lnTo>
                  <a:lnTo>
                    <a:pt x="407" y="360"/>
                  </a:lnTo>
                  <a:lnTo>
                    <a:pt x="416" y="378"/>
                  </a:lnTo>
                  <a:lnTo>
                    <a:pt x="407" y="390"/>
                  </a:lnTo>
                  <a:lnTo>
                    <a:pt x="383" y="396"/>
                  </a:lnTo>
                  <a:lnTo>
                    <a:pt x="371" y="411"/>
                  </a:lnTo>
                  <a:lnTo>
                    <a:pt x="371" y="450"/>
                  </a:lnTo>
                  <a:lnTo>
                    <a:pt x="338" y="498"/>
                  </a:lnTo>
                  <a:lnTo>
                    <a:pt x="332" y="504"/>
                  </a:lnTo>
                  <a:lnTo>
                    <a:pt x="314" y="486"/>
                  </a:lnTo>
                  <a:lnTo>
                    <a:pt x="266" y="486"/>
                  </a:lnTo>
                  <a:lnTo>
                    <a:pt x="245" y="462"/>
                  </a:lnTo>
                  <a:lnTo>
                    <a:pt x="206" y="501"/>
                  </a:lnTo>
                  <a:lnTo>
                    <a:pt x="191" y="495"/>
                  </a:lnTo>
                  <a:lnTo>
                    <a:pt x="209" y="465"/>
                  </a:lnTo>
                  <a:lnTo>
                    <a:pt x="206" y="456"/>
                  </a:lnTo>
                  <a:lnTo>
                    <a:pt x="191" y="453"/>
                  </a:lnTo>
                  <a:lnTo>
                    <a:pt x="146" y="477"/>
                  </a:lnTo>
                  <a:lnTo>
                    <a:pt x="104" y="396"/>
                  </a:lnTo>
                  <a:lnTo>
                    <a:pt x="119" y="369"/>
                  </a:lnTo>
                  <a:lnTo>
                    <a:pt x="113" y="360"/>
                  </a:lnTo>
                  <a:lnTo>
                    <a:pt x="89" y="354"/>
                  </a:lnTo>
                  <a:lnTo>
                    <a:pt x="54" y="330"/>
                  </a:lnTo>
                  <a:lnTo>
                    <a:pt x="68" y="300"/>
                  </a:lnTo>
                  <a:lnTo>
                    <a:pt x="89" y="288"/>
                  </a:lnTo>
                  <a:lnTo>
                    <a:pt x="95" y="261"/>
                  </a:lnTo>
                  <a:lnTo>
                    <a:pt x="86" y="216"/>
                  </a:lnTo>
                  <a:lnTo>
                    <a:pt x="83" y="213"/>
                  </a:lnTo>
                  <a:lnTo>
                    <a:pt x="60" y="237"/>
                  </a:lnTo>
                  <a:lnTo>
                    <a:pt x="27" y="207"/>
                  </a:lnTo>
                  <a:lnTo>
                    <a:pt x="0" y="177"/>
                  </a:lnTo>
                  <a:lnTo>
                    <a:pt x="27" y="159"/>
                  </a:lnTo>
                  <a:lnTo>
                    <a:pt x="33" y="126"/>
                  </a:lnTo>
                  <a:lnTo>
                    <a:pt x="48" y="114"/>
                  </a:lnTo>
                  <a:lnTo>
                    <a:pt x="45" y="72"/>
                  </a:lnTo>
                  <a:lnTo>
                    <a:pt x="57" y="63"/>
                  </a:lnTo>
                  <a:lnTo>
                    <a:pt x="77" y="75"/>
                  </a:lnTo>
                  <a:lnTo>
                    <a:pt x="89" y="93"/>
                  </a:lnTo>
                  <a:lnTo>
                    <a:pt x="119" y="75"/>
                  </a:lnTo>
                  <a:lnTo>
                    <a:pt x="128" y="66"/>
                  </a:lnTo>
                  <a:lnTo>
                    <a:pt x="122" y="45"/>
                  </a:lnTo>
                  <a:lnTo>
                    <a:pt x="89" y="27"/>
                  </a:lnTo>
                  <a:lnTo>
                    <a:pt x="83" y="6"/>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5" name="Freeform 159"/>
            <p:cNvSpPr>
              <a:spLocks/>
            </p:cNvSpPr>
            <p:nvPr/>
          </p:nvSpPr>
          <p:spPr bwMode="auto">
            <a:xfrm>
              <a:off x="5726361" y="4186262"/>
              <a:ext cx="111125" cy="109538"/>
            </a:xfrm>
            <a:custGeom>
              <a:avLst/>
              <a:gdLst>
                <a:gd name="T0" fmla="*/ 15 w 78"/>
                <a:gd name="T1" fmla="*/ 27 h 78"/>
                <a:gd name="T2" fmla="*/ 0 w 78"/>
                <a:gd name="T3" fmla="*/ 18 h 78"/>
                <a:gd name="T4" fmla="*/ 8 w 78"/>
                <a:gd name="T5" fmla="*/ 12 h 78"/>
                <a:gd name="T6" fmla="*/ 13 w 78"/>
                <a:gd name="T7" fmla="*/ 0 h 78"/>
                <a:gd name="T8" fmla="*/ 28 w 78"/>
                <a:gd name="T9" fmla="*/ 4 h 78"/>
                <a:gd name="T10" fmla="*/ 35 w 78"/>
                <a:gd name="T11" fmla="*/ 12 h 78"/>
                <a:gd name="T12" fmla="*/ 30 w 78"/>
                <a:gd name="T13" fmla="*/ 18 h 78"/>
                <a:gd name="T14" fmla="*/ 15 w 78"/>
                <a:gd name="T15" fmla="*/ 27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8" h="78">
                  <a:moveTo>
                    <a:pt x="33" y="78"/>
                  </a:moveTo>
                  <a:lnTo>
                    <a:pt x="0" y="51"/>
                  </a:lnTo>
                  <a:lnTo>
                    <a:pt x="18" y="33"/>
                  </a:lnTo>
                  <a:lnTo>
                    <a:pt x="27" y="0"/>
                  </a:lnTo>
                  <a:lnTo>
                    <a:pt x="63" y="15"/>
                  </a:lnTo>
                  <a:lnTo>
                    <a:pt x="78" y="36"/>
                  </a:lnTo>
                  <a:lnTo>
                    <a:pt x="66" y="51"/>
                  </a:lnTo>
                  <a:lnTo>
                    <a:pt x="33" y="78"/>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6" name="Freeform 160"/>
            <p:cNvSpPr>
              <a:spLocks/>
            </p:cNvSpPr>
            <p:nvPr/>
          </p:nvSpPr>
          <p:spPr bwMode="auto">
            <a:xfrm>
              <a:off x="5726361" y="4186262"/>
              <a:ext cx="111125" cy="109538"/>
            </a:xfrm>
            <a:custGeom>
              <a:avLst/>
              <a:gdLst>
                <a:gd name="T0" fmla="*/ 15 w 78"/>
                <a:gd name="T1" fmla="*/ 27 h 78"/>
                <a:gd name="T2" fmla="*/ 0 w 78"/>
                <a:gd name="T3" fmla="*/ 18 h 78"/>
                <a:gd name="T4" fmla="*/ 8 w 78"/>
                <a:gd name="T5" fmla="*/ 12 h 78"/>
                <a:gd name="T6" fmla="*/ 13 w 78"/>
                <a:gd name="T7" fmla="*/ 0 h 78"/>
                <a:gd name="T8" fmla="*/ 28 w 78"/>
                <a:gd name="T9" fmla="*/ 4 h 78"/>
                <a:gd name="T10" fmla="*/ 35 w 78"/>
                <a:gd name="T11" fmla="*/ 12 h 78"/>
                <a:gd name="T12" fmla="*/ 30 w 78"/>
                <a:gd name="T13" fmla="*/ 18 h 78"/>
                <a:gd name="T14" fmla="*/ 15 w 78"/>
                <a:gd name="T15" fmla="*/ 27 h 7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8" h="78">
                  <a:moveTo>
                    <a:pt x="33" y="78"/>
                  </a:moveTo>
                  <a:lnTo>
                    <a:pt x="0" y="51"/>
                  </a:lnTo>
                  <a:lnTo>
                    <a:pt x="18" y="33"/>
                  </a:lnTo>
                  <a:lnTo>
                    <a:pt x="27" y="0"/>
                  </a:lnTo>
                  <a:lnTo>
                    <a:pt x="63" y="15"/>
                  </a:lnTo>
                  <a:lnTo>
                    <a:pt x="78" y="36"/>
                  </a:lnTo>
                  <a:lnTo>
                    <a:pt x="66" y="51"/>
                  </a:lnTo>
                  <a:lnTo>
                    <a:pt x="33" y="78"/>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7" name="Freeform 161"/>
            <p:cNvSpPr>
              <a:spLocks/>
            </p:cNvSpPr>
            <p:nvPr/>
          </p:nvSpPr>
          <p:spPr bwMode="auto">
            <a:xfrm>
              <a:off x="5121524" y="3748112"/>
              <a:ext cx="695325" cy="549275"/>
            </a:xfrm>
            <a:custGeom>
              <a:avLst/>
              <a:gdLst>
                <a:gd name="T0" fmla="*/ 189 w 495"/>
                <a:gd name="T1" fmla="*/ 103 h 396"/>
                <a:gd name="T2" fmla="*/ 185 w 495"/>
                <a:gd name="T3" fmla="*/ 114 h 396"/>
                <a:gd name="T4" fmla="*/ 178 w 495"/>
                <a:gd name="T5" fmla="*/ 118 h 396"/>
                <a:gd name="T6" fmla="*/ 168 w 495"/>
                <a:gd name="T7" fmla="*/ 129 h 396"/>
                <a:gd name="T8" fmla="*/ 153 w 495"/>
                <a:gd name="T9" fmla="*/ 127 h 396"/>
                <a:gd name="T10" fmla="*/ 140 w 495"/>
                <a:gd name="T11" fmla="*/ 122 h 396"/>
                <a:gd name="T12" fmla="*/ 131 w 495"/>
                <a:gd name="T13" fmla="*/ 124 h 396"/>
                <a:gd name="T14" fmla="*/ 103 w 495"/>
                <a:gd name="T15" fmla="*/ 122 h 396"/>
                <a:gd name="T16" fmla="*/ 103 w 495"/>
                <a:gd name="T17" fmla="*/ 114 h 396"/>
                <a:gd name="T18" fmla="*/ 89 w 495"/>
                <a:gd name="T19" fmla="*/ 105 h 396"/>
                <a:gd name="T20" fmla="*/ 84 w 495"/>
                <a:gd name="T21" fmla="*/ 99 h 396"/>
                <a:gd name="T22" fmla="*/ 90 w 495"/>
                <a:gd name="T23" fmla="*/ 94 h 396"/>
                <a:gd name="T24" fmla="*/ 90 w 495"/>
                <a:gd name="T25" fmla="*/ 89 h 396"/>
                <a:gd name="T26" fmla="*/ 90 w 495"/>
                <a:gd name="T27" fmla="*/ 84 h 396"/>
                <a:gd name="T28" fmla="*/ 107 w 495"/>
                <a:gd name="T29" fmla="*/ 81 h 396"/>
                <a:gd name="T30" fmla="*/ 107 w 495"/>
                <a:gd name="T31" fmla="*/ 76 h 396"/>
                <a:gd name="T32" fmla="*/ 103 w 495"/>
                <a:gd name="T33" fmla="*/ 72 h 396"/>
                <a:gd name="T34" fmla="*/ 94 w 495"/>
                <a:gd name="T35" fmla="*/ 70 h 396"/>
                <a:gd name="T36" fmla="*/ 89 w 495"/>
                <a:gd name="T37" fmla="*/ 76 h 396"/>
                <a:gd name="T38" fmla="*/ 74 w 495"/>
                <a:gd name="T39" fmla="*/ 75 h 396"/>
                <a:gd name="T40" fmla="*/ 70 w 495"/>
                <a:gd name="T41" fmla="*/ 69 h 396"/>
                <a:gd name="T42" fmla="*/ 60 w 495"/>
                <a:gd name="T43" fmla="*/ 64 h 396"/>
                <a:gd name="T44" fmla="*/ 64 w 495"/>
                <a:gd name="T45" fmla="*/ 49 h 396"/>
                <a:gd name="T46" fmla="*/ 61 w 495"/>
                <a:gd name="T47" fmla="*/ 46 h 396"/>
                <a:gd name="T48" fmla="*/ 54 w 495"/>
                <a:gd name="T49" fmla="*/ 46 h 396"/>
                <a:gd name="T50" fmla="*/ 45 w 495"/>
                <a:gd name="T51" fmla="*/ 43 h 396"/>
                <a:gd name="T52" fmla="*/ 29 w 495"/>
                <a:gd name="T53" fmla="*/ 39 h 396"/>
                <a:gd name="T54" fmla="*/ 20 w 495"/>
                <a:gd name="T55" fmla="*/ 31 h 396"/>
                <a:gd name="T56" fmla="*/ 0 w 495"/>
                <a:gd name="T57" fmla="*/ 24 h 396"/>
                <a:gd name="T58" fmla="*/ 3 w 495"/>
                <a:gd name="T59" fmla="*/ 17 h 396"/>
                <a:gd name="T60" fmla="*/ 10 w 495"/>
                <a:gd name="T61" fmla="*/ 15 h 396"/>
                <a:gd name="T62" fmla="*/ 25 w 495"/>
                <a:gd name="T63" fmla="*/ 24 h 396"/>
                <a:gd name="T64" fmla="*/ 29 w 495"/>
                <a:gd name="T65" fmla="*/ 24 h 396"/>
                <a:gd name="T66" fmla="*/ 44 w 495"/>
                <a:gd name="T67" fmla="*/ 24 h 396"/>
                <a:gd name="T68" fmla="*/ 52 w 495"/>
                <a:gd name="T69" fmla="*/ 19 h 396"/>
                <a:gd name="T70" fmla="*/ 63 w 495"/>
                <a:gd name="T71" fmla="*/ 26 h 396"/>
                <a:gd name="T72" fmla="*/ 68 w 495"/>
                <a:gd name="T73" fmla="*/ 19 h 396"/>
                <a:gd name="T74" fmla="*/ 70 w 495"/>
                <a:gd name="T75" fmla="*/ 15 h 396"/>
                <a:gd name="T76" fmla="*/ 78 w 495"/>
                <a:gd name="T77" fmla="*/ 11 h 396"/>
                <a:gd name="T78" fmla="*/ 81 w 495"/>
                <a:gd name="T79" fmla="*/ 4 h 396"/>
                <a:gd name="T80" fmla="*/ 90 w 495"/>
                <a:gd name="T81" fmla="*/ 0 h 396"/>
                <a:gd name="T82" fmla="*/ 113 w 495"/>
                <a:gd name="T83" fmla="*/ 13 h 396"/>
                <a:gd name="T84" fmla="*/ 131 w 495"/>
                <a:gd name="T85" fmla="*/ 19 h 396"/>
                <a:gd name="T86" fmla="*/ 163 w 495"/>
                <a:gd name="T87" fmla="*/ 60 h 396"/>
                <a:gd name="T88" fmla="*/ 162 w 495"/>
                <a:gd name="T89" fmla="*/ 64 h 396"/>
                <a:gd name="T90" fmla="*/ 183 w 495"/>
                <a:gd name="T91" fmla="*/ 72 h 396"/>
                <a:gd name="T92" fmla="*/ 189 w 495"/>
                <a:gd name="T93" fmla="*/ 80 h 396"/>
                <a:gd name="T94" fmla="*/ 200 w 495"/>
                <a:gd name="T95" fmla="*/ 84 h 396"/>
                <a:gd name="T96" fmla="*/ 203 w 495"/>
                <a:gd name="T97" fmla="*/ 91 h 396"/>
                <a:gd name="T98" fmla="*/ 197 w 495"/>
                <a:gd name="T99" fmla="*/ 94 h 396"/>
                <a:gd name="T100" fmla="*/ 185 w 495"/>
                <a:gd name="T101" fmla="*/ 91 h 396"/>
                <a:gd name="T102" fmla="*/ 170 w 495"/>
                <a:gd name="T103" fmla="*/ 91 h 396"/>
                <a:gd name="T104" fmla="*/ 156 w 495"/>
                <a:gd name="T105" fmla="*/ 87 h 396"/>
                <a:gd name="T106" fmla="*/ 151 w 495"/>
                <a:gd name="T107" fmla="*/ 91 h 396"/>
                <a:gd name="T108" fmla="*/ 164 w 495"/>
                <a:gd name="T109" fmla="*/ 94 h 396"/>
                <a:gd name="T110" fmla="*/ 177 w 495"/>
                <a:gd name="T111" fmla="*/ 98 h 396"/>
                <a:gd name="T112" fmla="*/ 189 w 495"/>
                <a:gd name="T113" fmla="*/ 103 h 3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95" h="396">
                  <a:moveTo>
                    <a:pt x="459" y="315"/>
                  </a:moveTo>
                  <a:lnTo>
                    <a:pt x="450" y="348"/>
                  </a:lnTo>
                  <a:lnTo>
                    <a:pt x="432" y="366"/>
                  </a:lnTo>
                  <a:lnTo>
                    <a:pt x="408" y="396"/>
                  </a:lnTo>
                  <a:lnTo>
                    <a:pt x="369" y="390"/>
                  </a:lnTo>
                  <a:lnTo>
                    <a:pt x="339" y="372"/>
                  </a:lnTo>
                  <a:lnTo>
                    <a:pt x="318" y="381"/>
                  </a:lnTo>
                  <a:lnTo>
                    <a:pt x="252" y="375"/>
                  </a:lnTo>
                  <a:lnTo>
                    <a:pt x="249" y="348"/>
                  </a:lnTo>
                  <a:lnTo>
                    <a:pt x="216" y="324"/>
                  </a:lnTo>
                  <a:lnTo>
                    <a:pt x="204" y="303"/>
                  </a:lnTo>
                  <a:lnTo>
                    <a:pt x="219" y="285"/>
                  </a:lnTo>
                  <a:lnTo>
                    <a:pt x="219" y="273"/>
                  </a:lnTo>
                  <a:lnTo>
                    <a:pt x="219" y="255"/>
                  </a:lnTo>
                  <a:lnTo>
                    <a:pt x="261" y="249"/>
                  </a:lnTo>
                  <a:lnTo>
                    <a:pt x="261" y="234"/>
                  </a:lnTo>
                  <a:lnTo>
                    <a:pt x="249" y="216"/>
                  </a:lnTo>
                  <a:lnTo>
                    <a:pt x="228" y="213"/>
                  </a:lnTo>
                  <a:lnTo>
                    <a:pt x="216" y="234"/>
                  </a:lnTo>
                  <a:lnTo>
                    <a:pt x="180" y="228"/>
                  </a:lnTo>
                  <a:lnTo>
                    <a:pt x="171" y="210"/>
                  </a:lnTo>
                  <a:lnTo>
                    <a:pt x="147" y="198"/>
                  </a:lnTo>
                  <a:lnTo>
                    <a:pt x="156" y="150"/>
                  </a:lnTo>
                  <a:lnTo>
                    <a:pt x="150" y="141"/>
                  </a:lnTo>
                  <a:lnTo>
                    <a:pt x="129" y="144"/>
                  </a:lnTo>
                  <a:lnTo>
                    <a:pt x="111" y="132"/>
                  </a:lnTo>
                  <a:lnTo>
                    <a:pt x="72" y="120"/>
                  </a:lnTo>
                  <a:lnTo>
                    <a:pt x="48" y="96"/>
                  </a:lnTo>
                  <a:lnTo>
                    <a:pt x="0" y="75"/>
                  </a:lnTo>
                  <a:lnTo>
                    <a:pt x="3" y="54"/>
                  </a:lnTo>
                  <a:lnTo>
                    <a:pt x="24" y="45"/>
                  </a:lnTo>
                  <a:lnTo>
                    <a:pt x="60" y="75"/>
                  </a:lnTo>
                  <a:lnTo>
                    <a:pt x="72" y="75"/>
                  </a:lnTo>
                  <a:lnTo>
                    <a:pt x="105" y="72"/>
                  </a:lnTo>
                  <a:lnTo>
                    <a:pt x="126" y="57"/>
                  </a:lnTo>
                  <a:lnTo>
                    <a:pt x="153" y="78"/>
                  </a:lnTo>
                  <a:lnTo>
                    <a:pt x="165" y="57"/>
                  </a:lnTo>
                  <a:lnTo>
                    <a:pt x="168" y="45"/>
                  </a:lnTo>
                  <a:lnTo>
                    <a:pt x="189" y="33"/>
                  </a:lnTo>
                  <a:lnTo>
                    <a:pt x="198" y="6"/>
                  </a:lnTo>
                  <a:lnTo>
                    <a:pt x="219" y="0"/>
                  </a:lnTo>
                  <a:lnTo>
                    <a:pt x="276" y="39"/>
                  </a:lnTo>
                  <a:lnTo>
                    <a:pt x="318" y="57"/>
                  </a:lnTo>
                  <a:lnTo>
                    <a:pt x="396" y="186"/>
                  </a:lnTo>
                  <a:lnTo>
                    <a:pt x="393" y="198"/>
                  </a:lnTo>
                  <a:lnTo>
                    <a:pt x="444" y="222"/>
                  </a:lnTo>
                  <a:lnTo>
                    <a:pt x="459" y="246"/>
                  </a:lnTo>
                  <a:lnTo>
                    <a:pt x="483" y="258"/>
                  </a:lnTo>
                  <a:lnTo>
                    <a:pt x="495" y="279"/>
                  </a:lnTo>
                  <a:lnTo>
                    <a:pt x="477" y="288"/>
                  </a:lnTo>
                  <a:lnTo>
                    <a:pt x="450" y="279"/>
                  </a:lnTo>
                  <a:lnTo>
                    <a:pt x="414" y="279"/>
                  </a:lnTo>
                  <a:lnTo>
                    <a:pt x="381" y="267"/>
                  </a:lnTo>
                  <a:lnTo>
                    <a:pt x="366" y="279"/>
                  </a:lnTo>
                  <a:lnTo>
                    <a:pt x="399" y="288"/>
                  </a:lnTo>
                  <a:lnTo>
                    <a:pt x="429" y="300"/>
                  </a:lnTo>
                  <a:lnTo>
                    <a:pt x="459" y="315"/>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8" name="Freeform 162"/>
            <p:cNvSpPr>
              <a:spLocks/>
            </p:cNvSpPr>
            <p:nvPr/>
          </p:nvSpPr>
          <p:spPr bwMode="auto">
            <a:xfrm>
              <a:off x="5121524" y="3748112"/>
              <a:ext cx="695325" cy="549275"/>
            </a:xfrm>
            <a:custGeom>
              <a:avLst/>
              <a:gdLst>
                <a:gd name="T0" fmla="*/ 189 w 495"/>
                <a:gd name="T1" fmla="*/ 103 h 396"/>
                <a:gd name="T2" fmla="*/ 185 w 495"/>
                <a:gd name="T3" fmla="*/ 114 h 396"/>
                <a:gd name="T4" fmla="*/ 178 w 495"/>
                <a:gd name="T5" fmla="*/ 118 h 396"/>
                <a:gd name="T6" fmla="*/ 168 w 495"/>
                <a:gd name="T7" fmla="*/ 129 h 396"/>
                <a:gd name="T8" fmla="*/ 153 w 495"/>
                <a:gd name="T9" fmla="*/ 127 h 396"/>
                <a:gd name="T10" fmla="*/ 140 w 495"/>
                <a:gd name="T11" fmla="*/ 122 h 396"/>
                <a:gd name="T12" fmla="*/ 131 w 495"/>
                <a:gd name="T13" fmla="*/ 124 h 396"/>
                <a:gd name="T14" fmla="*/ 103 w 495"/>
                <a:gd name="T15" fmla="*/ 122 h 396"/>
                <a:gd name="T16" fmla="*/ 103 w 495"/>
                <a:gd name="T17" fmla="*/ 114 h 396"/>
                <a:gd name="T18" fmla="*/ 89 w 495"/>
                <a:gd name="T19" fmla="*/ 105 h 396"/>
                <a:gd name="T20" fmla="*/ 84 w 495"/>
                <a:gd name="T21" fmla="*/ 99 h 396"/>
                <a:gd name="T22" fmla="*/ 90 w 495"/>
                <a:gd name="T23" fmla="*/ 94 h 396"/>
                <a:gd name="T24" fmla="*/ 90 w 495"/>
                <a:gd name="T25" fmla="*/ 89 h 396"/>
                <a:gd name="T26" fmla="*/ 90 w 495"/>
                <a:gd name="T27" fmla="*/ 84 h 396"/>
                <a:gd name="T28" fmla="*/ 107 w 495"/>
                <a:gd name="T29" fmla="*/ 81 h 396"/>
                <a:gd name="T30" fmla="*/ 107 w 495"/>
                <a:gd name="T31" fmla="*/ 76 h 396"/>
                <a:gd name="T32" fmla="*/ 103 w 495"/>
                <a:gd name="T33" fmla="*/ 72 h 396"/>
                <a:gd name="T34" fmla="*/ 94 w 495"/>
                <a:gd name="T35" fmla="*/ 70 h 396"/>
                <a:gd name="T36" fmla="*/ 89 w 495"/>
                <a:gd name="T37" fmla="*/ 76 h 396"/>
                <a:gd name="T38" fmla="*/ 74 w 495"/>
                <a:gd name="T39" fmla="*/ 75 h 396"/>
                <a:gd name="T40" fmla="*/ 70 w 495"/>
                <a:gd name="T41" fmla="*/ 69 h 396"/>
                <a:gd name="T42" fmla="*/ 60 w 495"/>
                <a:gd name="T43" fmla="*/ 64 h 396"/>
                <a:gd name="T44" fmla="*/ 64 w 495"/>
                <a:gd name="T45" fmla="*/ 49 h 396"/>
                <a:gd name="T46" fmla="*/ 61 w 495"/>
                <a:gd name="T47" fmla="*/ 46 h 396"/>
                <a:gd name="T48" fmla="*/ 54 w 495"/>
                <a:gd name="T49" fmla="*/ 46 h 396"/>
                <a:gd name="T50" fmla="*/ 45 w 495"/>
                <a:gd name="T51" fmla="*/ 43 h 396"/>
                <a:gd name="T52" fmla="*/ 29 w 495"/>
                <a:gd name="T53" fmla="*/ 39 h 396"/>
                <a:gd name="T54" fmla="*/ 20 w 495"/>
                <a:gd name="T55" fmla="*/ 31 h 396"/>
                <a:gd name="T56" fmla="*/ 0 w 495"/>
                <a:gd name="T57" fmla="*/ 24 h 396"/>
                <a:gd name="T58" fmla="*/ 3 w 495"/>
                <a:gd name="T59" fmla="*/ 17 h 396"/>
                <a:gd name="T60" fmla="*/ 10 w 495"/>
                <a:gd name="T61" fmla="*/ 15 h 396"/>
                <a:gd name="T62" fmla="*/ 25 w 495"/>
                <a:gd name="T63" fmla="*/ 24 h 396"/>
                <a:gd name="T64" fmla="*/ 29 w 495"/>
                <a:gd name="T65" fmla="*/ 24 h 396"/>
                <a:gd name="T66" fmla="*/ 44 w 495"/>
                <a:gd name="T67" fmla="*/ 24 h 396"/>
                <a:gd name="T68" fmla="*/ 52 w 495"/>
                <a:gd name="T69" fmla="*/ 19 h 396"/>
                <a:gd name="T70" fmla="*/ 63 w 495"/>
                <a:gd name="T71" fmla="*/ 26 h 396"/>
                <a:gd name="T72" fmla="*/ 68 w 495"/>
                <a:gd name="T73" fmla="*/ 19 h 396"/>
                <a:gd name="T74" fmla="*/ 70 w 495"/>
                <a:gd name="T75" fmla="*/ 15 h 396"/>
                <a:gd name="T76" fmla="*/ 78 w 495"/>
                <a:gd name="T77" fmla="*/ 11 h 396"/>
                <a:gd name="T78" fmla="*/ 81 w 495"/>
                <a:gd name="T79" fmla="*/ 4 h 396"/>
                <a:gd name="T80" fmla="*/ 90 w 495"/>
                <a:gd name="T81" fmla="*/ 0 h 396"/>
                <a:gd name="T82" fmla="*/ 113 w 495"/>
                <a:gd name="T83" fmla="*/ 13 h 396"/>
                <a:gd name="T84" fmla="*/ 131 w 495"/>
                <a:gd name="T85" fmla="*/ 19 h 396"/>
                <a:gd name="T86" fmla="*/ 163 w 495"/>
                <a:gd name="T87" fmla="*/ 60 h 396"/>
                <a:gd name="T88" fmla="*/ 162 w 495"/>
                <a:gd name="T89" fmla="*/ 64 h 396"/>
                <a:gd name="T90" fmla="*/ 183 w 495"/>
                <a:gd name="T91" fmla="*/ 72 h 396"/>
                <a:gd name="T92" fmla="*/ 189 w 495"/>
                <a:gd name="T93" fmla="*/ 80 h 396"/>
                <a:gd name="T94" fmla="*/ 200 w 495"/>
                <a:gd name="T95" fmla="*/ 84 h 396"/>
                <a:gd name="T96" fmla="*/ 203 w 495"/>
                <a:gd name="T97" fmla="*/ 91 h 396"/>
                <a:gd name="T98" fmla="*/ 197 w 495"/>
                <a:gd name="T99" fmla="*/ 94 h 396"/>
                <a:gd name="T100" fmla="*/ 185 w 495"/>
                <a:gd name="T101" fmla="*/ 91 h 396"/>
                <a:gd name="T102" fmla="*/ 170 w 495"/>
                <a:gd name="T103" fmla="*/ 91 h 396"/>
                <a:gd name="T104" fmla="*/ 156 w 495"/>
                <a:gd name="T105" fmla="*/ 87 h 396"/>
                <a:gd name="T106" fmla="*/ 151 w 495"/>
                <a:gd name="T107" fmla="*/ 91 h 396"/>
                <a:gd name="T108" fmla="*/ 164 w 495"/>
                <a:gd name="T109" fmla="*/ 94 h 396"/>
                <a:gd name="T110" fmla="*/ 177 w 495"/>
                <a:gd name="T111" fmla="*/ 98 h 396"/>
                <a:gd name="T112" fmla="*/ 189 w 495"/>
                <a:gd name="T113" fmla="*/ 103 h 3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95" h="396">
                  <a:moveTo>
                    <a:pt x="459" y="315"/>
                  </a:moveTo>
                  <a:lnTo>
                    <a:pt x="450" y="348"/>
                  </a:lnTo>
                  <a:lnTo>
                    <a:pt x="432" y="366"/>
                  </a:lnTo>
                  <a:lnTo>
                    <a:pt x="408" y="396"/>
                  </a:lnTo>
                  <a:lnTo>
                    <a:pt x="369" y="390"/>
                  </a:lnTo>
                  <a:lnTo>
                    <a:pt x="339" y="372"/>
                  </a:lnTo>
                  <a:lnTo>
                    <a:pt x="318" y="381"/>
                  </a:lnTo>
                  <a:lnTo>
                    <a:pt x="252" y="375"/>
                  </a:lnTo>
                  <a:lnTo>
                    <a:pt x="249" y="348"/>
                  </a:lnTo>
                  <a:lnTo>
                    <a:pt x="216" y="324"/>
                  </a:lnTo>
                  <a:lnTo>
                    <a:pt x="204" y="303"/>
                  </a:lnTo>
                  <a:lnTo>
                    <a:pt x="219" y="285"/>
                  </a:lnTo>
                  <a:lnTo>
                    <a:pt x="219" y="273"/>
                  </a:lnTo>
                  <a:lnTo>
                    <a:pt x="219" y="255"/>
                  </a:lnTo>
                  <a:lnTo>
                    <a:pt x="261" y="249"/>
                  </a:lnTo>
                  <a:lnTo>
                    <a:pt x="261" y="234"/>
                  </a:lnTo>
                  <a:lnTo>
                    <a:pt x="249" y="216"/>
                  </a:lnTo>
                  <a:lnTo>
                    <a:pt x="228" y="213"/>
                  </a:lnTo>
                  <a:lnTo>
                    <a:pt x="216" y="234"/>
                  </a:lnTo>
                  <a:lnTo>
                    <a:pt x="180" y="228"/>
                  </a:lnTo>
                  <a:lnTo>
                    <a:pt x="171" y="210"/>
                  </a:lnTo>
                  <a:lnTo>
                    <a:pt x="147" y="198"/>
                  </a:lnTo>
                  <a:lnTo>
                    <a:pt x="156" y="150"/>
                  </a:lnTo>
                  <a:lnTo>
                    <a:pt x="150" y="141"/>
                  </a:lnTo>
                  <a:lnTo>
                    <a:pt x="129" y="144"/>
                  </a:lnTo>
                  <a:lnTo>
                    <a:pt x="111" y="132"/>
                  </a:lnTo>
                  <a:lnTo>
                    <a:pt x="72" y="120"/>
                  </a:lnTo>
                  <a:lnTo>
                    <a:pt x="48" y="96"/>
                  </a:lnTo>
                  <a:lnTo>
                    <a:pt x="0" y="75"/>
                  </a:lnTo>
                  <a:lnTo>
                    <a:pt x="3" y="54"/>
                  </a:lnTo>
                  <a:lnTo>
                    <a:pt x="24" y="45"/>
                  </a:lnTo>
                  <a:lnTo>
                    <a:pt x="60" y="75"/>
                  </a:lnTo>
                  <a:lnTo>
                    <a:pt x="72" y="75"/>
                  </a:lnTo>
                  <a:lnTo>
                    <a:pt x="105" y="72"/>
                  </a:lnTo>
                  <a:lnTo>
                    <a:pt x="126" y="57"/>
                  </a:lnTo>
                  <a:lnTo>
                    <a:pt x="153" y="78"/>
                  </a:lnTo>
                  <a:lnTo>
                    <a:pt x="165" y="57"/>
                  </a:lnTo>
                  <a:lnTo>
                    <a:pt x="168" y="45"/>
                  </a:lnTo>
                  <a:lnTo>
                    <a:pt x="189" y="33"/>
                  </a:lnTo>
                  <a:lnTo>
                    <a:pt x="198" y="6"/>
                  </a:lnTo>
                  <a:lnTo>
                    <a:pt x="219" y="0"/>
                  </a:lnTo>
                  <a:lnTo>
                    <a:pt x="276" y="39"/>
                  </a:lnTo>
                  <a:lnTo>
                    <a:pt x="318" y="57"/>
                  </a:lnTo>
                  <a:lnTo>
                    <a:pt x="396" y="186"/>
                  </a:lnTo>
                  <a:lnTo>
                    <a:pt x="393" y="198"/>
                  </a:lnTo>
                  <a:lnTo>
                    <a:pt x="444" y="222"/>
                  </a:lnTo>
                  <a:lnTo>
                    <a:pt x="459" y="246"/>
                  </a:lnTo>
                  <a:lnTo>
                    <a:pt x="483" y="258"/>
                  </a:lnTo>
                  <a:lnTo>
                    <a:pt x="495" y="279"/>
                  </a:lnTo>
                  <a:lnTo>
                    <a:pt x="477" y="288"/>
                  </a:lnTo>
                  <a:lnTo>
                    <a:pt x="450" y="279"/>
                  </a:lnTo>
                  <a:lnTo>
                    <a:pt x="414" y="279"/>
                  </a:lnTo>
                  <a:lnTo>
                    <a:pt x="381" y="267"/>
                  </a:lnTo>
                  <a:lnTo>
                    <a:pt x="366" y="279"/>
                  </a:lnTo>
                  <a:lnTo>
                    <a:pt x="399" y="288"/>
                  </a:lnTo>
                  <a:lnTo>
                    <a:pt x="429" y="300"/>
                  </a:lnTo>
                  <a:lnTo>
                    <a:pt x="459" y="315"/>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69" name="Freeform 163"/>
            <p:cNvSpPr>
              <a:spLocks/>
            </p:cNvSpPr>
            <p:nvPr/>
          </p:nvSpPr>
          <p:spPr bwMode="auto">
            <a:xfrm>
              <a:off x="4237286" y="4111650"/>
              <a:ext cx="946150" cy="590550"/>
            </a:xfrm>
            <a:custGeom>
              <a:avLst/>
              <a:gdLst>
                <a:gd name="T0" fmla="*/ 38 w 674"/>
                <a:gd name="T1" fmla="*/ 128 h 425"/>
                <a:gd name="T2" fmla="*/ 71 w 674"/>
                <a:gd name="T3" fmla="*/ 123 h 425"/>
                <a:gd name="T4" fmla="*/ 73 w 674"/>
                <a:gd name="T5" fmla="*/ 109 h 425"/>
                <a:gd name="T6" fmla="*/ 121 w 674"/>
                <a:gd name="T7" fmla="*/ 108 h 425"/>
                <a:gd name="T8" fmla="*/ 143 w 674"/>
                <a:gd name="T9" fmla="*/ 118 h 425"/>
                <a:gd name="T10" fmla="*/ 164 w 674"/>
                <a:gd name="T11" fmla="*/ 111 h 425"/>
                <a:gd name="T12" fmla="*/ 171 w 674"/>
                <a:gd name="T13" fmla="*/ 118 h 425"/>
                <a:gd name="T14" fmla="*/ 186 w 674"/>
                <a:gd name="T15" fmla="*/ 106 h 425"/>
                <a:gd name="T16" fmla="*/ 189 w 674"/>
                <a:gd name="T17" fmla="*/ 123 h 425"/>
                <a:gd name="T18" fmla="*/ 202 w 674"/>
                <a:gd name="T19" fmla="*/ 128 h 425"/>
                <a:gd name="T20" fmla="*/ 226 w 674"/>
                <a:gd name="T21" fmla="*/ 117 h 425"/>
                <a:gd name="T22" fmla="*/ 264 w 674"/>
                <a:gd name="T23" fmla="*/ 99 h 425"/>
                <a:gd name="T24" fmla="*/ 262 w 674"/>
                <a:gd name="T25" fmla="*/ 69 h 425"/>
                <a:gd name="T26" fmla="*/ 265 w 674"/>
                <a:gd name="T27" fmla="*/ 57 h 425"/>
                <a:gd name="T28" fmla="*/ 241 w 674"/>
                <a:gd name="T29" fmla="*/ 46 h 425"/>
                <a:gd name="T30" fmla="*/ 222 w 674"/>
                <a:gd name="T31" fmla="*/ 46 h 425"/>
                <a:gd name="T32" fmla="*/ 195 w 674"/>
                <a:gd name="T33" fmla="*/ 40 h 425"/>
                <a:gd name="T34" fmla="*/ 183 w 674"/>
                <a:gd name="T35" fmla="*/ 27 h 425"/>
                <a:gd name="T36" fmla="*/ 168 w 674"/>
                <a:gd name="T37" fmla="*/ 27 h 425"/>
                <a:gd name="T38" fmla="*/ 136 w 674"/>
                <a:gd name="T39" fmla="*/ 27 h 425"/>
                <a:gd name="T40" fmla="*/ 80 w 674"/>
                <a:gd name="T41" fmla="*/ 0 h 425"/>
                <a:gd name="T42" fmla="*/ 68 w 674"/>
                <a:gd name="T43" fmla="*/ 4 h 425"/>
                <a:gd name="T44" fmla="*/ 34 w 674"/>
                <a:gd name="T45" fmla="*/ 4 h 425"/>
                <a:gd name="T46" fmla="*/ 38 w 674"/>
                <a:gd name="T47" fmla="*/ 13 h 425"/>
                <a:gd name="T48" fmla="*/ 54 w 674"/>
                <a:gd name="T49" fmla="*/ 17 h 425"/>
                <a:gd name="T50" fmla="*/ 36 w 674"/>
                <a:gd name="T51" fmla="*/ 27 h 425"/>
                <a:gd name="T52" fmla="*/ 36 w 674"/>
                <a:gd name="T53" fmla="*/ 38 h 425"/>
                <a:gd name="T54" fmla="*/ 46 w 674"/>
                <a:gd name="T55" fmla="*/ 50 h 425"/>
                <a:gd name="T56" fmla="*/ 59 w 674"/>
                <a:gd name="T57" fmla="*/ 76 h 425"/>
                <a:gd name="T58" fmla="*/ 50 w 674"/>
                <a:gd name="T59" fmla="*/ 80 h 425"/>
                <a:gd name="T60" fmla="*/ 7 w 674"/>
                <a:gd name="T61" fmla="*/ 95 h 425"/>
                <a:gd name="T62" fmla="*/ 5 w 674"/>
                <a:gd name="T63" fmla="*/ 106 h 425"/>
                <a:gd name="T64" fmla="*/ 14 w 674"/>
                <a:gd name="T65" fmla="*/ 121 h 4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74" h="425">
                  <a:moveTo>
                    <a:pt x="78" y="425"/>
                  </a:moveTo>
                  <a:lnTo>
                    <a:pt x="93" y="393"/>
                  </a:lnTo>
                  <a:lnTo>
                    <a:pt x="132" y="357"/>
                  </a:lnTo>
                  <a:lnTo>
                    <a:pt x="171" y="375"/>
                  </a:lnTo>
                  <a:lnTo>
                    <a:pt x="198" y="357"/>
                  </a:lnTo>
                  <a:lnTo>
                    <a:pt x="177" y="333"/>
                  </a:lnTo>
                  <a:lnTo>
                    <a:pt x="186" y="321"/>
                  </a:lnTo>
                  <a:lnTo>
                    <a:pt x="291" y="330"/>
                  </a:lnTo>
                  <a:lnTo>
                    <a:pt x="327" y="354"/>
                  </a:lnTo>
                  <a:lnTo>
                    <a:pt x="345" y="366"/>
                  </a:lnTo>
                  <a:lnTo>
                    <a:pt x="375" y="348"/>
                  </a:lnTo>
                  <a:lnTo>
                    <a:pt x="396" y="339"/>
                  </a:lnTo>
                  <a:lnTo>
                    <a:pt x="399" y="366"/>
                  </a:lnTo>
                  <a:lnTo>
                    <a:pt x="414" y="366"/>
                  </a:lnTo>
                  <a:lnTo>
                    <a:pt x="426" y="348"/>
                  </a:lnTo>
                  <a:lnTo>
                    <a:pt x="450" y="327"/>
                  </a:lnTo>
                  <a:lnTo>
                    <a:pt x="459" y="342"/>
                  </a:lnTo>
                  <a:lnTo>
                    <a:pt x="459" y="375"/>
                  </a:lnTo>
                  <a:lnTo>
                    <a:pt x="468" y="387"/>
                  </a:lnTo>
                  <a:lnTo>
                    <a:pt x="489" y="393"/>
                  </a:lnTo>
                  <a:lnTo>
                    <a:pt x="513" y="369"/>
                  </a:lnTo>
                  <a:lnTo>
                    <a:pt x="546" y="357"/>
                  </a:lnTo>
                  <a:lnTo>
                    <a:pt x="611" y="300"/>
                  </a:lnTo>
                  <a:lnTo>
                    <a:pt x="638" y="303"/>
                  </a:lnTo>
                  <a:lnTo>
                    <a:pt x="674" y="291"/>
                  </a:lnTo>
                  <a:lnTo>
                    <a:pt x="632" y="210"/>
                  </a:lnTo>
                  <a:lnTo>
                    <a:pt x="647" y="183"/>
                  </a:lnTo>
                  <a:lnTo>
                    <a:pt x="641" y="174"/>
                  </a:lnTo>
                  <a:lnTo>
                    <a:pt x="617" y="168"/>
                  </a:lnTo>
                  <a:lnTo>
                    <a:pt x="582" y="144"/>
                  </a:lnTo>
                  <a:lnTo>
                    <a:pt x="561" y="132"/>
                  </a:lnTo>
                  <a:lnTo>
                    <a:pt x="537" y="144"/>
                  </a:lnTo>
                  <a:lnTo>
                    <a:pt x="510" y="123"/>
                  </a:lnTo>
                  <a:lnTo>
                    <a:pt x="474" y="123"/>
                  </a:lnTo>
                  <a:lnTo>
                    <a:pt x="447" y="105"/>
                  </a:lnTo>
                  <a:lnTo>
                    <a:pt x="441" y="84"/>
                  </a:lnTo>
                  <a:lnTo>
                    <a:pt x="426" y="69"/>
                  </a:lnTo>
                  <a:lnTo>
                    <a:pt x="405" y="81"/>
                  </a:lnTo>
                  <a:lnTo>
                    <a:pt x="387" y="72"/>
                  </a:lnTo>
                  <a:lnTo>
                    <a:pt x="330" y="81"/>
                  </a:lnTo>
                  <a:lnTo>
                    <a:pt x="270" y="69"/>
                  </a:lnTo>
                  <a:lnTo>
                    <a:pt x="195" y="0"/>
                  </a:lnTo>
                  <a:lnTo>
                    <a:pt x="174" y="18"/>
                  </a:lnTo>
                  <a:lnTo>
                    <a:pt x="165" y="12"/>
                  </a:lnTo>
                  <a:lnTo>
                    <a:pt x="150" y="12"/>
                  </a:lnTo>
                  <a:lnTo>
                    <a:pt x="81" y="12"/>
                  </a:lnTo>
                  <a:lnTo>
                    <a:pt x="72" y="18"/>
                  </a:lnTo>
                  <a:lnTo>
                    <a:pt x="93" y="39"/>
                  </a:lnTo>
                  <a:lnTo>
                    <a:pt x="111" y="45"/>
                  </a:lnTo>
                  <a:lnTo>
                    <a:pt x="129" y="51"/>
                  </a:lnTo>
                  <a:lnTo>
                    <a:pt x="123" y="66"/>
                  </a:lnTo>
                  <a:lnTo>
                    <a:pt x="87" y="81"/>
                  </a:lnTo>
                  <a:lnTo>
                    <a:pt x="81" y="108"/>
                  </a:lnTo>
                  <a:lnTo>
                    <a:pt x="87" y="117"/>
                  </a:lnTo>
                  <a:lnTo>
                    <a:pt x="93" y="153"/>
                  </a:lnTo>
                  <a:lnTo>
                    <a:pt x="111" y="153"/>
                  </a:lnTo>
                  <a:lnTo>
                    <a:pt x="132" y="180"/>
                  </a:lnTo>
                  <a:lnTo>
                    <a:pt x="141" y="234"/>
                  </a:lnTo>
                  <a:lnTo>
                    <a:pt x="135" y="252"/>
                  </a:lnTo>
                  <a:lnTo>
                    <a:pt x="123" y="246"/>
                  </a:lnTo>
                  <a:lnTo>
                    <a:pt x="84" y="276"/>
                  </a:lnTo>
                  <a:lnTo>
                    <a:pt x="18" y="288"/>
                  </a:lnTo>
                  <a:lnTo>
                    <a:pt x="0" y="306"/>
                  </a:lnTo>
                  <a:lnTo>
                    <a:pt x="12" y="324"/>
                  </a:lnTo>
                  <a:lnTo>
                    <a:pt x="15" y="363"/>
                  </a:lnTo>
                  <a:lnTo>
                    <a:pt x="33" y="369"/>
                  </a:lnTo>
                  <a:lnTo>
                    <a:pt x="78" y="425"/>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0" name="Freeform 164"/>
            <p:cNvSpPr>
              <a:spLocks/>
            </p:cNvSpPr>
            <p:nvPr/>
          </p:nvSpPr>
          <p:spPr bwMode="auto">
            <a:xfrm>
              <a:off x="4237286" y="4111650"/>
              <a:ext cx="946150" cy="590550"/>
            </a:xfrm>
            <a:custGeom>
              <a:avLst/>
              <a:gdLst>
                <a:gd name="T0" fmla="*/ 38 w 674"/>
                <a:gd name="T1" fmla="*/ 128 h 425"/>
                <a:gd name="T2" fmla="*/ 71 w 674"/>
                <a:gd name="T3" fmla="*/ 123 h 425"/>
                <a:gd name="T4" fmla="*/ 73 w 674"/>
                <a:gd name="T5" fmla="*/ 109 h 425"/>
                <a:gd name="T6" fmla="*/ 121 w 674"/>
                <a:gd name="T7" fmla="*/ 108 h 425"/>
                <a:gd name="T8" fmla="*/ 143 w 674"/>
                <a:gd name="T9" fmla="*/ 118 h 425"/>
                <a:gd name="T10" fmla="*/ 164 w 674"/>
                <a:gd name="T11" fmla="*/ 111 h 425"/>
                <a:gd name="T12" fmla="*/ 171 w 674"/>
                <a:gd name="T13" fmla="*/ 118 h 425"/>
                <a:gd name="T14" fmla="*/ 186 w 674"/>
                <a:gd name="T15" fmla="*/ 106 h 425"/>
                <a:gd name="T16" fmla="*/ 189 w 674"/>
                <a:gd name="T17" fmla="*/ 123 h 425"/>
                <a:gd name="T18" fmla="*/ 202 w 674"/>
                <a:gd name="T19" fmla="*/ 128 h 425"/>
                <a:gd name="T20" fmla="*/ 226 w 674"/>
                <a:gd name="T21" fmla="*/ 117 h 425"/>
                <a:gd name="T22" fmla="*/ 264 w 674"/>
                <a:gd name="T23" fmla="*/ 99 h 425"/>
                <a:gd name="T24" fmla="*/ 262 w 674"/>
                <a:gd name="T25" fmla="*/ 69 h 425"/>
                <a:gd name="T26" fmla="*/ 265 w 674"/>
                <a:gd name="T27" fmla="*/ 57 h 425"/>
                <a:gd name="T28" fmla="*/ 241 w 674"/>
                <a:gd name="T29" fmla="*/ 46 h 425"/>
                <a:gd name="T30" fmla="*/ 222 w 674"/>
                <a:gd name="T31" fmla="*/ 46 h 425"/>
                <a:gd name="T32" fmla="*/ 195 w 674"/>
                <a:gd name="T33" fmla="*/ 40 h 425"/>
                <a:gd name="T34" fmla="*/ 183 w 674"/>
                <a:gd name="T35" fmla="*/ 27 h 425"/>
                <a:gd name="T36" fmla="*/ 168 w 674"/>
                <a:gd name="T37" fmla="*/ 27 h 425"/>
                <a:gd name="T38" fmla="*/ 136 w 674"/>
                <a:gd name="T39" fmla="*/ 27 h 425"/>
                <a:gd name="T40" fmla="*/ 80 w 674"/>
                <a:gd name="T41" fmla="*/ 0 h 425"/>
                <a:gd name="T42" fmla="*/ 68 w 674"/>
                <a:gd name="T43" fmla="*/ 4 h 425"/>
                <a:gd name="T44" fmla="*/ 34 w 674"/>
                <a:gd name="T45" fmla="*/ 4 h 425"/>
                <a:gd name="T46" fmla="*/ 38 w 674"/>
                <a:gd name="T47" fmla="*/ 13 h 425"/>
                <a:gd name="T48" fmla="*/ 54 w 674"/>
                <a:gd name="T49" fmla="*/ 17 h 425"/>
                <a:gd name="T50" fmla="*/ 36 w 674"/>
                <a:gd name="T51" fmla="*/ 27 h 425"/>
                <a:gd name="T52" fmla="*/ 36 w 674"/>
                <a:gd name="T53" fmla="*/ 38 h 425"/>
                <a:gd name="T54" fmla="*/ 46 w 674"/>
                <a:gd name="T55" fmla="*/ 50 h 425"/>
                <a:gd name="T56" fmla="*/ 59 w 674"/>
                <a:gd name="T57" fmla="*/ 76 h 425"/>
                <a:gd name="T58" fmla="*/ 50 w 674"/>
                <a:gd name="T59" fmla="*/ 80 h 425"/>
                <a:gd name="T60" fmla="*/ 7 w 674"/>
                <a:gd name="T61" fmla="*/ 95 h 425"/>
                <a:gd name="T62" fmla="*/ 5 w 674"/>
                <a:gd name="T63" fmla="*/ 106 h 425"/>
                <a:gd name="T64" fmla="*/ 14 w 674"/>
                <a:gd name="T65" fmla="*/ 121 h 4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74" h="425">
                  <a:moveTo>
                    <a:pt x="78" y="425"/>
                  </a:moveTo>
                  <a:lnTo>
                    <a:pt x="93" y="393"/>
                  </a:lnTo>
                  <a:lnTo>
                    <a:pt x="132" y="357"/>
                  </a:lnTo>
                  <a:lnTo>
                    <a:pt x="171" y="375"/>
                  </a:lnTo>
                  <a:lnTo>
                    <a:pt x="198" y="357"/>
                  </a:lnTo>
                  <a:lnTo>
                    <a:pt x="177" y="333"/>
                  </a:lnTo>
                  <a:lnTo>
                    <a:pt x="186" y="321"/>
                  </a:lnTo>
                  <a:lnTo>
                    <a:pt x="291" y="330"/>
                  </a:lnTo>
                  <a:lnTo>
                    <a:pt x="327" y="354"/>
                  </a:lnTo>
                  <a:lnTo>
                    <a:pt x="345" y="366"/>
                  </a:lnTo>
                  <a:lnTo>
                    <a:pt x="375" y="348"/>
                  </a:lnTo>
                  <a:lnTo>
                    <a:pt x="396" y="339"/>
                  </a:lnTo>
                  <a:lnTo>
                    <a:pt x="399" y="366"/>
                  </a:lnTo>
                  <a:lnTo>
                    <a:pt x="414" y="366"/>
                  </a:lnTo>
                  <a:lnTo>
                    <a:pt x="426" y="348"/>
                  </a:lnTo>
                  <a:lnTo>
                    <a:pt x="450" y="327"/>
                  </a:lnTo>
                  <a:lnTo>
                    <a:pt x="459" y="342"/>
                  </a:lnTo>
                  <a:lnTo>
                    <a:pt x="459" y="375"/>
                  </a:lnTo>
                  <a:lnTo>
                    <a:pt x="468" y="387"/>
                  </a:lnTo>
                  <a:lnTo>
                    <a:pt x="489" y="393"/>
                  </a:lnTo>
                  <a:lnTo>
                    <a:pt x="513" y="369"/>
                  </a:lnTo>
                  <a:lnTo>
                    <a:pt x="546" y="357"/>
                  </a:lnTo>
                  <a:lnTo>
                    <a:pt x="611" y="300"/>
                  </a:lnTo>
                  <a:lnTo>
                    <a:pt x="638" y="303"/>
                  </a:lnTo>
                  <a:lnTo>
                    <a:pt x="674" y="291"/>
                  </a:lnTo>
                  <a:lnTo>
                    <a:pt x="632" y="210"/>
                  </a:lnTo>
                  <a:lnTo>
                    <a:pt x="647" y="183"/>
                  </a:lnTo>
                  <a:lnTo>
                    <a:pt x="641" y="174"/>
                  </a:lnTo>
                  <a:lnTo>
                    <a:pt x="617" y="168"/>
                  </a:lnTo>
                  <a:lnTo>
                    <a:pt x="582" y="144"/>
                  </a:lnTo>
                  <a:lnTo>
                    <a:pt x="561" y="132"/>
                  </a:lnTo>
                  <a:lnTo>
                    <a:pt x="537" y="144"/>
                  </a:lnTo>
                  <a:lnTo>
                    <a:pt x="510" y="123"/>
                  </a:lnTo>
                  <a:lnTo>
                    <a:pt x="474" y="123"/>
                  </a:lnTo>
                  <a:lnTo>
                    <a:pt x="447" y="105"/>
                  </a:lnTo>
                  <a:lnTo>
                    <a:pt x="441" y="84"/>
                  </a:lnTo>
                  <a:lnTo>
                    <a:pt x="426" y="69"/>
                  </a:lnTo>
                  <a:lnTo>
                    <a:pt x="405" y="81"/>
                  </a:lnTo>
                  <a:lnTo>
                    <a:pt x="387" y="72"/>
                  </a:lnTo>
                  <a:lnTo>
                    <a:pt x="330" y="81"/>
                  </a:lnTo>
                  <a:lnTo>
                    <a:pt x="270" y="69"/>
                  </a:lnTo>
                  <a:lnTo>
                    <a:pt x="195" y="0"/>
                  </a:lnTo>
                  <a:lnTo>
                    <a:pt x="174" y="18"/>
                  </a:lnTo>
                  <a:lnTo>
                    <a:pt x="165" y="12"/>
                  </a:lnTo>
                  <a:lnTo>
                    <a:pt x="150" y="12"/>
                  </a:lnTo>
                  <a:lnTo>
                    <a:pt x="81" y="12"/>
                  </a:lnTo>
                  <a:lnTo>
                    <a:pt x="72" y="18"/>
                  </a:lnTo>
                  <a:lnTo>
                    <a:pt x="93" y="39"/>
                  </a:lnTo>
                  <a:lnTo>
                    <a:pt x="111" y="45"/>
                  </a:lnTo>
                  <a:lnTo>
                    <a:pt x="129" y="51"/>
                  </a:lnTo>
                  <a:lnTo>
                    <a:pt x="123" y="66"/>
                  </a:lnTo>
                  <a:lnTo>
                    <a:pt x="87" y="81"/>
                  </a:lnTo>
                  <a:lnTo>
                    <a:pt x="81" y="108"/>
                  </a:lnTo>
                  <a:lnTo>
                    <a:pt x="87" y="117"/>
                  </a:lnTo>
                  <a:lnTo>
                    <a:pt x="93" y="153"/>
                  </a:lnTo>
                  <a:lnTo>
                    <a:pt x="111" y="153"/>
                  </a:lnTo>
                  <a:lnTo>
                    <a:pt x="132" y="180"/>
                  </a:lnTo>
                  <a:lnTo>
                    <a:pt x="141" y="234"/>
                  </a:lnTo>
                  <a:lnTo>
                    <a:pt x="135" y="252"/>
                  </a:lnTo>
                  <a:lnTo>
                    <a:pt x="123" y="246"/>
                  </a:lnTo>
                  <a:lnTo>
                    <a:pt x="84" y="276"/>
                  </a:lnTo>
                  <a:lnTo>
                    <a:pt x="18" y="288"/>
                  </a:lnTo>
                  <a:lnTo>
                    <a:pt x="0" y="306"/>
                  </a:lnTo>
                  <a:lnTo>
                    <a:pt x="12" y="324"/>
                  </a:lnTo>
                  <a:lnTo>
                    <a:pt x="15" y="363"/>
                  </a:lnTo>
                  <a:lnTo>
                    <a:pt x="33" y="369"/>
                  </a:lnTo>
                  <a:lnTo>
                    <a:pt x="78" y="425"/>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1" name="Freeform 165"/>
            <p:cNvSpPr>
              <a:spLocks/>
            </p:cNvSpPr>
            <p:nvPr/>
          </p:nvSpPr>
          <p:spPr bwMode="auto">
            <a:xfrm>
              <a:off x="2911724" y="4022750"/>
              <a:ext cx="1524000" cy="1144587"/>
            </a:xfrm>
            <a:custGeom>
              <a:avLst/>
              <a:gdLst>
                <a:gd name="T0" fmla="*/ 175 w 1087"/>
                <a:gd name="T1" fmla="*/ 24 h 824"/>
                <a:gd name="T2" fmla="*/ 166 w 1087"/>
                <a:gd name="T3" fmla="*/ 8 h 824"/>
                <a:gd name="T4" fmla="*/ 195 w 1087"/>
                <a:gd name="T5" fmla="*/ 0 h 824"/>
                <a:gd name="T6" fmla="*/ 200 w 1087"/>
                <a:gd name="T7" fmla="*/ 15 h 824"/>
                <a:gd name="T8" fmla="*/ 226 w 1087"/>
                <a:gd name="T9" fmla="*/ 33 h 824"/>
                <a:gd name="T10" fmla="*/ 240 w 1087"/>
                <a:gd name="T11" fmla="*/ 33 h 824"/>
                <a:gd name="T12" fmla="*/ 250 w 1087"/>
                <a:gd name="T13" fmla="*/ 51 h 824"/>
                <a:gd name="T14" fmla="*/ 280 w 1087"/>
                <a:gd name="T15" fmla="*/ 49 h 824"/>
                <a:gd name="T16" fmla="*/ 290 w 1087"/>
                <a:gd name="T17" fmla="*/ 41 h 824"/>
                <a:gd name="T18" fmla="*/ 299 w 1087"/>
                <a:gd name="T19" fmla="*/ 49 h 824"/>
                <a:gd name="T20" fmla="*/ 331 w 1087"/>
                <a:gd name="T21" fmla="*/ 46 h 824"/>
                <a:gd name="T22" fmla="*/ 337 w 1087"/>
                <a:gd name="T23" fmla="*/ 51 h 824"/>
                <a:gd name="T24" fmla="*/ 367 w 1087"/>
                <a:gd name="T25" fmla="*/ 64 h 824"/>
                <a:gd name="T26" fmla="*/ 406 w 1087"/>
                <a:gd name="T27" fmla="*/ 67 h 824"/>
                <a:gd name="T28" fmla="*/ 425 w 1087"/>
                <a:gd name="T29" fmla="*/ 72 h 824"/>
                <a:gd name="T30" fmla="*/ 441 w 1087"/>
                <a:gd name="T31" fmla="*/ 80 h 824"/>
                <a:gd name="T32" fmla="*/ 443 w 1087"/>
                <a:gd name="T33" fmla="*/ 103 h 824"/>
                <a:gd name="T34" fmla="*/ 421 w 1087"/>
                <a:gd name="T35" fmla="*/ 111 h 824"/>
                <a:gd name="T36" fmla="*/ 386 w 1087"/>
                <a:gd name="T37" fmla="*/ 121 h 824"/>
                <a:gd name="T38" fmla="*/ 393 w 1087"/>
                <a:gd name="T39" fmla="*/ 140 h 824"/>
                <a:gd name="T40" fmla="*/ 419 w 1087"/>
                <a:gd name="T41" fmla="*/ 160 h 824"/>
                <a:gd name="T42" fmla="*/ 407 w 1087"/>
                <a:gd name="T43" fmla="*/ 192 h 824"/>
                <a:gd name="T44" fmla="*/ 386 w 1087"/>
                <a:gd name="T45" fmla="*/ 172 h 824"/>
                <a:gd name="T46" fmla="*/ 379 w 1087"/>
                <a:gd name="T47" fmla="*/ 163 h 824"/>
                <a:gd name="T48" fmla="*/ 356 w 1087"/>
                <a:gd name="T49" fmla="*/ 160 h 824"/>
                <a:gd name="T50" fmla="*/ 337 w 1087"/>
                <a:gd name="T51" fmla="*/ 173 h 824"/>
                <a:gd name="T52" fmla="*/ 323 w 1087"/>
                <a:gd name="T53" fmla="*/ 182 h 824"/>
                <a:gd name="T54" fmla="*/ 303 w 1087"/>
                <a:gd name="T55" fmla="*/ 179 h 824"/>
                <a:gd name="T56" fmla="*/ 290 w 1087"/>
                <a:gd name="T57" fmla="*/ 193 h 824"/>
                <a:gd name="T58" fmla="*/ 317 w 1087"/>
                <a:gd name="T59" fmla="*/ 208 h 824"/>
                <a:gd name="T60" fmla="*/ 280 w 1087"/>
                <a:gd name="T61" fmla="*/ 212 h 824"/>
                <a:gd name="T62" fmla="*/ 269 w 1087"/>
                <a:gd name="T63" fmla="*/ 202 h 824"/>
                <a:gd name="T64" fmla="*/ 245 w 1087"/>
                <a:gd name="T65" fmla="*/ 206 h 824"/>
                <a:gd name="T66" fmla="*/ 240 w 1087"/>
                <a:gd name="T67" fmla="*/ 191 h 824"/>
                <a:gd name="T68" fmla="*/ 228 w 1087"/>
                <a:gd name="T69" fmla="*/ 184 h 824"/>
                <a:gd name="T70" fmla="*/ 226 w 1087"/>
                <a:gd name="T71" fmla="*/ 193 h 824"/>
                <a:gd name="T72" fmla="*/ 211 w 1087"/>
                <a:gd name="T73" fmla="*/ 202 h 824"/>
                <a:gd name="T74" fmla="*/ 191 w 1087"/>
                <a:gd name="T75" fmla="*/ 231 h 824"/>
                <a:gd name="T76" fmla="*/ 183 w 1087"/>
                <a:gd name="T77" fmla="*/ 264 h 824"/>
                <a:gd name="T78" fmla="*/ 156 w 1087"/>
                <a:gd name="T79" fmla="*/ 269 h 824"/>
                <a:gd name="T80" fmla="*/ 115 w 1087"/>
                <a:gd name="T81" fmla="*/ 216 h 824"/>
                <a:gd name="T82" fmla="*/ 92 w 1087"/>
                <a:gd name="T83" fmla="*/ 207 h 824"/>
                <a:gd name="T84" fmla="*/ 93 w 1087"/>
                <a:gd name="T85" fmla="*/ 193 h 824"/>
                <a:gd name="T86" fmla="*/ 71 w 1087"/>
                <a:gd name="T87" fmla="*/ 193 h 824"/>
                <a:gd name="T88" fmla="*/ 54 w 1087"/>
                <a:gd name="T89" fmla="*/ 167 h 824"/>
                <a:gd name="T90" fmla="*/ 49 w 1087"/>
                <a:gd name="T91" fmla="*/ 118 h 824"/>
                <a:gd name="T92" fmla="*/ 48 w 1087"/>
                <a:gd name="T93" fmla="*/ 92 h 824"/>
                <a:gd name="T94" fmla="*/ 0 w 1087"/>
                <a:gd name="T95" fmla="*/ 46 h 824"/>
                <a:gd name="T96" fmla="*/ 7 w 1087"/>
                <a:gd name="T97" fmla="*/ 33 h 824"/>
                <a:gd name="T98" fmla="*/ 69 w 1087"/>
                <a:gd name="T99" fmla="*/ 33 h 824"/>
                <a:gd name="T100" fmla="*/ 91 w 1087"/>
                <a:gd name="T101" fmla="*/ 37 h 824"/>
                <a:gd name="T102" fmla="*/ 123 w 1087"/>
                <a:gd name="T103" fmla="*/ 51 h 824"/>
                <a:gd name="T104" fmla="*/ 127 w 1087"/>
                <a:gd name="T105" fmla="*/ 36 h 824"/>
                <a:gd name="T106" fmla="*/ 147 w 1087"/>
                <a:gd name="T107" fmla="*/ 38 h 824"/>
                <a:gd name="T108" fmla="*/ 167 w 1087"/>
                <a:gd name="T109" fmla="*/ 34 h 8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7" h="824">
                  <a:moveTo>
                    <a:pt x="410" y="102"/>
                  </a:moveTo>
                  <a:lnTo>
                    <a:pt x="425" y="72"/>
                  </a:lnTo>
                  <a:lnTo>
                    <a:pt x="410" y="54"/>
                  </a:lnTo>
                  <a:lnTo>
                    <a:pt x="407" y="24"/>
                  </a:lnTo>
                  <a:lnTo>
                    <a:pt x="464" y="0"/>
                  </a:lnTo>
                  <a:lnTo>
                    <a:pt x="476" y="0"/>
                  </a:lnTo>
                  <a:lnTo>
                    <a:pt x="485" y="21"/>
                  </a:lnTo>
                  <a:lnTo>
                    <a:pt x="488" y="48"/>
                  </a:lnTo>
                  <a:lnTo>
                    <a:pt x="515" y="66"/>
                  </a:lnTo>
                  <a:lnTo>
                    <a:pt x="551" y="102"/>
                  </a:lnTo>
                  <a:lnTo>
                    <a:pt x="572" y="90"/>
                  </a:lnTo>
                  <a:lnTo>
                    <a:pt x="587" y="102"/>
                  </a:lnTo>
                  <a:lnTo>
                    <a:pt x="590" y="138"/>
                  </a:lnTo>
                  <a:lnTo>
                    <a:pt x="614" y="156"/>
                  </a:lnTo>
                  <a:lnTo>
                    <a:pt x="674" y="159"/>
                  </a:lnTo>
                  <a:lnTo>
                    <a:pt x="683" y="150"/>
                  </a:lnTo>
                  <a:lnTo>
                    <a:pt x="680" y="132"/>
                  </a:lnTo>
                  <a:lnTo>
                    <a:pt x="713" y="123"/>
                  </a:lnTo>
                  <a:lnTo>
                    <a:pt x="731" y="129"/>
                  </a:lnTo>
                  <a:lnTo>
                    <a:pt x="734" y="150"/>
                  </a:lnTo>
                  <a:lnTo>
                    <a:pt x="749" y="150"/>
                  </a:lnTo>
                  <a:lnTo>
                    <a:pt x="808" y="138"/>
                  </a:lnTo>
                  <a:lnTo>
                    <a:pt x="820" y="144"/>
                  </a:lnTo>
                  <a:lnTo>
                    <a:pt x="823" y="159"/>
                  </a:lnTo>
                  <a:lnTo>
                    <a:pt x="847" y="168"/>
                  </a:lnTo>
                  <a:lnTo>
                    <a:pt x="898" y="192"/>
                  </a:lnTo>
                  <a:lnTo>
                    <a:pt x="928" y="180"/>
                  </a:lnTo>
                  <a:lnTo>
                    <a:pt x="994" y="204"/>
                  </a:lnTo>
                  <a:lnTo>
                    <a:pt x="1006" y="222"/>
                  </a:lnTo>
                  <a:lnTo>
                    <a:pt x="1039" y="216"/>
                  </a:lnTo>
                  <a:lnTo>
                    <a:pt x="1057" y="216"/>
                  </a:lnTo>
                  <a:lnTo>
                    <a:pt x="1078" y="243"/>
                  </a:lnTo>
                  <a:lnTo>
                    <a:pt x="1087" y="297"/>
                  </a:lnTo>
                  <a:lnTo>
                    <a:pt x="1081" y="315"/>
                  </a:lnTo>
                  <a:lnTo>
                    <a:pt x="1069" y="309"/>
                  </a:lnTo>
                  <a:lnTo>
                    <a:pt x="1030" y="339"/>
                  </a:lnTo>
                  <a:lnTo>
                    <a:pt x="964" y="351"/>
                  </a:lnTo>
                  <a:lnTo>
                    <a:pt x="946" y="369"/>
                  </a:lnTo>
                  <a:lnTo>
                    <a:pt x="958" y="387"/>
                  </a:lnTo>
                  <a:lnTo>
                    <a:pt x="961" y="426"/>
                  </a:lnTo>
                  <a:lnTo>
                    <a:pt x="979" y="432"/>
                  </a:lnTo>
                  <a:lnTo>
                    <a:pt x="1024" y="488"/>
                  </a:lnTo>
                  <a:lnTo>
                    <a:pt x="1027" y="563"/>
                  </a:lnTo>
                  <a:lnTo>
                    <a:pt x="997" y="584"/>
                  </a:lnTo>
                  <a:lnTo>
                    <a:pt x="970" y="557"/>
                  </a:lnTo>
                  <a:lnTo>
                    <a:pt x="946" y="524"/>
                  </a:lnTo>
                  <a:lnTo>
                    <a:pt x="943" y="503"/>
                  </a:lnTo>
                  <a:lnTo>
                    <a:pt x="925" y="497"/>
                  </a:lnTo>
                  <a:lnTo>
                    <a:pt x="904" y="506"/>
                  </a:lnTo>
                  <a:lnTo>
                    <a:pt x="871" y="488"/>
                  </a:lnTo>
                  <a:lnTo>
                    <a:pt x="853" y="527"/>
                  </a:lnTo>
                  <a:lnTo>
                    <a:pt x="823" y="530"/>
                  </a:lnTo>
                  <a:lnTo>
                    <a:pt x="802" y="563"/>
                  </a:lnTo>
                  <a:lnTo>
                    <a:pt x="791" y="554"/>
                  </a:lnTo>
                  <a:lnTo>
                    <a:pt x="770" y="563"/>
                  </a:lnTo>
                  <a:lnTo>
                    <a:pt x="740" y="545"/>
                  </a:lnTo>
                  <a:lnTo>
                    <a:pt x="713" y="572"/>
                  </a:lnTo>
                  <a:lnTo>
                    <a:pt x="713" y="587"/>
                  </a:lnTo>
                  <a:lnTo>
                    <a:pt x="764" y="614"/>
                  </a:lnTo>
                  <a:lnTo>
                    <a:pt x="776" y="635"/>
                  </a:lnTo>
                  <a:lnTo>
                    <a:pt x="740" y="647"/>
                  </a:lnTo>
                  <a:lnTo>
                    <a:pt x="683" y="647"/>
                  </a:lnTo>
                  <a:lnTo>
                    <a:pt x="677" y="623"/>
                  </a:lnTo>
                  <a:lnTo>
                    <a:pt x="656" y="617"/>
                  </a:lnTo>
                  <a:lnTo>
                    <a:pt x="623" y="635"/>
                  </a:lnTo>
                  <a:lnTo>
                    <a:pt x="599" y="626"/>
                  </a:lnTo>
                  <a:lnTo>
                    <a:pt x="599" y="596"/>
                  </a:lnTo>
                  <a:lnTo>
                    <a:pt x="587" y="581"/>
                  </a:lnTo>
                  <a:lnTo>
                    <a:pt x="587" y="566"/>
                  </a:lnTo>
                  <a:lnTo>
                    <a:pt x="554" y="560"/>
                  </a:lnTo>
                  <a:lnTo>
                    <a:pt x="545" y="569"/>
                  </a:lnTo>
                  <a:lnTo>
                    <a:pt x="551" y="590"/>
                  </a:lnTo>
                  <a:lnTo>
                    <a:pt x="524" y="602"/>
                  </a:lnTo>
                  <a:lnTo>
                    <a:pt x="518" y="617"/>
                  </a:lnTo>
                  <a:lnTo>
                    <a:pt x="524" y="638"/>
                  </a:lnTo>
                  <a:lnTo>
                    <a:pt x="467" y="704"/>
                  </a:lnTo>
                  <a:lnTo>
                    <a:pt x="476" y="782"/>
                  </a:lnTo>
                  <a:lnTo>
                    <a:pt x="449" y="806"/>
                  </a:lnTo>
                  <a:lnTo>
                    <a:pt x="437" y="791"/>
                  </a:lnTo>
                  <a:lnTo>
                    <a:pt x="383" y="824"/>
                  </a:lnTo>
                  <a:lnTo>
                    <a:pt x="362" y="812"/>
                  </a:lnTo>
                  <a:lnTo>
                    <a:pt x="281" y="659"/>
                  </a:lnTo>
                  <a:lnTo>
                    <a:pt x="251" y="635"/>
                  </a:lnTo>
                  <a:lnTo>
                    <a:pt x="224" y="629"/>
                  </a:lnTo>
                  <a:lnTo>
                    <a:pt x="212" y="608"/>
                  </a:lnTo>
                  <a:lnTo>
                    <a:pt x="227" y="587"/>
                  </a:lnTo>
                  <a:lnTo>
                    <a:pt x="206" y="569"/>
                  </a:lnTo>
                  <a:lnTo>
                    <a:pt x="176" y="590"/>
                  </a:lnTo>
                  <a:lnTo>
                    <a:pt x="149" y="596"/>
                  </a:lnTo>
                  <a:lnTo>
                    <a:pt x="131" y="512"/>
                  </a:lnTo>
                  <a:lnTo>
                    <a:pt x="128" y="494"/>
                  </a:lnTo>
                  <a:lnTo>
                    <a:pt x="122" y="363"/>
                  </a:lnTo>
                  <a:lnTo>
                    <a:pt x="98" y="297"/>
                  </a:lnTo>
                  <a:lnTo>
                    <a:pt x="116" y="282"/>
                  </a:lnTo>
                  <a:lnTo>
                    <a:pt x="65" y="186"/>
                  </a:lnTo>
                  <a:lnTo>
                    <a:pt x="0" y="138"/>
                  </a:lnTo>
                  <a:lnTo>
                    <a:pt x="9" y="108"/>
                  </a:lnTo>
                  <a:lnTo>
                    <a:pt x="18" y="99"/>
                  </a:lnTo>
                  <a:lnTo>
                    <a:pt x="110" y="84"/>
                  </a:lnTo>
                  <a:lnTo>
                    <a:pt x="170" y="102"/>
                  </a:lnTo>
                  <a:lnTo>
                    <a:pt x="206" y="93"/>
                  </a:lnTo>
                  <a:lnTo>
                    <a:pt x="221" y="114"/>
                  </a:lnTo>
                  <a:lnTo>
                    <a:pt x="266" y="159"/>
                  </a:lnTo>
                  <a:lnTo>
                    <a:pt x="302" y="153"/>
                  </a:lnTo>
                  <a:lnTo>
                    <a:pt x="302" y="126"/>
                  </a:lnTo>
                  <a:lnTo>
                    <a:pt x="311" y="108"/>
                  </a:lnTo>
                  <a:lnTo>
                    <a:pt x="347" y="93"/>
                  </a:lnTo>
                  <a:lnTo>
                    <a:pt x="362" y="117"/>
                  </a:lnTo>
                  <a:lnTo>
                    <a:pt x="383" y="102"/>
                  </a:lnTo>
                  <a:lnTo>
                    <a:pt x="410" y="105"/>
                  </a:lnTo>
                  <a:lnTo>
                    <a:pt x="410" y="10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2" name="Freeform 166"/>
            <p:cNvSpPr>
              <a:spLocks/>
            </p:cNvSpPr>
            <p:nvPr/>
          </p:nvSpPr>
          <p:spPr bwMode="auto">
            <a:xfrm>
              <a:off x="2911724" y="4022750"/>
              <a:ext cx="1524000" cy="1144587"/>
            </a:xfrm>
            <a:custGeom>
              <a:avLst/>
              <a:gdLst>
                <a:gd name="T0" fmla="*/ 175 w 1087"/>
                <a:gd name="T1" fmla="*/ 24 h 824"/>
                <a:gd name="T2" fmla="*/ 166 w 1087"/>
                <a:gd name="T3" fmla="*/ 8 h 824"/>
                <a:gd name="T4" fmla="*/ 195 w 1087"/>
                <a:gd name="T5" fmla="*/ 0 h 824"/>
                <a:gd name="T6" fmla="*/ 200 w 1087"/>
                <a:gd name="T7" fmla="*/ 15 h 824"/>
                <a:gd name="T8" fmla="*/ 226 w 1087"/>
                <a:gd name="T9" fmla="*/ 33 h 824"/>
                <a:gd name="T10" fmla="*/ 240 w 1087"/>
                <a:gd name="T11" fmla="*/ 33 h 824"/>
                <a:gd name="T12" fmla="*/ 250 w 1087"/>
                <a:gd name="T13" fmla="*/ 51 h 824"/>
                <a:gd name="T14" fmla="*/ 280 w 1087"/>
                <a:gd name="T15" fmla="*/ 49 h 824"/>
                <a:gd name="T16" fmla="*/ 290 w 1087"/>
                <a:gd name="T17" fmla="*/ 41 h 824"/>
                <a:gd name="T18" fmla="*/ 299 w 1087"/>
                <a:gd name="T19" fmla="*/ 49 h 824"/>
                <a:gd name="T20" fmla="*/ 331 w 1087"/>
                <a:gd name="T21" fmla="*/ 46 h 824"/>
                <a:gd name="T22" fmla="*/ 337 w 1087"/>
                <a:gd name="T23" fmla="*/ 51 h 824"/>
                <a:gd name="T24" fmla="*/ 367 w 1087"/>
                <a:gd name="T25" fmla="*/ 64 h 824"/>
                <a:gd name="T26" fmla="*/ 406 w 1087"/>
                <a:gd name="T27" fmla="*/ 67 h 824"/>
                <a:gd name="T28" fmla="*/ 425 w 1087"/>
                <a:gd name="T29" fmla="*/ 72 h 824"/>
                <a:gd name="T30" fmla="*/ 441 w 1087"/>
                <a:gd name="T31" fmla="*/ 80 h 824"/>
                <a:gd name="T32" fmla="*/ 443 w 1087"/>
                <a:gd name="T33" fmla="*/ 103 h 824"/>
                <a:gd name="T34" fmla="*/ 421 w 1087"/>
                <a:gd name="T35" fmla="*/ 111 h 824"/>
                <a:gd name="T36" fmla="*/ 386 w 1087"/>
                <a:gd name="T37" fmla="*/ 121 h 824"/>
                <a:gd name="T38" fmla="*/ 393 w 1087"/>
                <a:gd name="T39" fmla="*/ 140 h 824"/>
                <a:gd name="T40" fmla="*/ 419 w 1087"/>
                <a:gd name="T41" fmla="*/ 160 h 824"/>
                <a:gd name="T42" fmla="*/ 407 w 1087"/>
                <a:gd name="T43" fmla="*/ 192 h 824"/>
                <a:gd name="T44" fmla="*/ 386 w 1087"/>
                <a:gd name="T45" fmla="*/ 172 h 824"/>
                <a:gd name="T46" fmla="*/ 379 w 1087"/>
                <a:gd name="T47" fmla="*/ 163 h 824"/>
                <a:gd name="T48" fmla="*/ 356 w 1087"/>
                <a:gd name="T49" fmla="*/ 160 h 824"/>
                <a:gd name="T50" fmla="*/ 337 w 1087"/>
                <a:gd name="T51" fmla="*/ 173 h 824"/>
                <a:gd name="T52" fmla="*/ 323 w 1087"/>
                <a:gd name="T53" fmla="*/ 182 h 824"/>
                <a:gd name="T54" fmla="*/ 303 w 1087"/>
                <a:gd name="T55" fmla="*/ 179 h 824"/>
                <a:gd name="T56" fmla="*/ 290 w 1087"/>
                <a:gd name="T57" fmla="*/ 193 h 824"/>
                <a:gd name="T58" fmla="*/ 317 w 1087"/>
                <a:gd name="T59" fmla="*/ 208 h 824"/>
                <a:gd name="T60" fmla="*/ 280 w 1087"/>
                <a:gd name="T61" fmla="*/ 212 h 824"/>
                <a:gd name="T62" fmla="*/ 269 w 1087"/>
                <a:gd name="T63" fmla="*/ 202 h 824"/>
                <a:gd name="T64" fmla="*/ 245 w 1087"/>
                <a:gd name="T65" fmla="*/ 206 h 824"/>
                <a:gd name="T66" fmla="*/ 240 w 1087"/>
                <a:gd name="T67" fmla="*/ 191 h 824"/>
                <a:gd name="T68" fmla="*/ 228 w 1087"/>
                <a:gd name="T69" fmla="*/ 184 h 824"/>
                <a:gd name="T70" fmla="*/ 226 w 1087"/>
                <a:gd name="T71" fmla="*/ 193 h 824"/>
                <a:gd name="T72" fmla="*/ 211 w 1087"/>
                <a:gd name="T73" fmla="*/ 202 h 824"/>
                <a:gd name="T74" fmla="*/ 191 w 1087"/>
                <a:gd name="T75" fmla="*/ 231 h 824"/>
                <a:gd name="T76" fmla="*/ 183 w 1087"/>
                <a:gd name="T77" fmla="*/ 264 h 824"/>
                <a:gd name="T78" fmla="*/ 156 w 1087"/>
                <a:gd name="T79" fmla="*/ 269 h 824"/>
                <a:gd name="T80" fmla="*/ 115 w 1087"/>
                <a:gd name="T81" fmla="*/ 216 h 824"/>
                <a:gd name="T82" fmla="*/ 92 w 1087"/>
                <a:gd name="T83" fmla="*/ 207 h 824"/>
                <a:gd name="T84" fmla="*/ 93 w 1087"/>
                <a:gd name="T85" fmla="*/ 193 h 824"/>
                <a:gd name="T86" fmla="*/ 71 w 1087"/>
                <a:gd name="T87" fmla="*/ 193 h 824"/>
                <a:gd name="T88" fmla="*/ 54 w 1087"/>
                <a:gd name="T89" fmla="*/ 167 h 824"/>
                <a:gd name="T90" fmla="*/ 49 w 1087"/>
                <a:gd name="T91" fmla="*/ 118 h 824"/>
                <a:gd name="T92" fmla="*/ 48 w 1087"/>
                <a:gd name="T93" fmla="*/ 92 h 824"/>
                <a:gd name="T94" fmla="*/ 0 w 1087"/>
                <a:gd name="T95" fmla="*/ 46 h 824"/>
                <a:gd name="T96" fmla="*/ 7 w 1087"/>
                <a:gd name="T97" fmla="*/ 33 h 824"/>
                <a:gd name="T98" fmla="*/ 69 w 1087"/>
                <a:gd name="T99" fmla="*/ 33 h 824"/>
                <a:gd name="T100" fmla="*/ 91 w 1087"/>
                <a:gd name="T101" fmla="*/ 37 h 824"/>
                <a:gd name="T102" fmla="*/ 123 w 1087"/>
                <a:gd name="T103" fmla="*/ 51 h 824"/>
                <a:gd name="T104" fmla="*/ 127 w 1087"/>
                <a:gd name="T105" fmla="*/ 36 h 824"/>
                <a:gd name="T106" fmla="*/ 147 w 1087"/>
                <a:gd name="T107" fmla="*/ 38 h 824"/>
                <a:gd name="T108" fmla="*/ 167 w 1087"/>
                <a:gd name="T109" fmla="*/ 34 h 8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7" h="824">
                  <a:moveTo>
                    <a:pt x="410" y="102"/>
                  </a:moveTo>
                  <a:lnTo>
                    <a:pt x="425" y="72"/>
                  </a:lnTo>
                  <a:lnTo>
                    <a:pt x="410" y="54"/>
                  </a:lnTo>
                  <a:lnTo>
                    <a:pt x="407" y="24"/>
                  </a:lnTo>
                  <a:lnTo>
                    <a:pt x="464" y="0"/>
                  </a:lnTo>
                  <a:lnTo>
                    <a:pt x="476" y="0"/>
                  </a:lnTo>
                  <a:lnTo>
                    <a:pt x="485" y="21"/>
                  </a:lnTo>
                  <a:lnTo>
                    <a:pt x="488" y="48"/>
                  </a:lnTo>
                  <a:lnTo>
                    <a:pt x="515" y="66"/>
                  </a:lnTo>
                  <a:lnTo>
                    <a:pt x="551" y="102"/>
                  </a:lnTo>
                  <a:lnTo>
                    <a:pt x="572" y="90"/>
                  </a:lnTo>
                  <a:lnTo>
                    <a:pt x="587" y="102"/>
                  </a:lnTo>
                  <a:lnTo>
                    <a:pt x="590" y="138"/>
                  </a:lnTo>
                  <a:lnTo>
                    <a:pt x="614" y="156"/>
                  </a:lnTo>
                  <a:lnTo>
                    <a:pt x="674" y="159"/>
                  </a:lnTo>
                  <a:lnTo>
                    <a:pt x="683" y="150"/>
                  </a:lnTo>
                  <a:lnTo>
                    <a:pt x="680" y="132"/>
                  </a:lnTo>
                  <a:lnTo>
                    <a:pt x="713" y="123"/>
                  </a:lnTo>
                  <a:lnTo>
                    <a:pt x="731" y="129"/>
                  </a:lnTo>
                  <a:lnTo>
                    <a:pt x="734" y="150"/>
                  </a:lnTo>
                  <a:lnTo>
                    <a:pt x="749" y="150"/>
                  </a:lnTo>
                  <a:lnTo>
                    <a:pt x="808" y="138"/>
                  </a:lnTo>
                  <a:lnTo>
                    <a:pt x="820" y="144"/>
                  </a:lnTo>
                  <a:lnTo>
                    <a:pt x="823" y="159"/>
                  </a:lnTo>
                  <a:lnTo>
                    <a:pt x="847" y="168"/>
                  </a:lnTo>
                  <a:lnTo>
                    <a:pt x="898" y="192"/>
                  </a:lnTo>
                  <a:lnTo>
                    <a:pt x="928" y="180"/>
                  </a:lnTo>
                  <a:lnTo>
                    <a:pt x="994" y="204"/>
                  </a:lnTo>
                  <a:lnTo>
                    <a:pt x="1006" y="222"/>
                  </a:lnTo>
                  <a:lnTo>
                    <a:pt x="1039" y="216"/>
                  </a:lnTo>
                  <a:lnTo>
                    <a:pt x="1057" y="216"/>
                  </a:lnTo>
                  <a:lnTo>
                    <a:pt x="1078" y="243"/>
                  </a:lnTo>
                  <a:lnTo>
                    <a:pt x="1087" y="297"/>
                  </a:lnTo>
                  <a:lnTo>
                    <a:pt x="1081" y="315"/>
                  </a:lnTo>
                  <a:lnTo>
                    <a:pt x="1069" y="309"/>
                  </a:lnTo>
                  <a:lnTo>
                    <a:pt x="1030" y="339"/>
                  </a:lnTo>
                  <a:lnTo>
                    <a:pt x="964" y="351"/>
                  </a:lnTo>
                  <a:lnTo>
                    <a:pt x="946" y="369"/>
                  </a:lnTo>
                  <a:lnTo>
                    <a:pt x="958" y="387"/>
                  </a:lnTo>
                  <a:lnTo>
                    <a:pt x="961" y="426"/>
                  </a:lnTo>
                  <a:lnTo>
                    <a:pt x="979" y="432"/>
                  </a:lnTo>
                  <a:lnTo>
                    <a:pt x="1024" y="488"/>
                  </a:lnTo>
                  <a:lnTo>
                    <a:pt x="1027" y="563"/>
                  </a:lnTo>
                  <a:lnTo>
                    <a:pt x="997" y="584"/>
                  </a:lnTo>
                  <a:lnTo>
                    <a:pt x="970" y="557"/>
                  </a:lnTo>
                  <a:lnTo>
                    <a:pt x="946" y="524"/>
                  </a:lnTo>
                  <a:lnTo>
                    <a:pt x="943" y="503"/>
                  </a:lnTo>
                  <a:lnTo>
                    <a:pt x="925" y="497"/>
                  </a:lnTo>
                  <a:lnTo>
                    <a:pt x="904" y="506"/>
                  </a:lnTo>
                  <a:lnTo>
                    <a:pt x="871" y="488"/>
                  </a:lnTo>
                  <a:lnTo>
                    <a:pt x="853" y="527"/>
                  </a:lnTo>
                  <a:lnTo>
                    <a:pt x="823" y="530"/>
                  </a:lnTo>
                  <a:lnTo>
                    <a:pt x="802" y="563"/>
                  </a:lnTo>
                  <a:lnTo>
                    <a:pt x="791" y="554"/>
                  </a:lnTo>
                  <a:lnTo>
                    <a:pt x="770" y="563"/>
                  </a:lnTo>
                  <a:lnTo>
                    <a:pt x="740" y="545"/>
                  </a:lnTo>
                  <a:lnTo>
                    <a:pt x="713" y="572"/>
                  </a:lnTo>
                  <a:lnTo>
                    <a:pt x="713" y="587"/>
                  </a:lnTo>
                  <a:lnTo>
                    <a:pt x="764" y="614"/>
                  </a:lnTo>
                  <a:lnTo>
                    <a:pt x="776" y="635"/>
                  </a:lnTo>
                  <a:lnTo>
                    <a:pt x="740" y="647"/>
                  </a:lnTo>
                  <a:lnTo>
                    <a:pt x="683" y="647"/>
                  </a:lnTo>
                  <a:lnTo>
                    <a:pt x="677" y="623"/>
                  </a:lnTo>
                  <a:lnTo>
                    <a:pt x="656" y="617"/>
                  </a:lnTo>
                  <a:lnTo>
                    <a:pt x="623" y="635"/>
                  </a:lnTo>
                  <a:lnTo>
                    <a:pt x="599" y="626"/>
                  </a:lnTo>
                  <a:lnTo>
                    <a:pt x="599" y="596"/>
                  </a:lnTo>
                  <a:lnTo>
                    <a:pt x="587" y="581"/>
                  </a:lnTo>
                  <a:lnTo>
                    <a:pt x="587" y="566"/>
                  </a:lnTo>
                  <a:lnTo>
                    <a:pt x="554" y="560"/>
                  </a:lnTo>
                  <a:lnTo>
                    <a:pt x="545" y="569"/>
                  </a:lnTo>
                  <a:lnTo>
                    <a:pt x="551" y="590"/>
                  </a:lnTo>
                  <a:lnTo>
                    <a:pt x="524" y="602"/>
                  </a:lnTo>
                  <a:lnTo>
                    <a:pt x="518" y="617"/>
                  </a:lnTo>
                  <a:lnTo>
                    <a:pt x="524" y="638"/>
                  </a:lnTo>
                  <a:lnTo>
                    <a:pt x="467" y="704"/>
                  </a:lnTo>
                  <a:lnTo>
                    <a:pt x="476" y="782"/>
                  </a:lnTo>
                  <a:lnTo>
                    <a:pt x="449" y="806"/>
                  </a:lnTo>
                  <a:lnTo>
                    <a:pt x="437" y="791"/>
                  </a:lnTo>
                  <a:lnTo>
                    <a:pt x="383" y="824"/>
                  </a:lnTo>
                  <a:lnTo>
                    <a:pt x="362" y="812"/>
                  </a:lnTo>
                  <a:lnTo>
                    <a:pt x="281" y="659"/>
                  </a:lnTo>
                  <a:lnTo>
                    <a:pt x="251" y="635"/>
                  </a:lnTo>
                  <a:lnTo>
                    <a:pt x="224" y="629"/>
                  </a:lnTo>
                  <a:lnTo>
                    <a:pt x="212" y="608"/>
                  </a:lnTo>
                  <a:lnTo>
                    <a:pt x="227" y="587"/>
                  </a:lnTo>
                  <a:lnTo>
                    <a:pt x="206" y="569"/>
                  </a:lnTo>
                  <a:lnTo>
                    <a:pt x="176" y="590"/>
                  </a:lnTo>
                  <a:lnTo>
                    <a:pt x="149" y="596"/>
                  </a:lnTo>
                  <a:lnTo>
                    <a:pt x="131" y="512"/>
                  </a:lnTo>
                  <a:lnTo>
                    <a:pt x="128" y="494"/>
                  </a:lnTo>
                  <a:lnTo>
                    <a:pt x="122" y="363"/>
                  </a:lnTo>
                  <a:lnTo>
                    <a:pt x="98" y="297"/>
                  </a:lnTo>
                  <a:lnTo>
                    <a:pt x="116" y="282"/>
                  </a:lnTo>
                  <a:lnTo>
                    <a:pt x="65" y="186"/>
                  </a:lnTo>
                  <a:lnTo>
                    <a:pt x="0" y="138"/>
                  </a:lnTo>
                  <a:lnTo>
                    <a:pt x="9" y="108"/>
                  </a:lnTo>
                  <a:lnTo>
                    <a:pt x="18" y="99"/>
                  </a:lnTo>
                  <a:lnTo>
                    <a:pt x="110" y="84"/>
                  </a:lnTo>
                  <a:lnTo>
                    <a:pt x="170" y="102"/>
                  </a:lnTo>
                  <a:lnTo>
                    <a:pt x="206" y="93"/>
                  </a:lnTo>
                  <a:lnTo>
                    <a:pt x="221" y="114"/>
                  </a:lnTo>
                  <a:lnTo>
                    <a:pt x="266" y="159"/>
                  </a:lnTo>
                  <a:lnTo>
                    <a:pt x="302" y="153"/>
                  </a:lnTo>
                  <a:lnTo>
                    <a:pt x="302" y="126"/>
                  </a:lnTo>
                  <a:lnTo>
                    <a:pt x="311" y="108"/>
                  </a:lnTo>
                  <a:lnTo>
                    <a:pt x="347" y="93"/>
                  </a:lnTo>
                  <a:lnTo>
                    <a:pt x="362" y="117"/>
                  </a:lnTo>
                  <a:lnTo>
                    <a:pt x="383" y="102"/>
                  </a:lnTo>
                  <a:lnTo>
                    <a:pt x="410" y="105"/>
                  </a:lnTo>
                  <a:lnTo>
                    <a:pt x="410" y="102"/>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3" name="Freeform 167"/>
            <p:cNvSpPr>
              <a:spLocks/>
            </p:cNvSpPr>
            <p:nvPr/>
          </p:nvSpPr>
          <p:spPr bwMode="auto">
            <a:xfrm>
              <a:off x="687636" y="3590950"/>
              <a:ext cx="2403475" cy="1289050"/>
            </a:xfrm>
            <a:custGeom>
              <a:avLst/>
              <a:gdLst>
                <a:gd name="T0" fmla="*/ 427 w 1713"/>
                <a:gd name="T1" fmla="*/ 290 h 928"/>
                <a:gd name="T2" fmla="*/ 439 w 1713"/>
                <a:gd name="T3" fmla="*/ 301 h 928"/>
                <a:gd name="T4" fmla="*/ 475 w 1713"/>
                <a:gd name="T5" fmla="*/ 290 h 928"/>
                <a:gd name="T6" fmla="*/ 497 w 1713"/>
                <a:gd name="T7" fmla="*/ 276 h 928"/>
                <a:gd name="T8" fmla="*/ 524 w 1713"/>
                <a:gd name="T9" fmla="*/ 269 h 928"/>
                <a:gd name="T10" fmla="*/ 553 w 1713"/>
                <a:gd name="T11" fmla="*/ 262 h 928"/>
                <a:gd name="T12" fmla="*/ 597 w 1713"/>
                <a:gd name="T13" fmla="*/ 254 h 928"/>
                <a:gd name="T14" fmla="*/ 598 w 1713"/>
                <a:gd name="T15" fmla="*/ 269 h 928"/>
                <a:gd name="T16" fmla="*/ 613 w 1713"/>
                <a:gd name="T17" fmla="*/ 270 h 928"/>
                <a:gd name="T18" fmla="*/ 604 w 1713"/>
                <a:gd name="T19" fmla="*/ 288 h 928"/>
                <a:gd name="T20" fmla="*/ 613 w 1713"/>
                <a:gd name="T21" fmla="*/ 290 h 928"/>
                <a:gd name="T22" fmla="*/ 651 w 1713"/>
                <a:gd name="T23" fmla="*/ 288 h 928"/>
                <a:gd name="T24" fmla="*/ 675 w 1713"/>
                <a:gd name="T25" fmla="*/ 294 h 928"/>
                <a:gd name="T26" fmla="*/ 684 w 1713"/>
                <a:gd name="T27" fmla="*/ 299 h 928"/>
                <a:gd name="T28" fmla="*/ 687 w 1713"/>
                <a:gd name="T29" fmla="*/ 276 h 928"/>
                <a:gd name="T30" fmla="*/ 703 w 1713"/>
                <a:gd name="T31" fmla="*/ 263 h 928"/>
                <a:gd name="T32" fmla="*/ 692 w 1713"/>
                <a:gd name="T33" fmla="*/ 200 h 928"/>
                <a:gd name="T34" fmla="*/ 677 w 1713"/>
                <a:gd name="T35" fmla="*/ 163 h 928"/>
                <a:gd name="T36" fmla="*/ 643 w 1713"/>
                <a:gd name="T37" fmla="*/ 150 h 928"/>
                <a:gd name="T38" fmla="*/ 622 w 1713"/>
                <a:gd name="T39" fmla="*/ 184 h 928"/>
                <a:gd name="T40" fmla="*/ 582 w 1713"/>
                <a:gd name="T41" fmla="*/ 166 h 928"/>
                <a:gd name="T42" fmla="*/ 506 w 1713"/>
                <a:gd name="T43" fmla="*/ 146 h 928"/>
                <a:gd name="T44" fmla="*/ 477 w 1713"/>
                <a:gd name="T45" fmla="*/ 140 h 928"/>
                <a:gd name="T46" fmla="*/ 417 w 1713"/>
                <a:gd name="T47" fmla="*/ 120 h 928"/>
                <a:gd name="T48" fmla="*/ 388 w 1713"/>
                <a:gd name="T49" fmla="*/ 64 h 928"/>
                <a:gd name="T50" fmla="*/ 400 w 1713"/>
                <a:gd name="T51" fmla="*/ 48 h 928"/>
                <a:gd name="T52" fmla="*/ 398 w 1713"/>
                <a:gd name="T53" fmla="*/ 24 h 928"/>
                <a:gd name="T54" fmla="*/ 402 w 1713"/>
                <a:gd name="T55" fmla="*/ 13 h 928"/>
                <a:gd name="T56" fmla="*/ 349 w 1713"/>
                <a:gd name="T57" fmla="*/ 0 h 928"/>
                <a:gd name="T58" fmla="*/ 312 w 1713"/>
                <a:gd name="T59" fmla="*/ 4 h 928"/>
                <a:gd name="T60" fmla="*/ 265 w 1713"/>
                <a:gd name="T61" fmla="*/ 17 h 928"/>
                <a:gd name="T62" fmla="*/ 219 w 1713"/>
                <a:gd name="T63" fmla="*/ 21 h 928"/>
                <a:gd name="T64" fmla="*/ 187 w 1713"/>
                <a:gd name="T65" fmla="*/ 8 h 928"/>
                <a:gd name="T66" fmla="*/ 135 w 1713"/>
                <a:gd name="T67" fmla="*/ 15 h 928"/>
                <a:gd name="T68" fmla="*/ 115 w 1713"/>
                <a:gd name="T69" fmla="*/ 6 h 928"/>
                <a:gd name="T70" fmla="*/ 76 w 1713"/>
                <a:gd name="T71" fmla="*/ 10 h 928"/>
                <a:gd name="T72" fmla="*/ 59 w 1713"/>
                <a:gd name="T73" fmla="*/ 30 h 928"/>
                <a:gd name="T74" fmla="*/ 47 w 1713"/>
                <a:gd name="T75" fmla="*/ 39 h 928"/>
                <a:gd name="T76" fmla="*/ 35 w 1713"/>
                <a:gd name="T77" fmla="*/ 46 h 928"/>
                <a:gd name="T78" fmla="*/ 28 w 1713"/>
                <a:gd name="T79" fmla="*/ 52 h 928"/>
                <a:gd name="T80" fmla="*/ 38 w 1713"/>
                <a:gd name="T81" fmla="*/ 71 h 928"/>
                <a:gd name="T82" fmla="*/ 36 w 1713"/>
                <a:gd name="T83" fmla="*/ 89 h 928"/>
                <a:gd name="T84" fmla="*/ 12 w 1713"/>
                <a:gd name="T85" fmla="*/ 81 h 928"/>
                <a:gd name="T86" fmla="*/ 0 w 1713"/>
                <a:gd name="T87" fmla="*/ 89 h 928"/>
                <a:gd name="T88" fmla="*/ 5 w 1713"/>
                <a:gd name="T89" fmla="*/ 105 h 928"/>
                <a:gd name="T90" fmla="*/ 5 w 1713"/>
                <a:gd name="T91" fmla="*/ 120 h 928"/>
                <a:gd name="T92" fmla="*/ 16 w 1713"/>
                <a:gd name="T93" fmla="*/ 126 h 928"/>
                <a:gd name="T94" fmla="*/ 47 w 1713"/>
                <a:gd name="T95" fmla="*/ 149 h 928"/>
                <a:gd name="T96" fmla="*/ 65 w 1713"/>
                <a:gd name="T97" fmla="*/ 172 h 928"/>
                <a:gd name="T98" fmla="*/ 78 w 1713"/>
                <a:gd name="T99" fmla="*/ 179 h 928"/>
                <a:gd name="T100" fmla="*/ 100 w 1713"/>
                <a:gd name="T101" fmla="*/ 178 h 928"/>
                <a:gd name="T102" fmla="*/ 150 w 1713"/>
                <a:gd name="T103" fmla="*/ 222 h 928"/>
                <a:gd name="T104" fmla="*/ 165 w 1713"/>
                <a:gd name="T105" fmla="*/ 216 h 928"/>
                <a:gd name="T106" fmla="*/ 168 w 1713"/>
                <a:gd name="T107" fmla="*/ 233 h 928"/>
                <a:gd name="T108" fmla="*/ 199 w 1713"/>
                <a:gd name="T109" fmla="*/ 246 h 928"/>
                <a:gd name="T110" fmla="*/ 224 w 1713"/>
                <a:gd name="T111" fmla="*/ 265 h 928"/>
                <a:gd name="T112" fmla="*/ 230 w 1713"/>
                <a:gd name="T113" fmla="*/ 275 h 928"/>
                <a:gd name="T114" fmla="*/ 258 w 1713"/>
                <a:gd name="T115" fmla="*/ 275 h 928"/>
                <a:gd name="T116" fmla="*/ 308 w 1713"/>
                <a:gd name="T117" fmla="*/ 281 h 928"/>
                <a:gd name="T118" fmla="*/ 329 w 1713"/>
                <a:gd name="T119" fmla="*/ 286 h 928"/>
                <a:gd name="T120" fmla="*/ 329 w 1713"/>
                <a:gd name="T121" fmla="*/ 304 h 928"/>
                <a:gd name="T122" fmla="*/ 372 w 1713"/>
                <a:gd name="T123" fmla="*/ 277 h 928"/>
                <a:gd name="T124" fmla="*/ 406 w 1713"/>
                <a:gd name="T125" fmla="*/ 288 h 9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713" h="928">
                  <a:moveTo>
                    <a:pt x="988" y="880"/>
                  </a:moveTo>
                  <a:lnTo>
                    <a:pt x="1042" y="886"/>
                  </a:lnTo>
                  <a:lnTo>
                    <a:pt x="1060" y="910"/>
                  </a:lnTo>
                  <a:lnTo>
                    <a:pt x="1069" y="916"/>
                  </a:lnTo>
                  <a:lnTo>
                    <a:pt x="1150" y="901"/>
                  </a:lnTo>
                  <a:lnTo>
                    <a:pt x="1156" y="886"/>
                  </a:lnTo>
                  <a:lnTo>
                    <a:pt x="1171" y="877"/>
                  </a:lnTo>
                  <a:lnTo>
                    <a:pt x="1210" y="844"/>
                  </a:lnTo>
                  <a:lnTo>
                    <a:pt x="1246" y="841"/>
                  </a:lnTo>
                  <a:lnTo>
                    <a:pt x="1276" y="820"/>
                  </a:lnTo>
                  <a:lnTo>
                    <a:pt x="1339" y="788"/>
                  </a:lnTo>
                  <a:lnTo>
                    <a:pt x="1345" y="799"/>
                  </a:lnTo>
                  <a:lnTo>
                    <a:pt x="1390" y="814"/>
                  </a:lnTo>
                  <a:lnTo>
                    <a:pt x="1456" y="779"/>
                  </a:lnTo>
                  <a:lnTo>
                    <a:pt x="1477" y="794"/>
                  </a:lnTo>
                  <a:lnTo>
                    <a:pt x="1459" y="820"/>
                  </a:lnTo>
                  <a:lnTo>
                    <a:pt x="1465" y="826"/>
                  </a:lnTo>
                  <a:lnTo>
                    <a:pt x="1492" y="826"/>
                  </a:lnTo>
                  <a:lnTo>
                    <a:pt x="1495" y="838"/>
                  </a:lnTo>
                  <a:lnTo>
                    <a:pt x="1471" y="880"/>
                  </a:lnTo>
                  <a:lnTo>
                    <a:pt x="1480" y="886"/>
                  </a:lnTo>
                  <a:lnTo>
                    <a:pt x="1492" y="886"/>
                  </a:lnTo>
                  <a:lnTo>
                    <a:pt x="1558" y="904"/>
                  </a:lnTo>
                  <a:lnTo>
                    <a:pt x="1588" y="880"/>
                  </a:lnTo>
                  <a:lnTo>
                    <a:pt x="1630" y="913"/>
                  </a:lnTo>
                  <a:lnTo>
                    <a:pt x="1644" y="898"/>
                  </a:lnTo>
                  <a:lnTo>
                    <a:pt x="1656" y="910"/>
                  </a:lnTo>
                  <a:lnTo>
                    <a:pt x="1668" y="910"/>
                  </a:lnTo>
                  <a:lnTo>
                    <a:pt x="1677" y="898"/>
                  </a:lnTo>
                  <a:lnTo>
                    <a:pt x="1674" y="844"/>
                  </a:lnTo>
                  <a:lnTo>
                    <a:pt x="1683" y="838"/>
                  </a:lnTo>
                  <a:lnTo>
                    <a:pt x="1713" y="805"/>
                  </a:lnTo>
                  <a:lnTo>
                    <a:pt x="1707" y="674"/>
                  </a:lnTo>
                  <a:lnTo>
                    <a:pt x="1683" y="608"/>
                  </a:lnTo>
                  <a:lnTo>
                    <a:pt x="1701" y="593"/>
                  </a:lnTo>
                  <a:lnTo>
                    <a:pt x="1650" y="497"/>
                  </a:lnTo>
                  <a:lnTo>
                    <a:pt x="1585" y="449"/>
                  </a:lnTo>
                  <a:lnTo>
                    <a:pt x="1567" y="461"/>
                  </a:lnTo>
                  <a:lnTo>
                    <a:pt x="1570" y="488"/>
                  </a:lnTo>
                  <a:lnTo>
                    <a:pt x="1516" y="560"/>
                  </a:lnTo>
                  <a:lnTo>
                    <a:pt x="1423" y="542"/>
                  </a:lnTo>
                  <a:lnTo>
                    <a:pt x="1417" y="506"/>
                  </a:lnTo>
                  <a:lnTo>
                    <a:pt x="1360" y="461"/>
                  </a:lnTo>
                  <a:lnTo>
                    <a:pt x="1234" y="443"/>
                  </a:lnTo>
                  <a:lnTo>
                    <a:pt x="1180" y="431"/>
                  </a:lnTo>
                  <a:lnTo>
                    <a:pt x="1162" y="431"/>
                  </a:lnTo>
                  <a:lnTo>
                    <a:pt x="1114" y="392"/>
                  </a:lnTo>
                  <a:lnTo>
                    <a:pt x="1015" y="368"/>
                  </a:lnTo>
                  <a:lnTo>
                    <a:pt x="946" y="236"/>
                  </a:lnTo>
                  <a:lnTo>
                    <a:pt x="946" y="200"/>
                  </a:lnTo>
                  <a:lnTo>
                    <a:pt x="973" y="188"/>
                  </a:lnTo>
                  <a:lnTo>
                    <a:pt x="973" y="146"/>
                  </a:lnTo>
                  <a:lnTo>
                    <a:pt x="991" y="95"/>
                  </a:lnTo>
                  <a:lnTo>
                    <a:pt x="970" y="74"/>
                  </a:lnTo>
                  <a:lnTo>
                    <a:pt x="1000" y="48"/>
                  </a:lnTo>
                  <a:lnTo>
                    <a:pt x="982" y="39"/>
                  </a:lnTo>
                  <a:lnTo>
                    <a:pt x="934" y="39"/>
                  </a:lnTo>
                  <a:lnTo>
                    <a:pt x="854" y="0"/>
                  </a:lnTo>
                  <a:lnTo>
                    <a:pt x="803" y="0"/>
                  </a:lnTo>
                  <a:lnTo>
                    <a:pt x="761" y="12"/>
                  </a:lnTo>
                  <a:lnTo>
                    <a:pt x="716" y="12"/>
                  </a:lnTo>
                  <a:lnTo>
                    <a:pt x="644" y="51"/>
                  </a:lnTo>
                  <a:lnTo>
                    <a:pt x="587" y="45"/>
                  </a:lnTo>
                  <a:lnTo>
                    <a:pt x="533" y="65"/>
                  </a:lnTo>
                  <a:lnTo>
                    <a:pt x="485" y="48"/>
                  </a:lnTo>
                  <a:lnTo>
                    <a:pt x="455" y="24"/>
                  </a:lnTo>
                  <a:lnTo>
                    <a:pt x="380" y="12"/>
                  </a:lnTo>
                  <a:lnTo>
                    <a:pt x="329" y="48"/>
                  </a:lnTo>
                  <a:lnTo>
                    <a:pt x="302" y="36"/>
                  </a:lnTo>
                  <a:lnTo>
                    <a:pt x="281" y="18"/>
                  </a:lnTo>
                  <a:lnTo>
                    <a:pt x="224" y="3"/>
                  </a:lnTo>
                  <a:lnTo>
                    <a:pt x="185" y="30"/>
                  </a:lnTo>
                  <a:lnTo>
                    <a:pt x="170" y="71"/>
                  </a:lnTo>
                  <a:lnTo>
                    <a:pt x="141" y="89"/>
                  </a:lnTo>
                  <a:lnTo>
                    <a:pt x="135" y="113"/>
                  </a:lnTo>
                  <a:lnTo>
                    <a:pt x="114" y="119"/>
                  </a:lnTo>
                  <a:lnTo>
                    <a:pt x="93" y="119"/>
                  </a:lnTo>
                  <a:lnTo>
                    <a:pt x="84" y="137"/>
                  </a:lnTo>
                  <a:lnTo>
                    <a:pt x="78" y="161"/>
                  </a:lnTo>
                  <a:lnTo>
                    <a:pt x="69" y="161"/>
                  </a:lnTo>
                  <a:lnTo>
                    <a:pt x="66" y="188"/>
                  </a:lnTo>
                  <a:lnTo>
                    <a:pt x="93" y="215"/>
                  </a:lnTo>
                  <a:lnTo>
                    <a:pt x="96" y="254"/>
                  </a:lnTo>
                  <a:lnTo>
                    <a:pt x="87" y="269"/>
                  </a:lnTo>
                  <a:lnTo>
                    <a:pt x="48" y="272"/>
                  </a:lnTo>
                  <a:lnTo>
                    <a:pt x="27" y="251"/>
                  </a:lnTo>
                  <a:lnTo>
                    <a:pt x="6" y="254"/>
                  </a:lnTo>
                  <a:lnTo>
                    <a:pt x="0" y="272"/>
                  </a:lnTo>
                  <a:lnTo>
                    <a:pt x="12" y="299"/>
                  </a:lnTo>
                  <a:lnTo>
                    <a:pt x="15" y="320"/>
                  </a:lnTo>
                  <a:lnTo>
                    <a:pt x="15" y="347"/>
                  </a:lnTo>
                  <a:lnTo>
                    <a:pt x="9" y="368"/>
                  </a:lnTo>
                  <a:lnTo>
                    <a:pt x="12" y="383"/>
                  </a:lnTo>
                  <a:lnTo>
                    <a:pt x="39" y="386"/>
                  </a:lnTo>
                  <a:lnTo>
                    <a:pt x="54" y="410"/>
                  </a:lnTo>
                  <a:lnTo>
                    <a:pt x="114" y="458"/>
                  </a:lnTo>
                  <a:lnTo>
                    <a:pt x="114" y="473"/>
                  </a:lnTo>
                  <a:lnTo>
                    <a:pt x="158" y="524"/>
                  </a:lnTo>
                  <a:lnTo>
                    <a:pt x="173" y="542"/>
                  </a:lnTo>
                  <a:lnTo>
                    <a:pt x="188" y="545"/>
                  </a:lnTo>
                  <a:lnTo>
                    <a:pt x="215" y="518"/>
                  </a:lnTo>
                  <a:lnTo>
                    <a:pt x="242" y="542"/>
                  </a:lnTo>
                  <a:lnTo>
                    <a:pt x="344" y="629"/>
                  </a:lnTo>
                  <a:lnTo>
                    <a:pt x="365" y="677"/>
                  </a:lnTo>
                  <a:lnTo>
                    <a:pt x="386" y="677"/>
                  </a:lnTo>
                  <a:lnTo>
                    <a:pt x="401" y="662"/>
                  </a:lnTo>
                  <a:lnTo>
                    <a:pt x="410" y="674"/>
                  </a:lnTo>
                  <a:lnTo>
                    <a:pt x="410" y="713"/>
                  </a:lnTo>
                  <a:lnTo>
                    <a:pt x="473" y="749"/>
                  </a:lnTo>
                  <a:lnTo>
                    <a:pt x="485" y="746"/>
                  </a:lnTo>
                  <a:lnTo>
                    <a:pt x="497" y="779"/>
                  </a:lnTo>
                  <a:lnTo>
                    <a:pt x="548" y="808"/>
                  </a:lnTo>
                  <a:lnTo>
                    <a:pt x="551" y="829"/>
                  </a:lnTo>
                  <a:lnTo>
                    <a:pt x="560" y="835"/>
                  </a:lnTo>
                  <a:lnTo>
                    <a:pt x="605" y="835"/>
                  </a:lnTo>
                  <a:lnTo>
                    <a:pt x="629" y="835"/>
                  </a:lnTo>
                  <a:lnTo>
                    <a:pt x="665" y="862"/>
                  </a:lnTo>
                  <a:lnTo>
                    <a:pt x="749" y="859"/>
                  </a:lnTo>
                  <a:lnTo>
                    <a:pt x="791" y="856"/>
                  </a:lnTo>
                  <a:lnTo>
                    <a:pt x="803" y="874"/>
                  </a:lnTo>
                  <a:lnTo>
                    <a:pt x="794" y="913"/>
                  </a:lnTo>
                  <a:lnTo>
                    <a:pt x="803" y="928"/>
                  </a:lnTo>
                  <a:lnTo>
                    <a:pt x="851" y="889"/>
                  </a:lnTo>
                  <a:lnTo>
                    <a:pt x="907" y="847"/>
                  </a:lnTo>
                  <a:lnTo>
                    <a:pt x="946" y="856"/>
                  </a:lnTo>
                  <a:lnTo>
                    <a:pt x="988" y="880"/>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4" name="Freeform 168"/>
            <p:cNvSpPr>
              <a:spLocks/>
            </p:cNvSpPr>
            <p:nvPr/>
          </p:nvSpPr>
          <p:spPr bwMode="auto">
            <a:xfrm>
              <a:off x="687636" y="3590950"/>
              <a:ext cx="2403475" cy="1289050"/>
            </a:xfrm>
            <a:custGeom>
              <a:avLst/>
              <a:gdLst>
                <a:gd name="T0" fmla="*/ 427 w 1713"/>
                <a:gd name="T1" fmla="*/ 290 h 928"/>
                <a:gd name="T2" fmla="*/ 439 w 1713"/>
                <a:gd name="T3" fmla="*/ 301 h 928"/>
                <a:gd name="T4" fmla="*/ 475 w 1713"/>
                <a:gd name="T5" fmla="*/ 290 h 928"/>
                <a:gd name="T6" fmla="*/ 497 w 1713"/>
                <a:gd name="T7" fmla="*/ 276 h 928"/>
                <a:gd name="T8" fmla="*/ 524 w 1713"/>
                <a:gd name="T9" fmla="*/ 269 h 928"/>
                <a:gd name="T10" fmla="*/ 553 w 1713"/>
                <a:gd name="T11" fmla="*/ 262 h 928"/>
                <a:gd name="T12" fmla="*/ 597 w 1713"/>
                <a:gd name="T13" fmla="*/ 254 h 928"/>
                <a:gd name="T14" fmla="*/ 598 w 1713"/>
                <a:gd name="T15" fmla="*/ 269 h 928"/>
                <a:gd name="T16" fmla="*/ 613 w 1713"/>
                <a:gd name="T17" fmla="*/ 270 h 928"/>
                <a:gd name="T18" fmla="*/ 604 w 1713"/>
                <a:gd name="T19" fmla="*/ 288 h 928"/>
                <a:gd name="T20" fmla="*/ 613 w 1713"/>
                <a:gd name="T21" fmla="*/ 290 h 928"/>
                <a:gd name="T22" fmla="*/ 651 w 1713"/>
                <a:gd name="T23" fmla="*/ 288 h 928"/>
                <a:gd name="T24" fmla="*/ 675 w 1713"/>
                <a:gd name="T25" fmla="*/ 294 h 928"/>
                <a:gd name="T26" fmla="*/ 684 w 1713"/>
                <a:gd name="T27" fmla="*/ 299 h 928"/>
                <a:gd name="T28" fmla="*/ 687 w 1713"/>
                <a:gd name="T29" fmla="*/ 276 h 928"/>
                <a:gd name="T30" fmla="*/ 703 w 1713"/>
                <a:gd name="T31" fmla="*/ 263 h 928"/>
                <a:gd name="T32" fmla="*/ 692 w 1713"/>
                <a:gd name="T33" fmla="*/ 200 h 928"/>
                <a:gd name="T34" fmla="*/ 677 w 1713"/>
                <a:gd name="T35" fmla="*/ 163 h 928"/>
                <a:gd name="T36" fmla="*/ 643 w 1713"/>
                <a:gd name="T37" fmla="*/ 150 h 928"/>
                <a:gd name="T38" fmla="*/ 622 w 1713"/>
                <a:gd name="T39" fmla="*/ 184 h 928"/>
                <a:gd name="T40" fmla="*/ 582 w 1713"/>
                <a:gd name="T41" fmla="*/ 166 h 928"/>
                <a:gd name="T42" fmla="*/ 506 w 1713"/>
                <a:gd name="T43" fmla="*/ 146 h 928"/>
                <a:gd name="T44" fmla="*/ 477 w 1713"/>
                <a:gd name="T45" fmla="*/ 140 h 928"/>
                <a:gd name="T46" fmla="*/ 417 w 1713"/>
                <a:gd name="T47" fmla="*/ 120 h 928"/>
                <a:gd name="T48" fmla="*/ 388 w 1713"/>
                <a:gd name="T49" fmla="*/ 64 h 928"/>
                <a:gd name="T50" fmla="*/ 400 w 1713"/>
                <a:gd name="T51" fmla="*/ 48 h 928"/>
                <a:gd name="T52" fmla="*/ 398 w 1713"/>
                <a:gd name="T53" fmla="*/ 24 h 928"/>
                <a:gd name="T54" fmla="*/ 402 w 1713"/>
                <a:gd name="T55" fmla="*/ 13 h 928"/>
                <a:gd name="T56" fmla="*/ 349 w 1713"/>
                <a:gd name="T57" fmla="*/ 0 h 928"/>
                <a:gd name="T58" fmla="*/ 312 w 1713"/>
                <a:gd name="T59" fmla="*/ 4 h 928"/>
                <a:gd name="T60" fmla="*/ 265 w 1713"/>
                <a:gd name="T61" fmla="*/ 17 h 928"/>
                <a:gd name="T62" fmla="*/ 219 w 1713"/>
                <a:gd name="T63" fmla="*/ 21 h 928"/>
                <a:gd name="T64" fmla="*/ 187 w 1713"/>
                <a:gd name="T65" fmla="*/ 8 h 928"/>
                <a:gd name="T66" fmla="*/ 135 w 1713"/>
                <a:gd name="T67" fmla="*/ 15 h 928"/>
                <a:gd name="T68" fmla="*/ 115 w 1713"/>
                <a:gd name="T69" fmla="*/ 6 h 928"/>
                <a:gd name="T70" fmla="*/ 76 w 1713"/>
                <a:gd name="T71" fmla="*/ 10 h 928"/>
                <a:gd name="T72" fmla="*/ 59 w 1713"/>
                <a:gd name="T73" fmla="*/ 30 h 928"/>
                <a:gd name="T74" fmla="*/ 47 w 1713"/>
                <a:gd name="T75" fmla="*/ 39 h 928"/>
                <a:gd name="T76" fmla="*/ 35 w 1713"/>
                <a:gd name="T77" fmla="*/ 46 h 928"/>
                <a:gd name="T78" fmla="*/ 28 w 1713"/>
                <a:gd name="T79" fmla="*/ 52 h 928"/>
                <a:gd name="T80" fmla="*/ 38 w 1713"/>
                <a:gd name="T81" fmla="*/ 71 h 928"/>
                <a:gd name="T82" fmla="*/ 36 w 1713"/>
                <a:gd name="T83" fmla="*/ 89 h 928"/>
                <a:gd name="T84" fmla="*/ 12 w 1713"/>
                <a:gd name="T85" fmla="*/ 81 h 928"/>
                <a:gd name="T86" fmla="*/ 0 w 1713"/>
                <a:gd name="T87" fmla="*/ 89 h 928"/>
                <a:gd name="T88" fmla="*/ 5 w 1713"/>
                <a:gd name="T89" fmla="*/ 105 h 928"/>
                <a:gd name="T90" fmla="*/ 5 w 1713"/>
                <a:gd name="T91" fmla="*/ 120 h 928"/>
                <a:gd name="T92" fmla="*/ 16 w 1713"/>
                <a:gd name="T93" fmla="*/ 126 h 928"/>
                <a:gd name="T94" fmla="*/ 47 w 1713"/>
                <a:gd name="T95" fmla="*/ 149 h 928"/>
                <a:gd name="T96" fmla="*/ 65 w 1713"/>
                <a:gd name="T97" fmla="*/ 172 h 928"/>
                <a:gd name="T98" fmla="*/ 78 w 1713"/>
                <a:gd name="T99" fmla="*/ 179 h 928"/>
                <a:gd name="T100" fmla="*/ 100 w 1713"/>
                <a:gd name="T101" fmla="*/ 178 h 928"/>
                <a:gd name="T102" fmla="*/ 150 w 1713"/>
                <a:gd name="T103" fmla="*/ 222 h 928"/>
                <a:gd name="T104" fmla="*/ 165 w 1713"/>
                <a:gd name="T105" fmla="*/ 216 h 928"/>
                <a:gd name="T106" fmla="*/ 168 w 1713"/>
                <a:gd name="T107" fmla="*/ 233 h 928"/>
                <a:gd name="T108" fmla="*/ 199 w 1713"/>
                <a:gd name="T109" fmla="*/ 246 h 928"/>
                <a:gd name="T110" fmla="*/ 224 w 1713"/>
                <a:gd name="T111" fmla="*/ 265 h 928"/>
                <a:gd name="T112" fmla="*/ 230 w 1713"/>
                <a:gd name="T113" fmla="*/ 275 h 928"/>
                <a:gd name="T114" fmla="*/ 258 w 1713"/>
                <a:gd name="T115" fmla="*/ 275 h 928"/>
                <a:gd name="T116" fmla="*/ 308 w 1713"/>
                <a:gd name="T117" fmla="*/ 281 h 928"/>
                <a:gd name="T118" fmla="*/ 329 w 1713"/>
                <a:gd name="T119" fmla="*/ 286 h 928"/>
                <a:gd name="T120" fmla="*/ 329 w 1713"/>
                <a:gd name="T121" fmla="*/ 304 h 928"/>
                <a:gd name="T122" fmla="*/ 372 w 1713"/>
                <a:gd name="T123" fmla="*/ 277 h 928"/>
                <a:gd name="T124" fmla="*/ 406 w 1713"/>
                <a:gd name="T125" fmla="*/ 288 h 9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713" h="928">
                  <a:moveTo>
                    <a:pt x="988" y="880"/>
                  </a:moveTo>
                  <a:lnTo>
                    <a:pt x="1042" y="886"/>
                  </a:lnTo>
                  <a:lnTo>
                    <a:pt x="1060" y="910"/>
                  </a:lnTo>
                  <a:lnTo>
                    <a:pt x="1069" y="916"/>
                  </a:lnTo>
                  <a:lnTo>
                    <a:pt x="1150" y="901"/>
                  </a:lnTo>
                  <a:lnTo>
                    <a:pt x="1156" y="886"/>
                  </a:lnTo>
                  <a:lnTo>
                    <a:pt x="1171" y="877"/>
                  </a:lnTo>
                  <a:lnTo>
                    <a:pt x="1210" y="844"/>
                  </a:lnTo>
                  <a:lnTo>
                    <a:pt x="1246" y="841"/>
                  </a:lnTo>
                  <a:lnTo>
                    <a:pt x="1276" y="820"/>
                  </a:lnTo>
                  <a:lnTo>
                    <a:pt x="1339" y="788"/>
                  </a:lnTo>
                  <a:lnTo>
                    <a:pt x="1345" y="799"/>
                  </a:lnTo>
                  <a:lnTo>
                    <a:pt x="1390" y="814"/>
                  </a:lnTo>
                  <a:lnTo>
                    <a:pt x="1456" y="779"/>
                  </a:lnTo>
                  <a:lnTo>
                    <a:pt x="1477" y="794"/>
                  </a:lnTo>
                  <a:lnTo>
                    <a:pt x="1459" y="820"/>
                  </a:lnTo>
                  <a:lnTo>
                    <a:pt x="1465" y="826"/>
                  </a:lnTo>
                  <a:lnTo>
                    <a:pt x="1492" y="826"/>
                  </a:lnTo>
                  <a:lnTo>
                    <a:pt x="1495" y="838"/>
                  </a:lnTo>
                  <a:lnTo>
                    <a:pt x="1471" y="880"/>
                  </a:lnTo>
                  <a:lnTo>
                    <a:pt x="1480" y="886"/>
                  </a:lnTo>
                  <a:lnTo>
                    <a:pt x="1492" y="886"/>
                  </a:lnTo>
                  <a:lnTo>
                    <a:pt x="1558" y="904"/>
                  </a:lnTo>
                  <a:lnTo>
                    <a:pt x="1588" y="880"/>
                  </a:lnTo>
                  <a:lnTo>
                    <a:pt x="1630" y="913"/>
                  </a:lnTo>
                  <a:lnTo>
                    <a:pt x="1644" y="898"/>
                  </a:lnTo>
                  <a:lnTo>
                    <a:pt x="1656" y="910"/>
                  </a:lnTo>
                  <a:lnTo>
                    <a:pt x="1668" y="910"/>
                  </a:lnTo>
                  <a:lnTo>
                    <a:pt x="1677" y="898"/>
                  </a:lnTo>
                  <a:lnTo>
                    <a:pt x="1674" y="844"/>
                  </a:lnTo>
                  <a:lnTo>
                    <a:pt x="1683" y="838"/>
                  </a:lnTo>
                  <a:lnTo>
                    <a:pt x="1713" y="805"/>
                  </a:lnTo>
                  <a:lnTo>
                    <a:pt x="1707" y="674"/>
                  </a:lnTo>
                  <a:lnTo>
                    <a:pt x="1683" y="608"/>
                  </a:lnTo>
                  <a:lnTo>
                    <a:pt x="1701" y="593"/>
                  </a:lnTo>
                  <a:lnTo>
                    <a:pt x="1650" y="497"/>
                  </a:lnTo>
                  <a:lnTo>
                    <a:pt x="1585" y="449"/>
                  </a:lnTo>
                  <a:lnTo>
                    <a:pt x="1567" y="461"/>
                  </a:lnTo>
                  <a:lnTo>
                    <a:pt x="1570" y="488"/>
                  </a:lnTo>
                  <a:lnTo>
                    <a:pt x="1516" y="560"/>
                  </a:lnTo>
                  <a:lnTo>
                    <a:pt x="1423" y="542"/>
                  </a:lnTo>
                  <a:lnTo>
                    <a:pt x="1417" y="506"/>
                  </a:lnTo>
                  <a:lnTo>
                    <a:pt x="1360" y="461"/>
                  </a:lnTo>
                  <a:lnTo>
                    <a:pt x="1234" y="443"/>
                  </a:lnTo>
                  <a:lnTo>
                    <a:pt x="1180" y="431"/>
                  </a:lnTo>
                  <a:lnTo>
                    <a:pt x="1162" y="431"/>
                  </a:lnTo>
                  <a:lnTo>
                    <a:pt x="1114" y="392"/>
                  </a:lnTo>
                  <a:lnTo>
                    <a:pt x="1015" y="368"/>
                  </a:lnTo>
                  <a:lnTo>
                    <a:pt x="946" y="236"/>
                  </a:lnTo>
                  <a:lnTo>
                    <a:pt x="946" y="200"/>
                  </a:lnTo>
                  <a:lnTo>
                    <a:pt x="973" y="188"/>
                  </a:lnTo>
                  <a:lnTo>
                    <a:pt x="973" y="146"/>
                  </a:lnTo>
                  <a:lnTo>
                    <a:pt x="991" y="95"/>
                  </a:lnTo>
                  <a:lnTo>
                    <a:pt x="970" y="74"/>
                  </a:lnTo>
                  <a:lnTo>
                    <a:pt x="1000" y="48"/>
                  </a:lnTo>
                  <a:lnTo>
                    <a:pt x="982" y="39"/>
                  </a:lnTo>
                  <a:lnTo>
                    <a:pt x="934" y="39"/>
                  </a:lnTo>
                  <a:lnTo>
                    <a:pt x="854" y="0"/>
                  </a:lnTo>
                  <a:lnTo>
                    <a:pt x="803" y="0"/>
                  </a:lnTo>
                  <a:lnTo>
                    <a:pt x="761" y="12"/>
                  </a:lnTo>
                  <a:lnTo>
                    <a:pt x="716" y="12"/>
                  </a:lnTo>
                  <a:lnTo>
                    <a:pt x="644" y="51"/>
                  </a:lnTo>
                  <a:lnTo>
                    <a:pt x="587" y="45"/>
                  </a:lnTo>
                  <a:lnTo>
                    <a:pt x="533" y="65"/>
                  </a:lnTo>
                  <a:lnTo>
                    <a:pt x="485" y="48"/>
                  </a:lnTo>
                  <a:lnTo>
                    <a:pt x="455" y="24"/>
                  </a:lnTo>
                  <a:lnTo>
                    <a:pt x="380" y="12"/>
                  </a:lnTo>
                  <a:lnTo>
                    <a:pt x="329" y="48"/>
                  </a:lnTo>
                  <a:lnTo>
                    <a:pt x="302" y="36"/>
                  </a:lnTo>
                  <a:lnTo>
                    <a:pt x="281" y="18"/>
                  </a:lnTo>
                  <a:lnTo>
                    <a:pt x="224" y="3"/>
                  </a:lnTo>
                  <a:lnTo>
                    <a:pt x="185" y="30"/>
                  </a:lnTo>
                  <a:lnTo>
                    <a:pt x="170" y="71"/>
                  </a:lnTo>
                  <a:lnTo>
                    <a:pt x="141" y="89"/>
                  </a:lnTo>
                  <a:lnTo>
                    <a:pt x="135" y="113"/>
                  </a:lnTo>
                  <a:lnTo>
                    <a:pt x="114" y="119"/>
                  </a:lnTo>
                  <a:lnTo>
                    <a:pt x="93" y="119"/>
                  </a:lnTo>
                  <a:lnTo>
                    <a:pt x="84" y="137"/>
                  </a:lnTo>
                  <a:lnTo>
                    <a:pt x="78" y="161"/>
                  </a:lnTo>
                  <a:lnTo>
                    <a:pt x="69" y="161"/>
                  </a:lnTo>
                  <a:lnTo>
                    <a:pt x="66" y="188"/>
                  </a:lnTo>
                  <a:lnTo>
                    <a:pt x="93" y="215"/>
                  </a:lnTo>
                  <a:lnTo>
                    <a:pt x="96" y="254"/>
                  </a:lnTo>
                  <a:lnTo>
                    <a:pt x="87" y="269"/>
                  </a:lnTo>
                  <a:lnTo>
                    <a:pt x="48" y="272"/>
                  </a:lnTo>
                  <a:lnTo>
                    <a:pt x="27" y="251"/>
                  </a:lnTo>
                  <a:lnTo>
                    <a:pt x="6" y="254"/>
                  </a:lnTo>
                  <a:lnTo>
                    <a:pt x="0" y="272"/>
                  </a:lnTo>
                  <a:lnTo>
                    <a:pt x="12" y="299"/>
                  </a:lnTo>
                  <a:lnTo>
                    <a:pt x="15" y="320"/>
                  </a:lnTo>
                  <a:lnTo>
                    <a:pt x="15" y="347"/>
                  </a:lnTo>
                  <a:lnTo>
                    <a:pt x="9" y="368"/>
                  </a:lnTo>
                  <a:lnTo>
                    <a:pt x="12" y="383"/>
                  </a:lnTo>
                  <a:lnTo>
                    <a:pt x="39" y="386"/>
                  </a:lnTo>
                  <a:lnTo>
                    <a:pt x="54" y="410"/>
                  </a:lnTo>
                  <a:lnTo>
                    <a:pt x="114" y="458"/>
                  </a:lnTo>
                  <a:lnTo>
                    <a:pt x="114" y="473"/>
                  </a:lnTo>
                  <a:lnTo>
                    <a:pt x="158" y="524"/>
                  </a:lnTo>
                  <a:lnTo>
                    <a:pt x="173" y="542"/>
                  </a:lnTo>
                  <a:lnTo>
                    <a:pt x="188" y="545"/>
                  </a:lnTo>
                  <a:lnTo>
                    <a:pt x="215" y="518"/>
                  </a:lnTo>
                  <a:lnTo>
                    <a:pt x="242" y="542"/>
                  </a:lnTo>
                  <a:lnTo>
                    <a:pt x="344" y="629"/>
                  </a:lnTo>
                  <a:lnTo>
                    <a:pt x="365" y="677"/>
                  </a:lnTo>
                  <a:lnTo>
                    <a:pt x="386" y="677"/>
                  </a:lnTo>
                  <a:lnTo>
                    <a:pt x="401" y="662"/>
                  </a:lnTo>
                  <a:lnTo>
                    <a:pt x="410" y="674"/>
                  </a:lnTo>
                  <a:lnTo>
                    <a:pt x="410" y="713"/>
                  </a:lnTo>
                  <a:lnTo>
                    <a:pt x="473" y="749"/>
                  </a:lnTo>
                  <a:lnTo>
                    <a:pt x="485" y="746"/>
                  </a:lnTo>
                  <a:lnTo>
                    <a:pt x="497" y="779"/>
                  </a:lnTo>
                  <a:lnTo>
                    <a:pt x="548" y="808"/>
                  </a:lnTo>
                  <a:lnTo>
                    <a:pt x="551" y="829"/>
                  </a:lnTo>
                  <a:lnTo>
                    <a:pt x="560" y="835"/>
                  </a:lnTo>
                  <a:lnTo>
                    <a:pt x="605" y="835"/>
                  </a:lnTo>
                  <a:lnTo>
                    <a:pt x="629" y="835"/>
                  </a:lnTo>
                  <a:lnTo>
                    <a:pt x="665" y="862"/>
                  </a:lnTo>
                  <a:lnTo>
                    <a:pt x="749" y="859"/>
                  </a:lnTo>
                  <a:lnTo>
                    <a:pt x="791" y="856"/>
                  </a:lnTo>
                  <a:lnTo>
                    <a:pt x="803" y="874"/>
                  </a:lnTo>
                  <a:lnTo>
                    <a:pt x="794" y="913"/>
                  </a:lnTo>
                  <a:lnTo>
                    <a:pt x="803" y="928"/>
                  </a:lnTo>
                  <a:lnTo>
                    <a:pt x="851" y="889"/>
                  </a:lnTo>
                  <a:lnTo>
                    <a:pt x="907" y="847"/>
                  </a:lnTo>
                  <a:lnTo>
                    <a:pt x="946" y="856"/>
                  </a:lnTo>
                  <a:lnTo>
                    <a:pt x="988" y="880"/>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5" name="Freeform 169"/>
            <p:cNvSpPr>
              <a:spLocks/>
            </p:cNvSpPr>
            <p:nvPr/>
          </p:nvSpPr>
          <p:spPr bwMode="auto">
            <a:xfrm>
              <a:off x="2013199" y="3267100"/>
              <a:ext cx="1552575" cy="1101725"/>
            </a:xfrm>
            <a:custGeom>
              <a:avLst/>
              <a:gdLst>
                <a:gd name="T0" fmla="*/ 37 w 1106"/>
                <a:gd name="T1" fmla="*/ 97 h 794"/>
                <a:gd name="T2" fmla="*/ 59 w 1106"/>
                <a:gd name="T3" fmla="*/ 87 h 794"/>
                <a:gd name="T4" fmla="*/ 49 w 1106"/>
                <a:gd name="T5" fmla="*/ 80 h 794"/>
                <a:gd name="T6" fmla="*/ 63 w 1106"/>
                <a:gd name="T7" fmla="*/ 72 h 794"/>
                <a:gd name="T8" fmla="*/ 45 w 1106"/>
                <a:gd name="T9" fmla="*/ 44 h 794"/>
                <a:gd name="T10" fmla="*/ 57 w 1106"/>
                <a:gd name="T11" fmla="*/ 17 h 794"/>
                <a:gd name="T12" fmla="*/ 148 w 1106"/>
                <a:gd name="T13" fmla="*/ 0 h 794"/>
                <a:gd name="T14" fmla="*/ 205 w 1106"/>
                <a:gd name="T15" fmla="*/ 10 h 794"/>
                <a:gd name="T16" fmla="*/ 235 w 1106"/>
                <a:gd name="T17" fmla="*/ 24 h 794"/>
                <a:gd name="T18" fmla="*/ 267 w 1106"/>
                <a:gd name="T19" fmla="*/ 15 h 794"/>
                <a:gd name="T20" fmla="*/ 307 w 1106"/>
                <a:gd name="T21" fmla="*/ 12 h 794"/>
                <a:gd name="T22" fmla="*/ 357 w 1106"/>
                <a:gd name="T23" fmla="*/ 22 h 794"/>
                <a:gd name="T24" fmla="*/ 390 w 1106"/>
                <a:gd name="T25" fmla="*/ 51 h 794"/>
                <a:gd name="T26" fmla="*/ 419 w 1106"/>
                <a:gd name="T27" fmla="*/ 60 h 794"/>
                <a:gd name="T28" fmla="*/ 447 w 1106"/>
                <a:gd name="T29" fmla="*/ 99 h 794"/>
                <a:gd name="T30" fmla="*/ 452 w 1106"/>
                <a:gd name="T31" fmla="*/ 128 h 794"/>
                <a:gd name="T32" fmla="*/ 437 w 1106"/>
                <a:gd name="T33" fmla="*/ 148 h 794"/>
                <a:gd name="T34" fmla="*/ 419 w 1106"/>
                <a:gd name="T35" fmla="*/ 159 h 794"/>
                <a:gd name="T36" fmla="*/ 411 w 1106"/>
                <a:gd name="T37" fmla="*/ 178 h 794"/>
                <a:gd name="T38" fmla="*/ 392 w 1106"/>
                <a:gd name="T39" fmla="*/ 168 h 794"/>
                <a:gd name="T40" fmla="*/ 393 w 1106"/>
                <a:gd name="T41" fmla="*/ 184 h 794"/>
                <a:gd name="T42" fmla="*/ 424 w 1106"/>
                <a:gd name="T43" fmla="*/ 196 h 794"/>
                <a:gd name="T44" fmla="*/ 438 w 1106"/>
                <a:gd name="T45" fmla="*/ 202 h 794"/>
                <a:gd name="T46" fmla="*/ 432 w 1106"/>
                <a:gd name="T47" fmla="*/ 213 h 794"/>
                <a:gd name="T48" fmla="*/ 411 w 1106"/>
                <a:gd name="T49" fmla="*/ 216 h 794"/>
                <a:gd name="T50" fmla="*/ 390 w 1106"/>
                <a:gd name="T51" fmla="*/ 214 h 794"/>
                <a:gd name="T52" fmla="*/ 388 w 1106"/>
                <a:gd name="T53" fmla="*/ 228 h 794"/>
                <a:gd name="T54" fmla="*/ 354 w 1106"/>
                <a:gd name="T55" fmla="*/ 215 h 794"/>
                <a:gd name="T56" fmla="*/ 332 w 1106"/>
                <a:gd name="T57" fmla="*/ 212 h 794"/>
                <a:gd name="T58" fmla="*/ 270 w 1106"/>
                <a:gd name="T59" fmla="*/ 210 h 794"/>
                <a:gd name="T60" fmla="*/ 263 w 1106"/>
                <a:gd name="T61" fmla="*/ 223 h 794"/>
                <a:gd name="T62" fmla="*/ 257 w 1106"/>
                <a:gd name="T63" fmla="*/ 236 h 794"/>
                <a:gd name="T64" fmla="*/ 196 w 1106"/>
                <a:gd name="T65" fmla="*/ 253 h 794"/>
                <a:gd name="T66" fmla="*/ 170 w 1106"/>
                <a:gd name="T67" fmla="*/ 226 h 794"/>
                <a:gd name="T68" fmla="*/ 95 w 1106"/>
                <a:gd name="T69" fmla="*/ 218 h 794"/>
                <a:gd name="T70" fmla="*/ 70 w 1106"/>
                <a:gd name="T71" fmla="*/ 206 h 794"/>
                <a:gd name="T72" fmla="*/ 0 w 1106"/>
                <a:gd name="T73" fmla="*/ 154 h 794"/>
                <a:gd name="T74" fmla="*/ 12 w 1106"/>
                <a:gd name="T75" fmla="*/ 139 h 794"/>
                <a:gd name="T76" fmla="*/ 19 w 1106"/>
                <a:gd name="T77" fmla="*/ 107 h 794"/>
                <a:gd name="T78" fmla="*/ 23 w 1106"/>
                <a:gd name="T79" fmla="*/ 92 h 79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06" h="794">
                  <a:moveTo>
                    <a:pt x="54" y="282"/>
                  </a:moveTo>
                  <a:lnTo>
                    <a:pt x="90" y="296"/>
                  </a:lnTo>
                  <a:lnTo>
                    <a:pt x="150" y="276"/>
                  </a:lnTo>
                  <a:lnTo>
                    <a:pt x="141" y="264"/>
                  </a:lnTo>
                  <a:lnTo>
                    <a:pt x="126" y="264"/>
                  </a:lnTo>
                  <a:lnTo>
                    <a:pt x="120" y="246"/>
                  </a:lnTo>
                  <a:lnTo>
                    <a:pt x="123" y="231"/>
                  </a:lnTo>
                  <a:lnTo>
                    <a:pt x="153" y="216"/>
                  </a:lnTo>
                  <a:lnTo>
                    <a:pt x="174" y="183"/>
                  </a:lnTo>
                  <a:lnTo>
                    <a:pt x="111" y="132"/>
                  </a:lnTo>
                  <a:lnTo>
                    <a:pt x="108" y="75"/>
                  </a:lnTo>
                  <a:lnTo>
                    <a:pt x="138" y="54"/>
                  </a:lnTo>
                  <a:lnTo>
                    <a:pt x="345" y="12"/>
                  </a:lnTo>
                  <a:lnTo>
                    <a:pt x="360" y="0"/>
                  </a:lnTo>
                  <a:lnTo>
                    <a:pt x="393" y="6"/>
                  </a:lnTo>
                  <a:lnTo>
                    <a:pt x="498" y="30"/>
                  </a:lnTo>
                  <a:lnTo>
                    <a:pt x="528" y="48"/>
                  </a:lnTo>
                  <a:lnTo>
                    <a:pt x="573" y="75"/>
                  </a:lnTo>
                  <a:lnTo>
                    <a:pt x="603" y="75"/>
                  </a:lnTo>
                  <a:lnTo>
                    <a:pt x="648" y="48"/>
                  </a:lnTo>
                  <a:lnTo>
                    <a:pt x="707" y="57"/>
                  </a:lnTo>
                  <a:lnTo>
                    <a:pt x="746" y="36"/>
                  </a:lnTo>
                  <a:lnTo>
                    <a:pt x="827" y="84"/>
                  </a:lnTo>
                  <a:lnTo>
                    <a:pt x="869" y="69"/>
                  </a:lnTo>
                  <a:lnTo>
                    <a:pt x="890" y="123"/>
                  </a:lnTo>
                  <a:lnTo>
                    <a:pt x="947" y="159"/>
                  </a:lnTo>
                  <a:lnTo>
                    <a:pt x="986" y="195"/>
                  </a:lnTo>
                  <a:lnTo>
                    <a:pt x="1016" y="183"/>
                  </a:lnTo>
                  <a:lnTo>
                    <a:pt x="1073" y="258"/>
                  </a:lnTo>
                  <a:lnTo>
                    <a:pt x="1085" y="305"/>
                  </a:lnTo>
                  <a:lnTo>
                    <a:pt x="1106" y="335"/>
                  </a:lnTo>
                  <a:lnTo>
                    <a:pt x="1097" y="392"/>
                  </a:lnTo>
                  <a:lnTo>
                    <a:pt x="1052" y="428"/>
                  </a:lnTo>
                  <a:lnTo>
                    <a:pt x="1061" y="449"/>
                  </a:lnTo>
                  <a:lnTo>
                    <a:pt x="1043" y="467"/>
                  </a:lnTo>
                  <a:lnTo>
                    <a:pt x="1022" y="488"/>
                  </a:lnTo>
                  <a:lnTo>
                    <a:pt x="1022" y="527"/>
                  </a:lnTo>
                  <a:lnTo>
                    <a:pt x="1001" y="545"/>
                  </a:lnTo>
                  <a:lnTo>
                    <a:pt x="974" y="536"/>
                  </a:lnTo>
                  <a:lnTo>
                    <a:pt x="953" y="515"/>
                  </a:lnTo>
                  <a:lnTo>
                    <a:pt x="944" y="539"/>
                  </a:lnTo>
                  <a:lnTo>
                    <a:pt x="956" y="560"/>
                  </a:lnTo>
                  <a:lnTo>
                    <a:pt x="992" y="563"/>
                  </a:lnTo>
                  <a:lnTo>
                    <a:pt x="1028" y="599"/>
                  </a:lnTo>
                  <a:lnTo>
                    <a:pt x="1049" y="599"/>
                  </a:lnTo>
                  <a:lnTo>
                    <a:pt x="1064" y="617"/>
                  </a:lnTo>
                  <a:lnTo>
                    <a:pt x="1049" y="647"/>
                  </a:lnTo>
                  <a:lnTo>
                    <a:pt x="1049" y="650"/>
                  </a:lnTo>
                  <a:lnTo>
                    <a:pt x="1022" y="647"/>
                  </a:lnTo>
                  <a:lnTo>
                    <a:pt x="1001" y="662"/>
                  </a:lnTo>
                  <a:lnTo>
                    <a:pt x="986" y="638"/>
                  </a:lnTo>
                  <a:lnTo>
                    <a:pt x="950" y="653"/>
                  </a:lnTo>
                  <a:lnTo>
                    <a:pt x="941" y="671"/>
                  </a:lnTo>
                  <a:lnTo>
                    <a:pt x="941" y="698"/>
                  </a:lnTo>
                  <a:lnTo>
                    <a:pt x="905" y="704"/>
                  </a:lnTo>
                  <a:lnTo>
                    <a:pt x="860" y="659"/>
                  </a:lnTo>
                  <a:lnTo>
                    <a:pt x="845" y="638"/>
                  </a:lnTo>
                  <a:lnTo>
                    <a:pt x="809" y="647"/>
                  </a:lnTo>
                  <a:lnTo>
                    <a:pt x="749" y="629"/>
                  </a:lnTo>
                  <a:lnTo>
                    <a:pt x="657" y="644"/>
                  </a:lnTo>
                  <a:lnTo>
                    <a:pt x="648" y="653"/>
                  </a:lnTo>
                  <a:lnTo>
                    <a:pt x="639" y="683"/>
                  </a:lnTo>
                  <a:lnTo>
                    <a:pt x="621" y="695"/>
                  </a:lnTo>
                  <a:lnTo>
                    <a:pt x="624" y="722"/>
                  </a:lnTo>
                  <a:lnTo>
                    <a:pt x="570" y="794"/>
                  </a:lnTo>
                  <a:lnTo>
                    <a:pt x="477" y="776"/>
                  </a:lnTo>
                  <a:lnTo>
                    <a:pt x="471" y="740"/>
                  </a:lnTo>
                  <a:lnTo>
                    <a:pt x="414" y="695"/>
                  </a:lnTo>
                  <a:lnTo>
                    <a:pt x="288" y="677"/>
                  </a:lnTo>
                  <a:lnTo>
                    <a:pt x="234" y="665"/>
                  </a:lnTo>
                  <a:lnTo>
                    <a:pt x="216" y="665"/>
                  </a:lnTo>
                  <a:lnTo>
                    <a:pt x="168" y="626"/>
                  </a:lnTo>
                  <a:lnTo>
                    <a:pt x="69" y="602"/>
                  </a:lnTo>
                  <a:lnTo>
                    <a:pt x="0" y="470"/>
                  </a:lnTo>
                  <a:lnTo>
                    <a:pt x="0" y="434"/>
                  </a:lnTo>
                  <a:lnTo>
                    <a:pt x="27" y="422"/>
                  </a:lnTo>
                  <a:lnTo>
                    <a:pt x="27" y="380"/>
                  </a:lnTo>
                  <a:lnTo>
                    <a:pt x="45" y="329"/>
                  </a:lnTo>
                  <a:lnTo>
                    <a:pt x="24" y="308"/>
                  </a:lnTo>
                  <a:lnTo>
                    <a:pt x="54" y="28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6" name="Freeform 170"/>
            <p:cNvSpPr>
              <a:spLocks/>
            </p:cNvSpPr>
            <p:nvPr/>
          </p:nvSpPr>
          <p:spPr bwMode="auto">
            <a:xfrm>
              <a:off x="2013199" y="3267100"/>
              <a:ext cx="1552575" cy="1101725"/>
            </a:xfrm>
            <a:custGeom>
              <a:avLst/>
              <a:gdLst>
                <a:gd name="T0" fmla="*/ 37 w 1106"/>
                <a:gd name="T1" fmla="*/ 97 h 794"/>
                <a:gd name="T2" fmla="*/ 59 w 1106"/>
                <a:gd name="T3" fmla="*/ 87 h 794"/>
                <a:gd name="T4" fmla="*/ 49 w 1106"/>
                <a:gd name="T5" fmla="*/ 80 h 794"/>
                <a:gd name="T6" fmla="*/ 63 w 1106"/>
                <a:gd name="T7" fmla="*/ 72 h 794"/>
                <a:gd name="T8" fmla="*/ 45 w 1106"/>
                <a:gd name="T9" fmla="*/ 44 h 794"/>
                <a:gd name="T10" fmla="*/ 57 w 1106"/>
                <a:gd name="T11" fmla="*/ 17 h 794"/>
                <a:gd name="T12" fmla="*/ 148 w 1106"/>
                <a:gd name="T13" fmla="*/ 0 h 794"/>
                <a:gd name="T14" fmla="*/ 205 w 1106"/>
                <a:gd name="T15" fmla="*/ 10 h 794"/>
                <a:gd name="T16" fmla="*/ 235 w 1106"/>
                <a:gd name="T17" fmla="*/ 24 h 794"/>
                <a:gd name="T18" fmla="*/ 267 w 1106"/>
                <a:gd name="T19" fmla="*/ 15 h 794"/>
                <a:gd name="T20" fmla="*/ 307 w 1106"/>
                <a:gd name="T21" fmla="*/ 12 h 794"/>
                <a:gd name="T22" fmla="*/ 357 w 1106"/>
                <a:gd name="T23" fmla="*/ 22 h 794"/>
                <a:gd name="T24" fmla="*/ 390 w 1106"/>
                <a:gd name="T25" fmla="*/ 51 h 794"/>
                <a:gd name="T26" fmla="*/ 419 w 1106"/>
                <a:gd name="T27" fmla="*/ 60 h 794"/>
                <a:gd name="T28" fmla="*/ 447 w 1106"/>
                <a:gd name="T29" fmla="*/ 99 h 794"/>
                <a:gd name="T30" fmla="*/ 452 w 1106"/>
                <a:gd name="T31" fmla="*/ 128 h 794"/>
                <a:gd name="T32" fmla="*/ 437 w 1106"/>
                <a:gd name="T33" fmla="*/ 148 h 794"/>
                <a:gd name="T34" fmla="*/ 419 w 1106"/>
                <a:gd name="T35" fmla="*/ 159 h 794"/>
                <a:gd name="T36" fmla="*/ 411 w 1106"/>
                <a:gd name="T37" fmla="*/ 178 h 794"/>
                <a:gd name="T38" fmla="*/ 392 w 1106"/>
                <a:gd name="T39" fmla="*/ 168 h 794"/>
                <a:gd name="T40" fmla="*/ 393 w 1106"/>
                <a:gd name="T41" fmla="*/ 184 h 794"/>
                <a:gd name="T42" fmla="*/ 424 w 1106"/>
                <a:gd name="T43" fmla="*/ 196 h 794"/>
                <a:gd name="T44" fmla="*/ 438 w 1106"/>
                <a:gd name="T45" fmla="*/ 202 h 794"/>
                <a:gd name="T46" fmla="*/ 432 w 1106"/>
                <a:gd name="T47" fmla="*/ 213 h 794"/>
                <a:gd name="T48" fmla="*/ 411 w 1106"/>
                <a:gd name="T49" fmla="*/ 216 h 794"/>
                <a:gd name="T50" fmla="*/ 390 w 1106"/>
                <a:gd name="T51" fmla="*/ 214 h 794"/>
                <a:gd name="T52" fmla="*/ 388 w 1106"/>
                <a:gd name="T53" fmla="*/ 228 h 794"/>
                <a:gd name="T54" fmla="*/ 354 w 1106"/>
                <a:gd name="T55" fmla="*/ 215 h 794"/>
                <a:gd name="T56" fmla="*/ 332 w 1106"/>
                <a:gd name="T57" fmla="*/ 212 h 794"/>
                <a:gd name="T58" fmla="*/ 270 w 1106"/>
                <a:gd name="T59" fmla="*/ 210 h 794"/>
                <a:gd name="T60" fmla="*/ 263 w 1106"/>
                <a:gd name="T61" fmla="*/ 223 h 794"/>
                <a:gd name="T62" fmla="*/ 257 w 1106"/>
                <a:gd name="T63" fmla="*/ 236 h 794"/>
                <a:gd name="T64" fmla="*/ 196 w 1106"/>
                <a:gd name="T65" fmla="*/ 253 h 794"/>
                <a:gd name="T66" fmla="*/ 170 w 1106"/>
                <a:gd name="T67" fmla="*/ 226 h 794"/>
                <a:gd name="T68" fmla="*/ 95 w 1106"/>
                <a:gd name="T69" fmla="*/ 218 h 794"/>
                <a:gd name="T70" fmla="*/ 70 w 1106"/>
                <a:gd name="T71" fmla="*/ 206 h 794"/>
                <a:gd name="T72" fmla="*/ 0 w 1106"/>
                <a:gd name="T73" fmla="*/ 154 h 794"/>
                <a:gd name="T74" fmla="*/ 12 w 1106"/>
                <a:gd name="T75" fmla="*/ 139 h 794"/>
                <a:gd name="T76" fmla="*/ 19 w 1106"/>
                <a:gd name="T77" fmla="*/ 107 h 794"/>
                <a:gd name="T78" fmla="*/ 23 w 1106"/>
                <a:gd name="T79" fmla="*/ 92 h 79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06" h="794">
                  <a:moveTo>
                    <a:pt x="54" y="282"/>
                  </a:moveTo>
                  <a:lnTo>
                    <a:pt x="90" y="296"/>
                  </a:lnTo>
                  <a:lnTo>
                    <a:pt x="150" y="276"/>
                  </a:lnTo>
                  <a:lnTo>
                    <a:pt x="141" y="264"/>
                  </a:lnTo>
                  <a:lnTo>
                    <a:pt x="126" y="264"/>
                  </a:lnTo>
                  <a:lnTo>
                    <a:pt x="120" y="246"/>
                  </a:lnTo>
                  <a:lnTo>
                    <a:pt x="123" y="231"/>
                  </a:lnTo>
                  <a:lnTo>
                    <a:pt x="153" y="216"/>
                  </a:lnTo>
                  <a:lnTo>
                    <a:pt x="174" y="183"/>
                  </a:lnTo>
                  <a:lnTo>
                    <a:pt x="111" y="132"/>
                  </a:lnTo>
                  <a:lnTo>
                    <a:pt x="108" y="75"/>
                  </a:lnTo>
                  <a:lnTo>
                    <a:pt x="138" y="54"/>
                  </a:lnTo>
                  <a:lnTo>
                    <a:pt x="345" y="12"/>
                  </a:lnTo>
                  <a:lnTo>
                    <a:pt x="360" y="0"/>
                  </a:lnTo>
                  <a:lnTo>
                    <a:pt x="393" y="6"/>
                  </a:lnTo>
                  <a:lnTo>
                    <a:pt x="498" y="30"/>
                  </a:lnTo>
                  <a:lnTo>
                    <a:pt x="528" y="48"/>
                  </a:lnTo>
                  <a:lnTo>
                    <a:pt x="573" y="75"/>
                  </a:lnTo>
                  <a:lnTo>
                    <a:pt x="603" y="75"/>
                  </a:lnTo>
                  <a:lnTo>
                    <a:pt x="648" y="48"/>
                  </a:lnTo>
                  <a:lnTo>
                    <a:pt x="707" y="57"/>
                  </a:lnTo>
                  <a:lnTo>
                    <a:pt x="746" y="36"/>
                  </a:lnTo>
                  <a:lnTo>
                    <a:pt x="827" y="84"/>
                  </a:lnTo>
                  <a:lnTo>
                    <a:pt x="869" y="69"/>
                  </a:lnTo>
                  <a:lnTo>
                    <a:pt x="890" y="123"/>
                  </a:lnTo>
                  <a:lnTo>
                    <a:pt x="947" y="159"/>
                  </a:lnTo>
                  <a:lnTo>
                    <a:pt x="986" y="195"/>
                  </a:lnTo>
                  <a:lnTo>
                    <a:pt x="1016" y="183"/>
                  </a:lnTo>
                  <a:lnTo>
                    <a:pt x="1073" y="258"/>
                  </a:lnTo>
                  <a:lnTo>
                    <a:pt x="1085" y="305"/>
                  </a:lnTo>
                  <a:lnTo>
                    <a:pt x="1106" y="335"/>
                  </a:lnTo>
                  <a:lnTo>
                    <a:pt x="1097" y="392"/>
                  </a:lnTo>
                  <a:lnTo>
                    <a:pt x="1052" y="428"/>
                  </a:lnTo>
                  <a:lnTo>
                    <a:pt x="1061" y="449"/>
                  </a:lnTo>
                  <a:lnTo>
                    <a:pt x="1043" y="467"/>
                  </a:lnTo>
                  <a:lnTo>
                    <a:pt x="1022" y="488"/>
                  </a:lnTo>
                  <a:lnTo>
                    <a:pt x="1022" y="527"/>
                  </a:lnTo>
                  <a:lnTo>
                    <a:pt x="1001" y="545"/>
                  </a:lnTo>
                  <a:lnTo>
                    <a:pt x="974" y="536"/>
                  </a:lnTo>
                  <a:lnTo>
                    <a:pt x="953" y="515"/>
                  </a:lnTo>
                  <a:lnTo>
                    <a:pt x="944" y="539"/>
                  </a:lnTo>
                  <a:lnTo>
                    <a:pt x="956" y="560"/>
                  </a:lnTo>
                  <a:lnTo>
                    <a:pt x="992" y="563"/>
                  </a:lnTo>
                  <a:lnTo>
                    <a:pt x="1028" y="599"/>
                  </a:lnTo>
                  <a:lnTo>
                    <a:pt x="1049" y="599"/>
                  </a:lnTo>
                  <a:lnTo>
                    <a:pt x="1064" y="617"/>
                  </a:lnTo>
                  <a:lnTo>
                    <a:pt x="1049" y="647"/>
                  </a:lnTo>
                  <a:lnTo>
                    <a:pt x="1049" y="650"/>
                  </a:lnTo>
                  <a:lnTo>
                    <a:pt x="1022" y="647"/>
                  </a:lnTo>
                  <a:lnTo>
                    <a:pt x="1001" y="662"/>
                  </a:lnTo>
                  <a:lnTo>
                    <a:pt x="986" y="638"/>
                  </a:lnTo>
                  <a:lnTo>
                    <a:pt x="950" y="653"/>
                  </a:lnTo>
                  <a:lnTo>
                    <a:pt x="941" y="671"/>
                  </a:lnTo>
                  <a:lnTo>
                    <a:pt x="941" y="698"/>
                  </a:lnTo>
                  <a:lnTo>
                    <a:pt x="905" y="704"/>
                  </a:lnTo>
                  <a:lnTo>
                    <a:pt x="860" y="659"/>
                  </a:lnTo>
                  <a:lnTo>
                    <a:pt x="845" y="638"/>
                  </a:lnTo>
                  <a:lnTo>
                    <a:pt x="809" y="647"/>
                  </a:lnTo>
                  <a:lnTo>
                    <a:pt x="749" y="629"/>
                  </a:lnTo>
                  <a:lnTo>
                    <a:pt x="657" y="644"/>
                  </a:lnTo>
                  <a:lnTo>
                    <a:pt x="648" y="653"/>
                  </a:lnTo>
                  <a:lnTo>
                    <a:pt x="639" y="683"/>
                  </a:lnTo>
                  <a:lnTo>
                    <a:pt x="621" y="695"/>
                  </a:lnTo>
                  <a:lnTo>
                    <a:pt x="624" y="722"/>
                  </a:lnTo>
                  <a:lnTo>
                    <a:pt x="570" y="794"/>
                  </a:lnTo>
                  <a:lnTo>
                    <a:pt x="477" y="776"/>
                  </a:lnTo>
                  <a:lnTo>
                    <a:pt x="471" y="740"/>
                  </a:lnTo>
                  <a:lnTo>
                    <a:pt x="414" y="695"/>
                  </a:lnTo>
                  <a:lnTo>
                    <a:pt x="288" y="677"/>
                  </a:lnTo>
                  <a:lnTo>
                    <a:pt x="234" y="665"/>
                  </a:lnTo>
                  <a:lnTo>
                    <a:pt x="216" y="665"/>
                  </a:lnTo>
                  <a:lnTo>
                    <a:pt x="168" y="626"/>
                  </a:lnTo>
                  <a:lnTo>
                    <a:pt x="69" y="602"/>
                  </a:lnTo>
                  <a:lnTo>
                    <a:pt x="0" y="470"/>
                  </a:lnTo>
                  <a:lnTo>
                    <a:pt x="0" y="434"/>
                  </a:lnTo>
                  <a:lnTo>
                    <a:pt x="27" y="422"/>
                  </a:lnTo>
                  <a:lnTo>
                    <a:pt x="27" y="380"/>
                  </a:lnTo>
                  <a:lnTo>
                    <a:pt x="45" y="329"/>
                  </a:lnTo>
                  <a:lnTo>
                    <a:pt x="24" y="308"/>
                  </a:lnTo>
                  <a:lnTo>
                    <a:pt x="54" y="282"/>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7" name="Freeform 171"/>
            <p:cNvSpPr>
              <a:spLocks/>
            </p:cNvSpPr>
            <p:nvPr/>
          </p:nvSpPr>
          <p:spPr bwMode="auto">
            <a:xfrm>
              <a:off x="2549774" y="2825775"/>
              <a:ext cx="1676400" cy="1419225"/>
            </a:xfrm>
            <a:custGeom>
              <a:avLst/>
              <a:gdLst>
                <a:gd name="T0" fmla="*/ 0 w 1195"/>
                <a:gd name="T1" fmla="*/ 63 h 1022"/>
                <a:gd name="T2" fmla="*/ 19 w 1195"/>
                <a:gd name="T3" fmla="*/ 48 h 1022"/>
                <a:gd name="T4" fmla="*/ 75 w 1195"/>
                <a:gd name="T5" fmla="*/ 21 h 1022"/>
                <a:gd name="T6" fmla="*/ 90 w 1195"/>
                <a:gd name="T7" fmla="*/ 6 h 1022"/>
                <a:gd name="T8" fmla="*/ 103 w 1195"/>
                <a:gd name="T9" fmla="*/ 3 h 1022"/>
                <a:gd name="T10" fmla="*/ 123 w 1195"/>
                <a:gd name="T11" fmla="*/ 12 h 1022"/>
                <a:gd name="T12" fmla="*/ 125 w 1195"/>
                <a:gd name="T13" fmla="*/ 45 h 1022"/>
                <a:gd name="T14" fmla="*/ 154 w 1195"/>
                <a:gd name="T15" fmla="*/ 73 h 1022"/>
                <a:gd name="T16" fmla="*/ 204 w 1195"/>
                <a:gd name="T17" fmla="*/ 64 h 1022"/>
                <a:gd name="T18" fmla="*/ 218 w 1195"/>
                <a:gd name="T19" fmla="*/ 72 h 1022"/>
                <a:gd name="T20" fmla="*/ 195 w 1195"/>
                <a:gd name="T21" fmla="*/ 91 h 1022"/>
                <a:gd name="T22" fmla="*/ 219 w 1195"/>
                <a:gd name="T23" fmla="*/ 110 h 1022"/>
                <a:gd name="T24" fmla="*/ 229 w 1195"/>
                <a:gd name="T25" fmla="*/ 113 h 1022"/>
                <a:gd name="T26" fmla="*/ 241 w 1195"/>
                <a:gd name="T27" fmla="*/ 125 h 1022"/>
                <a:gd name="T28" fmla="*/ 285 w 1195"/>
                <a:gd name="T29" fmla="*/ 126 h 1022"/>
                <a:gd name="T30" fmla="*/ 328 w 1195"/>
                <a:gd name="T31" fmla="*/ 114 h 1022"/>
                <a:gd name="T32" fmla="*/ 332 w 1195"/>
                <a:gd name="T33" fmla="*/ 134 h 1022"/>
                <a:gd name="T34" fmla="*/ 319 w 1195"/>
                <a:gd name="T35" fmla="*/ 148 h 1022"/>
                <a:gd name="T36" fmla="*/ 317 w 1195"/>
                <a:gd name="T37" fmla="*/ 165 h 1022"/>
                <a:gd name="T38" fmla="*/ 348 w 1195"/>
                <a:gd name="T39" fmla="*/ 175 h 1022"/>
                <a:gd name="T40" fmla="*/ 379 w 1195"/>
                <a:gd name="T41" fmla="*/ 218 h 1022"/>
                <a:gd name="T42" fmla="*/ 393 w 1195"/>
                <a:gd name="T43" fmla="*/ 234 h 1022"/>
                <a:gd name="T44" fmla="*/ 408 w 1195"/>
                <a:gd name="T45" fmla="*/ 243 h 1022"/>
                <a:gd name="T46" fmla="*/ 414 w 1195"/>
                <a:gd name="T47" fmla="*/ 233 h 1022"/>
                <a:gd name="T48" fmla="*/ 429 w 1195"/>
                <a:gd name="T49" fmla="*/ 219 h 1022"/>
                <a:gd name="T50" fmla="*/ 414 w 1195"/>
                <a:gd name="T51" fmla="*/ 208 h 1022"/>
                <a:gd name="T52" fmla="*/ 423 w 1195"/>
                <a:gd name="T53" fmla="*/ 182 h 1022"/>
                <a:gd name="T54" fmla="*/ 438 w 1195"/>
                <a:gd name="T55" fmla="*/ 185 h 1022"/>
                <a:gd name="T56" fmla="*/ 471 w 1195"/>
                <a:gd name="T57" fmla="*/ 200 h 1022"/>
                <a:gd name="T58" fmla="*/ 490 w 1195"/>
                <a:gd name="T59" fmla="*/ 216 h 1022"/>
                <a:gd name="T60" fmla="*/ 486 w 1195"/>
                <a:gd name="T61" fmla="*/ 236 h 1022"/>
                <a:gd name="T62" fmla="*/ 462 w 1195"/>
                <a:gd name="T63" fmla="*/ 243 h 1022"/>
                <a:gd name="T64" fmla="*/ 457 w 1195"/>
                <a:gd name="T65" fmla="*/ 250 h 1022"/>
                <a:gd name="T66" fmla="*/ 440 w 1195"/>
                <a:gd name="T67" fmla="*/ 254 h 1022"/>
                <a:gd name="T68" fmla="*/ 421 w 1195"/>
                <a:gd name="T69" fmla="*/ 251 h 1022"/>
                <a:gd name="T70" fmla="*/ 421 w 1195"/>
                <a:gd name="T71" fmla="*/ 258 h 1022"/>
                <a:gd name="T72" fmla="*/ 411 w 1195"/>
                <a:gd name="T73" fmla="*/ 269 h 1022"/>
                <a:gd name="T74" fmla="*/ 416 w 1195"/>
                <a:gd name="T75" fmla="*/ 290 h 1022"/>
                <a:gd name="T76" fmla="*/ 416 w 1195"/>
                <a:gd name="T77" fmla="*/ 300 h 1022"/>
                <a:gd name="T78" fmla="*/ 396 w 1195"/>
                <a:gd name="T79" fmla="*/ 304 h 1022"/>
                <a:gd name="T80" fmla="*/ 398 w 1195"/>
                <a:gd name="T81" fmla="*/ 322 h 1022"/>
                <a:gd name="T82" fmla="*/ 387 w 1195"/>
                <a:gd name="T83" fmla="*/ 331 h 1022"/>
                <a:gd name="T84" fmla="*/ 358 w 1195"/>
                <a:gd name="T85" fmla="*/ 334 h 1022"/>
                <a:gd name="T86" fmla="*/ 347 w 1195"/>
                <a:gd name="T87" fmla="*/ 316 h 1022"/>
                <a:gd name="T88" fmla="*/ 332 w 1195"/>
                <a:gd name="T89" fmla="*/ 316 h 1022"/>
                <a:gd name="T90" fmla="*/ 305 w 1195"/>
                <a:gd name="T91" fmla="*/ 299 h 1022"/>
                <a:gd name="T92" fmla="*/ 300 w 1195"/>
                <a:gd name="T93" fmla="*/ 283 h 1022"/>
                <a:gd name="T94" fmla="*/ 273 w 1195"/>
                <a:gd name="T95" fmla="*/ 290 h 1022"/>
                <a:gd name="T96" fmla="*/ 265 w 1195"/>
                <a:gd name="T97" fmla="*/ 300 h 1022"/>
                <a:gd name="T98" fmla="*/ 236 w 1195"/>
                <a:gd name="T99" fmla="*/ 288 h 1022"/>
                <a:gd name="T100" fmla="*/ 234 w 1195"/>
                <a:gd name="T101" fmla="*/ 274 h 1022"/>
                <a:gd name="T102" fmla="*/ 254 w 1195"/>
                <a:gd name="T103" fmla="*/ 283 h 1022"/>
                <a:gd name="T104" fmla="*/ 263 w 1195"/>
                <a:gd name="T105" fmla="*/ 263 h 1022"/>
                <a:gd name="T106" fmla="*/ 279 w 1195"/>
                <a:gd name="T107" fmla="*/ 251 h 1022"/>
                <a:gd name="T108" fmla="*/ 293 w 1195"/>
                <a:gd name="T109" fmla="*/ 233 h 1022"/>
                <a:gd name="T110" fmla="*/ 289 w 1195"/>
                <a:gd name="T111" fmla="*/ 203 h 1022"/>
                <a:gd name="T112" fmla="*/ 260 w 1195"/>
                <a:gd name="T113" fmla="*/ 165 h 1022"/>
                <a:gd name="T114" fmla="*/ 232 w 1195"/>
                <a:gd name="T115" fmla="*/ 157 h 1022"/>
                <a:gd name="T116" fmla="*/ 200 w 1195"/>
                <a:gd name="T117" fmla="*/ 126 h 1022"/>
                <a:gd name="T118" fmla="*/ 149 w 1195"/>
                <a:gd name="T119" fmla="*/ 117 h 1022"/>
                <a:gd name="T120" fmla="*/ 110 w 1195"/>
                <a:gd name="T121" fmla="*/ 118 h 1022"/>
                <a:gd name="T122" fmla="*/ 79 w 1195"/>
                <a:gd name="T123" fmla="*/ 128 h 1022"/>
                <a:gd name="T124" fmla="*/ 48 w 1195"/>
                <a:gd name="T125" fmla="*/ 114 h 10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95" h="1022">
                  <a:moveTo>
                    <a:pt x="12" y="324"/>
                  </a:moveTo>
                  <a:lnTo>
                    <a:pt x="0" y="192"/>
                  </a:lnTo>
                  <a:lnTo>
                    <a:pt x="6" y="165"/>
                  </a:lnTo>
                  <a:lnTo>
                    <a:pt x="45" y="147"/>
                  </a:lnTo>
                  <a:lnTo>
                    <a:pt x="99" y="102"/>
                  </a:lnTo>
                  <a:lnTo>
                    <a:pt x="183" y="66"/>
                  </a:lnTo>
                  <a:lnTo>
                    <a:pt x="219" y="51"/>
                  </a:lnTo>
                  <a:lnTo>
                    <a:pt x="219" y="18"/>
                  </a:lnTo>
                  <a:lnTo>
                    <a:pt x="234" y="0"/>
                  </a:lnTo>
                  <a:lnTo>
                    <a:pt x="249" y="3"/>
                  </a:lnTo>
                  <a:lnTo>
                    <a:pt x="303" y="12"/>
                  </a:lnTo>
                  <a:lnTo>
                    <a:pt x="303" y="36"/>
                  </a:lnTo>
                  <a:lnTo>
                    <a:pt x="311" y="75"/>
                  </a:lnTo>
                  <a:lnTo>
                    <a:pt x="306" y="138"/>
                  </a:lnTo>
                  <a:lnTo>
                    <a:pt x="353" y="210"/>
                  </a:lnTo>
                  <a:lnTo>
                    <a:pt x="377" y="225"/>
                  </a:lnTo>
                  <a:lnTo>
                    <a:pt x="416" y="195"/>
                  </a:lnTo>
                  <a:lnTo>
                    <a:pt x="500" y="195"/>
                  </a:lnTo>
                  <a:lnTo>
                    <a:pt x="518" y="204"/>
                  </a:lnTo>
                  <a:lnTo>
                    <a:pt x="530" y="222"/>
                  </a:lnTo>
                  <a:lnTo>
                    <a:pt x="521" y="240"/>
                  </a:lnTo>
                  <a:lnTo>
                    <a:pt x="476" y="279"/>
                  </a:lnTo>
                  <a:lnTo>
                    <a:pt x="482" y="297"/>
                  </a:lnTo>
                  <a:lnTo>
                    <a:pt x="533" y="336"/>
                  </a:lnTo>
                  <a:lnTo>
                    <a:pt x="554" y="336"/>
                  </a:lnTo>
                  <a:lnTo>
                    <a:pt x="560" y="345"/>
                  </a:lnTo>
                  <a:lnTo>
                    <a:pt x="554" y="360"/>
                  </a:lnTo>
                  <a:lnTo>
                    <a:pt x="587" y="384"/>
                  </a:lnTo>
                  <a:lnTo>
                    <a:pt x="662" y="396"/>
                  </a:lnTo>
                  <a:lnTo>
                    <a:pt x="698" y="387"/>
                  </a:lnTo>
                  <a:lnTo>
                    <a:pt x="743" y="342"/>
                  </a:lnTo>
                  <a:lnTo>
                    <a:pt x="800" y="348"/>
                  </a:lnTo>
                  <a:lnTo>
                    <a:pt x="821" y="381"/>
                  </a:lnTo>
                  <a:lnTo>
                    <a:pt x="809" y="411"/>
                  </a:lnTo>
                  <a:lnTo>
                    <a:pt x="812" y="432"/>
                  </a:lnTo>
                  <a:lnTo>
                    <a:pt x="782" y="450"/>
                  </a:lnTo>
                  <a:lnTo>
                    <a:pt x="770" y="465"/>
                  </a:lnTo>
                  <a:lnTo>
                    <a:pt x="773" y="504"/>
                  </a:lnTo>
                  <a:lnTo>
                    <a:pt x="827" y="540"/>
                  </a:lnTo>
                  <a:lnTo>
                    <a:pt x="848" y="534"/>
                  </a:lnTo>
                  <a:lnTo>
                    <a:pt x="911" y="608"/>
                  </a:lnTo>
                  <a:lnTo>
                    <a:pt x="923" y="665"/>
                  </a:lnTo>
                  <a:lnTo>
                    <a:pt x="917" y="692"/>
                  </a:lnTo>
                  <a:lnTo>
                    <a:pt x="959" y="716"/>
                  </a:lnTo>
                  <a:lnTo>
                    <a:pt x="959" y="734"/>
                  </a:lnTo>
                  <a:lnTo>
                    <a:pt x="998" y="743"/>
                  </a:lnTo>
                  <a:lnTo>
                    <a:pt x="1010" y="743"/>
                  </a:lnTo>
                  <a:lnTo>
                    <a:pt x="1010" y="710"/>
                  </a:lnTo>
                  <a:lnTo>
                    <a:pt x="1040" y="707"/>
                  </a:lnTo>
                  <a:lnTo>
                    <a:pt x="1046" y="668"/>
                  </a:lnTo>
                  <a:lnTo>
                    <a:pt x="1025" y="653"/>
                  </a:lnTo>
                  <a:lnTo>
                    <a:pt x="1010" y="635"/>
                  </a:lnTo>
                  <a:lnTo>
                    <a:pt x="1016" y="564"/>
                  </a:lnTo>
                  <a:lnTo>
                    <a:pt x="1034" y="555"/>
                  </a:lnTo>
                  <a:lnTo>
                    <a:pt x="1060" y="567"/>
                  </a:lnTo>
                  <a:lnTo>
                    <a:pt x="1072" y="564"/>
                  </a:lnTo>
                  <a:lnTo>
                    <a:pt x="1078" y="576"/>
                  </a:lnTo>
                  <a:lnTo>
                    <a:pt x="1150" y="611"/>
                  </a:lnTo>
                  <a:lnTo>
                    <a:pt x="1189" y="635"/>
                  </a:lnTo>
                  <a:lnTo>
                    <a:pt x="1195" y="659"/>
                  </a:lnTo>
                  <a:lnTo>
                    <a:pt x="1174" y="689"/>
                  </a:lnTo>
                  <a:lnTo>
                    <a:pt x="1186" y="722"/>
                  </a:lnTo>
                  <a:lnTo>
                    <a:pt x="1180" y="740"/>
                  </a:lnTo>
                  <a:lnTo>
                    <a:pt x="1126" y="743"/>
                  </a:lnTo>
                  <a:lnTo>
                    <a:pt x="1114" y="749"/>
                  </a:lnTo>
                  <a:lnTo>
                    <a:pt x="1117" y="761"/>
                  </a:lnTo>
                  <a:lnTo>
                    <a:pt x="1117" y="776"/>
                  </a:lnTo>
                  <a:lnTo>
                    <a:pt x="1075" y="779"/>
                  </a:lnTo>
                  <a:lnTo>
                    <a:pt x="1054" y="767"/>
                  </a:lnTo>
                  <a:lnTo>
                    <a:pt x="1025" y="767"/>
                  </a:lnTo>
                  <a:lnTo>
                    <a:pt x="1019" y="776"/>
                  </a:lnTo>
                  <a:lnTo>
                    <a:pt x="1025" y="791"/>
                  </a:lnTo>
                  <a:lnTo>
                    <a:pt x="1010" y="806"/>
                  </a:lnTo>
                  <a:lnTo>
                    <a:pt x="1004" y="824"/>
                  </a:lnTo>
                  <a:lnTo>
                    <a:pt x="1034" y="848"/>
                  </a:lnTo>
                  <a:lnTo>
                    <a:pt x="1013" y="887"/>
                  </a:lnTo>
                  <a:lnTo>
                    <a:pt x="1022" y="908"/>
                  </a:lnTo>
                  <a:lnTo>
                    <a:pt x="1019" y="920"/>
                  </a:lnTo>
                  <a:lnTo>
                    <a:pt x="989" y="920"/>
                  </a:lnTo>
                  <a:lnTo>
                    <a:pt x="965" y="929"/>
                  </a:lnTo>
                  <a:lnTo>
                    <a:pt x="983" y="956"/>
                  </a:lnTo>
                  <a:lnTo>
                    <a:pt x="971" y="986"/>
                  </a:lnTo>
                  <a:lnTo>
                    <a:pt x="938" y="995"/>
                  </a:lnTo>
                  <a:lnTo>
                    <a:pt x="941" y="1013"/>
                  </a:lnTo>
                  <a:lnTo>
                    <a:pt x="932" y="1022"/>
                  </a:lnTo>
                  <a:lnTo>
                    <a:pt x="872" y="1019"/>
                  </a:lnTo>
                  <a:lnTo>
                    <a:pt x="848" y="1001"/>
                  </a:lnTo>
                  <a:lnTo>
                    <a:pt x="845" y="965"/>
                  </a:lnTo>
                  <a:lnTo>
                    <a:pt x="830" y="953"/>
                  </a:lnTo>
                  <a:lnTo>
                    <a:pt x="809" y="965"/>
                  </a:lnTo>
                  <a:lnTo>
                    <a:pt x="773" y="929"/>
                  </a:lnTo>
                  <a:lnTo>
                    <a:pt x="746" y="911"/>
                  </a:lnTo>
                  <a:lnTo>
                    <a:pt x="743" y="884"/>
                  </a:lnTo>
                  <a:lnTo>
                    <a:pt x="734" y="863"/>
                  </a:lnTo>
                  <a:lnTo>
                    <a:pt x="722" y="863"/>
                  </a:lnTo>
                  <a:lnTo>
                    <a:pt x="665" y="887"/>
                  </a:lnTo>
                  <a:lnTo>
                    <a:pt x="668" y="917"/>
                  </a:lnTo>
                  <a:lnTo>
                    <a:pt x="647" y="917"/>
                  </a:lnTo>
                  <a:lnTo>
                    <a:pt x="611" y="881"/>
                  </a:lnTo>
                  <a:lnTo>
                    <a:pt x="575" y="878"/>
                  </a:lnTo>
                  <a:lnTo>
                    <a:pt x="563" y="857"/>
                  </a:lnTo>
                  <a:lnTo>
                    <a:pt x="572" y="833"/>
                  </a:lnTo>
                  <a:lnTo>
                    <a:pt x="593" y="854"/>
                  </a:lnTo>
                  <a:lnTo>
                    <a:pt x="620" y="863"/>
                  </a:lnTo>
                  <a:lnTo>
                    <a:pt x="641" y="845"/>
                  </a:lnTo>
                  <a:lnTo>
                    <a:pt x="641" y="806"/>
                  </a:lnTo>
                  <a:lnTo>
                    <a:pt x="662" y="785"/>
                  </a:lnTo>
                  <a:lnTo>
                    <a:pt x="680" y="767"/>
                  </a:lnTo>
                  <a:lnTo>
                    <a:pt x="671" y="746"/>
                  </a:lnTo>
                  <a:lnTo>
                    <a:pt x="716" y="710"/>
                  </a:lnTo>
                  <a:lnTo>
                    <a:pt x="725" y="653"/>
                  </a:lnTo>
                  <a:lnTo>
                    <a:pt x="704" y="623"/>
                  </a:lnTo>
                  <a:lnTo>
                    <a:pt x="692" y="576"/>
                  </a:lnTo>
                  <a:lnTo>
                    <a:pt x="635" y="501"/>
                  </a:lnTo>
                  <a:lnTo>
                    <a:pt x="605" y="513"/>
                  </a:lnTo>
                  <a:lnTo>
                    <a:pt x="566" y="477"/>
                  </a:lnTo>
                  <a:lnTo>
                    <a:pt x="509" y="441"/>
                  </a:lnTo>
                  <a:lnTo>
                    <a:pt x="488" y="387"/>
                  </a:lnTo>
                  <a:lnTo>
                    <a:pt x="446" y="402"/>
                  </a:lnTo>
                  <a:lnTo>
                    <a:pt x="365" y="354"/>
                  </a:lnTo>
                  <a:lnTo>
                    <a:pt x="326" y="375"/>
                  </a:lnTo>
                  <a:lnTo>
                    <a:pt x="267" y="366"/>
                  </a:lnTo>
                  <a:lnTo>
                    <a:pt x="222" y="393"/>
                  </a:lnTo>
                  <a:lnTo>
                    <a:pt x="192" y="393"/>
                  </a:lnTo>
                  <a:lnTo>
                    <a:pt x="147" y="366"/>
                  </a:lnTo>
                  <a:lnTo>
                    <a:pt x="117" y="348"/>
                  </a:lnTo>
                  <a:lnTo>
                    <a:pt x="12" y="324"/>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8" name="Freeform 172"/>
            <p:cNvSpPr>
              <a:spLocks/>
            </p:cNvSpPr>
            <p:nvPr/>
          </p:nvSpPr>
          <p:spPr bwMode="auto">
            <a:xfrm>
              <a:off x="2549774" y="2825775"/>
              <a:ext cx="1676400" cy="1419225"/>
            </a:xfrm>
            <a:custGeom>
              <a:avLst/>
              <a:gdLst>
                <a:gd name="T0" fmla="*/ 0 w 1195"/>
                <a:gd name="T1" fmla="*/ 63 h 1022"/>
                <a:gd name="T2" fmla="*/ 19 w 1195"/>
                <a:gd name="T3" fmla="*/ 48 h 1022"/>
                <a:gd name="T4" fmla="*/ 75 w 1195"/>
                <a:gd name="T5" fmla="*/ 21 h 1022"/>
                <a:gd name="T6" fmla="*/ 90 w 1195"/>
                <a:gd name="T7" fmla="*/ 6 h 1022"/>
                <a:gd name="T8" fmla="*/ 103 w 1195"/>
                <a:gd name="T9" fmla="*/ 3 h 1022"/>
                <a:gd name="T10" fmla="*/ 123 w 1195"/>
                <a:gd name="T11" fmla="*/ 12 h 1022"/>
                <a:gd name="T12" fmla="*/ 125 w 1195"/>
                <a:gd name="T13" fmla="*/ 45 h 1022"/>
                <a:gd name="T14" fmla="*/ 154 w 1195"/>
                <a:gd name="T15" fmla="*/ 73 h 1022"/>
                <a:gd name="T16" fmla="*/ 204 w 1195"/>
                <a:gd name="T17" fmla="*/ 64 h 1022"/>
                <a:gd name="T18" fmla="*/ 218 w 1195"/>
                <a:gd name="T19" fmla="*/ 72 h 1022"/>
                <a:gd name="T20" fmla="*/ 195 w 1195"/>
                <a:gd name="T21" fmla="*/ 91 h 1022"/>
                <a:gd name="T22" fmla="*/ 219 w 1195"/>
                <a:gd name="T23" fmla="*/ 110 h 1022"/>
                <a:gd name="T24" fmla="*/ 229 w 1195"/>
                <a:gd name="T25" fmla="*/ 113 h 1022"/>
                <a:gd name="T26" fmla="*/ 241 w 1195"/>
                <a:gd name="T27" fmla="*/ 125 h 1022"/>
                <a:gd name="T28" fmla="*/ 285 w 1195"/>
                <a:gd name="T29" fmla="*/ 126 h 1022"/>
                <a:gd name="T30" fmla="*/ 328 w 1195"/>
                <a:gd name="T31" fmla="*/ 114 h 1022"/>
                <a:gd name="T32" fmla="*/ 332 w 1195"/>
                <a:gd name="T33" fmla="*/ 134 h 1022"/>
                <a:gd name="T34" fmla="*/ 319 w 1195"/>
                <a:gd name="T35" fmla="*/ 148 h 1022"/>
                <a:gd name="T36" fmla="*/ 317 w 1195"/>
                <a:gd name="T37" fmla="*/ 165 h 1022"/>
                <a:gd name="T38" fmla="*/ 348 w 1195"/>
                <a:gd name="T39" fmla="*/ 175 h 1022"/>
                <a:gd name="T40" fmla="*/ 379 w 1195"/>
                <a:gd name="T41" fmla="*/ 218 h 1022"/>
                <a:gd name="T42" fmla="*/ 393 w 1195"/>
                <a:gd name="T43" fmla="*/ 234 h 1022"/>
                <a:gd name="T44" fmla="*/ 408 w 1195"/>
                <a:gd name="T45" fmla="*/ 243 h 1022"/>
                <a:gd name="T46" fmla="*/ 414 w 1195"/>
                <a:gd name="T47" fmla="*/ 233 h 1022"/>
                <a:gd name="T48" fmla="*/ 429 w 1195"/>
                <a:gd name="T49" fmla="*/ 219 h 1022"/>
                <a:gd name="T50" fmla="*/ 414 w 1195"/>
                <a:gd name="T51" fmla="*/ 208 h 1022"/>
                <a:gd name="T52" fmla="*/ 423 w 1195"/>
                <a:gd name="T53" fmla="*/ 182 h 1022"/>
                <a:gd name="T54" fmla="*/ 438 w 1195"/>
                <a:gd name="T55" fmla="*/ 185 h 1022"/>
                <a:gd name="T56" fmla="*/ 471 w 1195"/>
                <a:gd name="T57" fmla="*/ 200 h 1022"/>
                <a:gd name="T58" fmla="*/ 490 w 1195"/>
                <a:gd name="T59" fmla="*/ 216 h 1022"/>
                <a:gd name="T60" fmla="*/ 486 w 1195"/>
                <a:gd name="T61" fmla="*/ 236 h 1022"/>
                <a:gd name="T62" fmla="*/ 462 w 1195"/>
                <a:gd name="T63" fmla="*/ 243 h 1022"/>
                <a:gd name="T64" fmla="*/ 457 w 1195"/>
                <a:gd name="T65" fmla="*/ 250 h 1022"/>
                <a:gd name="T66" fmla="*/ 440 w 1195"/>
                <a:gd name="T67" fmla="*/ 254 h 1022"/>
                <a:gd name="T68" fmla="*/ 421 w 1195"/>
                <a:gd name="T69" fmla="*/ 251 h 1022"/>
                <a:gd name="T70" fmla="*/ 421 w 1195"/>
                <a:gd name="T71" fmla="*/ 258 h 1022"/>
                <a:gd name="T72" fmla="*/ 411 w 1195"/>
                <a:gd name="T73" fmla="*/ 269 h 1022"/>
                <a:gd name="T74" fmla="*/ 416 w 1195"/>
                <a:gd name="T75" fmla="*/ 290 h 1022"/>
                <a:gd name="T76" fmla="*/ 416 w 1195"/>
                <a:gd name="T77" fmla="*/ 300 h 1022"/>
                <a:gd name="T78" fmla="*/ 396 w 1195"/>
                <a:gd name="T79" fmla="*/ 304 h 1022"/>
                <a:gd name="T80" fmla="*/ 398 w 1195"/>
                <a:gd name="T81" fmla="*/ 322 h 1022"/>
                <a:gd name="T82" fmla="*/ 387 w 1195"/>
                <a:gd name="T83" fmla="*/ 331 h 1022"/>
                <a:gd name="T84" fmla="*/ 358 w 1195"/>
                <a:gd name="T85" fmla="*/ 334 h 1022"/>
                <a:gd name="T86" fmla="*/ 347 w 1195"/>
                <a:gd name="T87" fmla="*/ 316 h 1022"/>
                <a:gd name="T88" fmla="*/ 332 w 1195"/>
                <a:gd name="T89" fmla="*/ 316 h 1022"/>
                <a:gd name="T90" fmla="*/ 305 w 1195"/>
                <a:gd name="T91" fmla="*/ 299 h 1022"/>
                <a:gd name="T92" fmla="*/ 300 w 1195"/>
                <a:gd name="T93" fmla="*/ 283 h 1022"/>
                <a:gd name="T94" fmla="*/ 273 w 1195"/>
                <a:gd name="T95" fmla="*/ 290 h 1022"/>
                <a:gd name="T96" fmla="*/ 265 w 1195"/>
                <a:gd name="T97" fmla="*/ 300 h 1022"/>
                <a:gd name="T98" fmla="*/ 236 w 1195"/>
                <a:gd name="T99" fmla="*/ 288 h 1022"/>
                <a:gd name="T100" fmla="*/ 234 w 1195"/>
                <a:gd name="T101" fmla="*/ 274 h 1022"/>
                <a:gd name="T102" fmla="*/ 254 w 1195"/>
                <a:gd name="T103" fmla="*/ 283 h 1022"/>
                <a:gd name="T104" fmla="*/ 263 w 1195"/>
                <a:gd name="T105" fmla="*/ 263 h 1022"/>
                <a:gd name="T106" fmla="*/ 279 w 1195"/>
                <a:gd name="T107" fmla="*/ 251 h 1022"/>
                <a:gd name="T108" fmla="*/ 293 w 1195"/>
                <a:gd name="T109" fmla="*/ 233 h 1022"/>
                <a:gd name="T110" fmla="*/ 289 w 1195"/>
                <a:gd name="T111" fmla="*/ 203 h 1022"/>
                <a:gd name="T112" fmla="*/ 260 w 1195"/>
                <a:gd name="T113" fmla="*/ 165 h 1022"/>
                <a:gd name="T114" fmla="*/ 232 w 1195"/>
                <a:gd name="T115" fmla="*/ 157 h 1022"/>
                <a:gd name="T116" fmla="*/ 200 w 1195"/>
                <a:gd name="T117" fmla="*/ 126 h 1022"/>
                <a:gd name="T118" fmla="*/ 149 w 1195"/>
                <a:gd name="T119" fmla="*/ 117 h 1022"/>
                <a:gd name="T120" fmla="*/ 110 w 1195"/>
                <a:gd name="T121" fmla="*/ 118 h 1022"/>
                <a:gd name="T122" fmla="*/ 79 w 1195"/>
                <a:gd name="T123" fmla="*/ 128 h 1022"/>
                <a:gd name="T124" fmla="*/ 48 w 1195"/>
                <a:gd name="T125" fmla="*/ 114 h 102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95" h="1022">
                  <a:moveTo>
                    <a:pt x="12" y="324"/>
                  </a:moveTo>
                  <a:lnTo>
                    <a:pt x="0" y="192"/>
                  </a:lnTo>
                  <a:lnTo>
                    <a:pt x="6" y="165"/>
                  </a:lnTo>
                  <a:lnTo>
                    <a:pt x="45" y="147"/>
                  </a:lnTo>
                  <a:lnTo>
                    <a:pt x="99" y="102"/>
                  </a:lnTo>
                  <a:lnTo>
                    <a:pt x="183" y="66"/>
                  </a:lnTo>
                  <a:lnTo>
                    <a:pt x="219" y="51"/>
                  </a:lnTo>
                  <a:lnTo>
                    <a:pt x="219" y="18"/>
                  </a:lnTo>
                  <a:lnTo>
                    <a:pt x="234" y="0"/>
                  </a:lnTo>
                  <a:lnTo>
                    <a:pt x="249" y="3"/>
                  </a:lnTo>
                  <a:lnTo>
                    <a:pt x="303" y="12"/>
                  </a:lnTo>
                  <a:lnTo>
                    <a:pt x="303" y="36"/>
                  </a:lnTo>
                  <a:lnTo>
                    <a:pt x="311" y="75"/>
                  </a:lnTo>
                  <a:lnTo>
                    <a:pt x="306" y="138"/>
                  </a:lnTo>
                  <a:lnTo>
                    <a:pt x="353" y="210"/>
                  </a:lnTo>
                  <a:lnTo>
                    <a:pt x="377" y="225"/>
                  </a:lnTo>
                  <a:lnTo>
                    <a:pt x="416" y="195"/>
                  </a:lnTo>
                  <a:lnTo>
                    <a:pt x="500" y="195"/>
                  </a:lnTo>
                  <a:lnTo>
                    <a:pt x="518" y="204"/>
                  </a:lnTo>
                  <a:lnTo>
                    <a:pt x="530" y="222"/>
                  </a:lnTo>
                  <a:lnTo>
                    <a:pt x="521" y="240"/>
                  </a:lnTo>
                  <a:lnTo>
                    <a:pt x="476" y="279"/>
                  </a:lnTo>
                  <a:lnTo>
                    <a:pt x="482" y="297"/>
                  </a:lnTo>
                  <a:lnTo>
                    <a:pt x="533" y="336"/>
                  </a:lnTo>
                  <a:lnTo>
                    <a:pt x="554" y="336"/>
                  </a:lnTo>
                  <a:lnTo>
                    <a:pt x="560" y="345"/>
                  </a:lnTo>
                  <a:lnTo>
                    <a:pt x="554" y="360"/>
                  </a:lnTo>
                  <a:lnTo>
                    <a:pt x="587" y="384"/>
                  </a:lnTo>
                  <a:lnTo>
                    <a:pt x="662" y="396"/>
                  </a:lnTo>
                  <a:lnTo>
                    <a:pt x="698" y="387"/>
                  </a:lnTo>
                  <a:lnTo>
                    <a:pt x="743" y="342"/>
                  </a:lnTo>
                  <a:lnTo>
                    <a:pt x="800" y="348"/>
                  </a:lnTo>
                  <a:lnTo>
                    <a:pt x="821" y="381"/>
                  </a:lnTo>
                  <a:lnTo>
                    <a:pt x="809" y="411"/>
                  </a:lnTo>
                  <a:lnTo>
                    <a:pt x="812" y="432"/>
                  </a:lnTo>
                  <a:lnTo>
                    <a:pt x="782" y="450"/>
                  </a:lnTo>
                  <a:lnTo>
                    <a:pt x="770" y="465"/>
                  </a:lnTo>
                  <a:lnTo>
                    <a:pt x="773" y="504"/>
                  </a:lnTo>
                  <a:lnTo>
                    <a:pt x="827" y="540"/>
                  </a:lnTo>
                  <a:lnTo>
                    <a:pt x="848" y="534"/>
                  </a:lnTo>
                  <a:lnTo>
                    <a:pt x="911" y="608"/>
                  </a:lnTo>
                  <a:lnTo>
                    <a:pt x="923" y="665"/>
                  </a:lnTo>
                  <a:lnTo>
                    <a:pt x="917" y="692"/>
                  </a:lnTo>
                  <a:lnTo>
                    <a:pt x="959" y="716"/>
                  </a:lnTo>
                  <a:lnTo>
                    <a:pt x="959" y="734"/>
                  </a:lnTo>
                  <a:lnTo>
                    <a:pt x="998" y="743"/>
                  </a:lnTo>
                  <a:lnTo>
                    <a:pt x="1010" y="743"/>
                  </a:lnTo>
                  <a:lnTo>
                    <a:pt x="1010" y="710"/>
                  </a:lnTo>
                  <a:lnTo>
                    <a:pt x="1040" y="707"/>
                  </a:lnTo>
                  <a:lnTo>
                    <a:pt x="1046" y="668"/>
                  </a:lnTo>
                  <a:lnTo>
                    <a:pt x="1025" y="653"/>
                  </a:lnTo>
                  <a:lnTo>
                    <a:pt x="1010" y="635"/>
                  </a:lnTo>
                  <a:lnTo>
                    <a:pt x="1016" y="564"/>
                  </a:lnTo>
                  <a:lnTo>
                    <a:pt x="1034" y="555"/>
                  </a:lnTo>
                  <a:lnTo>
                    <a:pt x="1060" y="567"/>
                  </a:lnTo>
                  <a:lnTo>
                    <a:pt x="1072" y="564"/>
                  </a:lnTo>
                  <a:lnTo>
                    <a:pt x="1078" y="576"/>
                  </a:lnTo>
                  <a:lnTo>
                    <a:pt x="1150" y="611"/>
                  </a:lnTo>
                  <a:lnTo>
                    <a:pt x="1189" y="635"/>
                  </a:lnTo>
                  <a:lnTo>
                    <a:pt x="1195" y="659"/>
                  </a:lnTo>
                  <a:lnTo>
                    <a:pt x="1174" y="689"/>
                  </a:lnTo>
                  <a:lnTo>
                    <a:pt x="1186" y="722"/>
                  </a:lnTo>
                  <a:lnTo>
                    <a:pt x="1180" y="740"/>
                  </a:lnTo>
                  <a:lnTo>
                    <a:pt x="1126" y="743"/>
                  </a:lnTo>
                  <a:lnTo>
                    <a:pt x="1114" y="749"/>
                  </a:lnTo>
                  <a:lnTo>
                    <a:pt x="1117" y="761"/>
                  </a:lnTo>
                  <a:lnTo>
                    <a:pt x="1117" y="776"/>
                  </a:lnTo>
                  <a:lnTo>
                    <a:pt x="1075" y="779"/>
                  </a:lnTo>
                  <a:lnTo>
                    <a:pt x="1054" y="767"/>
                  </a:lnTo>
                  <a:lnTo>
                    <a:pt x="1025" y="767"/>
                  </a:lnTo>
                  <a:lnTo>
                    <a:pt x="1019" y="776"/>
                  </a:lnTo>
                  <a:lnTo>
                    <a:pt x="1025" y="791"/>
                  </a:lnTo>
                  <a:lnTo>
                    <a:pt x="1010" y="806"/>
                  </a:lnTo>
                  <a:lnTo>
                    <a:pt x="1004" y="824"/>
                  </a:lnTo>
                  <a:lnTo>
                    <a:pt x="1034" y="848"/>
                  </a:lnTo>
                  <a:lnTo>
                    <a:pt x="1013" y="887"/>
                  </a:lnTo>
                  <a:lnTo>
                    <a:pt x="1022" y="908"/>
                  </a:lnTo>
                  <a:lnTo>
                    <a:pt x="1019" y="920"/>
                  </a:lnTo>
                  <a:lnTo>
                    <a:pt x="989" y="920"/>
                  </a:lnTo>
                  <a:lnTo>
                    <a:pt x="965" y="929"/>
                  </a:lnTo>
                  <a:lnTo>
                    <a:pt x="983" y="956"/>
                  </a:lnTo>
                  <a:lnTo>
                    <a:pt x="971" y="986"/>
                  </a:lnTo>
                  <a:lnTo>
                    <a:pt x="938" y="995"/>
                  </a:lnTo>
                  <a:lnTo>
                    <a:pt x="941" y="1013"/>
                  </a:lnTo>
                  <a:lnTo>
                    <a:pt x="932" y="1022"/>
                  </a:lnTo>
                  <a:lnTo>
                    <a:pt x="872" y="1019"/>
                  </a:lnTo>
                  <a:lnTo>
                    <a:pt x="848" y="1001"/>
                  </a:lnTo>
                  <a:lnTo>
                    <a:pt x="845" y="965"/>
                  </a:lnTo>
                  <a:lnTo>
                    <a:pt x="830" y="953"/>
                  </a:lnTo>
                  <a:lnTo>
                    <a:pt x="809" y="965"/>
                  </a:lnTo>
                  <a:lnTo>
                    <a:pt x="773" y="929"/>
                  </a:lnTo>
                  <a:lnTo>
                    <a:pt x="746" y="911"/>
                  </a:lnTo>
                  <a:lnTo>
                    <a:pt x="743" y="884"/>
                  </a:lnTo>
                  <a:lnTo>
                    <a:pt x="734" y="863"/>
                  </a:lnTo>
                  <a:lnTo>
                    <a:pt x="722" y="863"/>
                  </a:lnTo>
                  <a:lnTo>
                    <a:pt x="665" y="887"/>
                  </a:lnTo>
                  <a:lnTo>
                    <a:pt x="668" y="917"/>
                  </a:lnTo>
                  <a:lnTo>
                    <a:pt x="647" y="917"/>
                  </a:lnTo>
                  <a:lnTo>
                    <a:pt x="611" y="881"/>
                  </a:lnTo>
                  <a:lnTo>
                    <a:pt x="575" y="878"/>
                  </a:lnTo>
                  <a:lnTo>
                    <a:pt x="563" y="857"/>
                  </a:lnTo>
                  <a:lnTo>
                    <a:pt x="572" y="833"/>
                  </a:lnTo>
                  <a:lnTo>
                    <a:pt x="593" y="854"/>
                  </a:lnTo>
                  <a:lnTo>
                    <a:pt x="620" y="863"/>
                  </a:lnTo>
                  <a:lnTo>
                    <a:pt x="641" y="845"/>
                  </a:lnTo>
                  <a:lnTo>
                    <a:pt x="641" y="806"/>
                  </a:lnTo>
                  <a:lnTo>
                    <a:pt x="662" y="785"/>
                  </a:lnTo>
                  <a:lnTo>
                    <a:pt x="680" y="767"/>
                  </a:lnTo>
                  <a:lnTo>
                    <a:pt x="671" y="746"/>
                  </a:lnTo>
                  <a:lnTo>
                    <a:pt x="716" y="710"/>
                  </a:lnTo>
                  <a:lnTo>
                    <a:pt x="725" y="653"/>
                  </a:lnTo>
                  <a:lnTo>
                    <a:pt x="704" y="623"/>
                  </a:lnTo>
                  <a:lnTo>
                    <a:pt x="692" y="576"/>
                  </a:lnTo>
                  <a:lnTo>
                    <a:pt x="635" y="501"/>
                  </a:lnTo>
                  <a:lnTo>
                    <a:pt x="605" y="513"/>
                  </a:lnTo>
                  <a:lnTo>
                    <a:pt x="566" y="477"/>
                  </a:lnTo>
                  <a:lnTo>
                    <a:pt x="509" y="441"/>
                  </a:lnTo>
                  <a:lnTo>
                    <a:pt x="488" y="387"/>
                  </a:lnTo>
                  <a:lnTo>
                    <a:pt x="446" y="402"/>
                  </a:lnTo>
                  <a:lnTo>
                    <a:pt x="365" y="354"/>
                  </a:lnTo>
                  <a:lnTo>
                    <a:pt x="326" y="375"/>
                  </a:lnTo>
                  <a:lnTo>
                    <a:pt x="267" y="366"/>
                  </a:lnTo>
                  <a:lnTo>
                    <a:pt x="222" y="393"/>
                  </a:lnTo>
                  <a:lnTo>
                    <a:pt x="192" y="393"/>
                  </a:lnTo>
                  <a:lnTo>
                    <a:pt x="147" y="366"/>
                  </a:lnTo>
                  <a:lnTo>
                    <a:pt x="117" y="348"/>
                  </a:lnTo>
                  <a:lnTo>
                    <a:pt x="12" y="324"/>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79" name="Freeform 173"/>
            <p:cNvSpPr>
              <a:spLocks/>
            </p:cNvSpPr>
            <p:nvPr/>
          </p:nvSpPr>
          <p:spPr bwMode="auto">
            <a:xfrm>
              <a:off x="395536" y="1820887"/>
              <a:ext cx="2481263" cy="1860550"/>
            </a:xfrm>
            <a:custGeom>
              <a:avLst/>
              <a:gdLst>
                <a:gd name="T0" fmla="*/ 501 w 1768"/>
                <a:gd name="T1" fmla="*/ 15 h 1342"/>
                <a:gd name="T2" fmla="*/ 523 w 1768"/>
                <a:gd name="T3" fmla="*/ 37 h 1342"/>
                <a:gd name="T4" fmla="*/ 556 w 1768"/>
                <a:gd name="T5" fmla="*/ 53 h 1342"/>
                <a:gd name="T6" fmla="*/ 581 w 1768"/>
                <a:gd name="T7" fmla="*/ 96 h 1342"/>
                <a:gd name="T8" fmla="*/ 566 w 1768"/>
                <a:gd name="T9" fmla="*/ 129 h 1342"/>
                <a:gd name="T10" fmla="*/ 646 w 1768"/>
                <a:gd name="T11" fmla="*/ 155 h 1342"/>
                <a:gd name="T12" fmla="*/ 700 w 1768"/>
                <a:gd name="T13" fmla="*/ 189 h 1342"/>
                <a:gd name="T14" fmla="*/ 728 w 1768"/>
                <a:gd name="T15" fmla="*/ 236 h 1342"/>
                <a:gd name="T16" fmla="*/ 707 w 1768"/>
                <a:gd name="T17" fmla="*/ 257 h 1342"/>
                <a:gd name="T18" fmla="*/ 634 w 1768"/>
                <a:gd name="T19" fmla="*/ 289 h 1342"/>
                <a:gd name="T20" fmla="*/ 624 w 1768"/>
                <a:gd name="T21" fmla="*/ 338 h 1342"/>
                <a:gd name="T22" fmla="*/ 519 w 1768"/>
                <a:gd name="T23" fmla="*/ 363 h 1342"/>
                <a:gd name="T24" fmla="*/ 538 w 1768"/>
                <a:gd name="T25" fmla="*/ 408 h 1342"/>
                <a:gd name="T26" fmla="*/ 527 w 1768"/>
                <a:gd name="T27" fmla="*/ 424 h 1342"/>
                <a:gd name="T28" fmla="*/ 512 w 1768"/>
                <a:gd name="T29" fmla="*/ 433 h 1342"/>
                <a:gd name="T30" fmla="*/ 469 w 1768"/>
                <a:gd name="T31" fmla="*/ 427 h 1342"/>
                <a:gd name="T32" fmla="*/ 399 w 1768"/>
                <a:gd name="T33" fmla="*/ 418 h 1342"/>
                <a:gd name="T34" fmla="*/ 328 w 1768"/>
                <a:gd name="T35" fmla="*/ 429 h 1342"/>
                <a:gd name="T36" fmla="*/ 274 w 1768"/>
                <a:gd name="T37" fmla="*/ 422 h 1342"/>
                <a:gd name="T38" fmla="*/ 210 w 1768"/>
                <a:gd name="T39" fmla="*/ 424 h 1342"/>
                <a:gd name="T40" fmla="*/ 174 w 1768"/>
                <a:gd name="T41" fmla="*/ 412 h 1342"/>
                <a:gd name="T42" fmla="*/ 136 w 1768"/>
                <a:gd name="T43" fmla="*/ 392 h 1342"/>
                <a:gd name="T44" fmla="*/ 55 w 1768"/>
                <a:gd name="T45" fmla="*/ 379 h 1342"/>
                <a:gd name="T46" fmla="*/ 45 w 1768"/>
                <a:gd name="T47" fmla="*/ 356 h 1342"/>
                <a:gd name="T48" fmla="*/ 29 w 1768"/>
                <a:gd name="T49" fmla="*/ 338 h 1342"/>
                <a:gd name="T50" fmla="*/ 16 w 1768"/>
                <a:gd name="T51" fmla="*/ 321 h 1342"/>
                <a:gd name="T52" fmla="*/ 27 w 1768"/>
                <a:gd name="T53" fmla="*/ 302 h 1342"/>
                <a:gd name="T54" fmla="*/ 5 w 1768"/>
                <a:gd name="T55" fmla="*/ 277 h 1342"/>
                <a:gd name="T56" fmla="*/ 5 w 1768"/>
                <a:gd name="T57" fmla="*/ 251 h 1342"/>
                <a:gd name="T58" fmla="*/ 17 w 1768"/>
                <a:gd name="T59" fmla="*/ 234 h 1342"/>
                <a:gd name="T60" fmla="*/ 59 w 1768"/>
                <a:gd name="T61" fmla="*/ 222 h 1342"/>
                <a:gd name="T62" fmla="*/ 78 w 1768"/>
                <a:gd name="T63" fmla="*/ 224 h 1342"/>
                <a:gd name="T64" fmla="*/ 102 w 1768"/>
                <a:gd name="T65" fmla="*/ 232 h 1342"/>
                <a:gd name="T66" fmla="*/ 174 w 1768"/>
                <a:gd name="T67" fmla="*/ 214 h 1342"/>
                <a:gd name="T68" fmla="*/ 237 w 1768"/>
                <a:gd name="T69" fmla="*/ 182 h 1342"/>
                <a:gd name="T70" fmla="*/ 257 w 1768"/>
                <a:gd name="T71" fmla="*/ 168 h 1342"/>
                <a:gd name="T72" fmla="*/ 246 w 1768"/>
                <a:gd name="T73" fmla="*/ 114 h 1342"/>
                <a:gd name="T74" fmla="*/ 301 w 1768"/>
                <a:gd name="T75" fmla="*/ 105 h 1342"/>
                <a:gd name="T76" fmla="*/ 325 w 1768"/>
                <a:gd name="T77" fmla="*/ 114 h 1342"/>
                <a:gd name="T78" fmla="*/ 351 w 1768"/>
                <a:gd name="T79" fmla="*/ 55 h 1342"/>
                <a:gd name="T80" fmla="*/ 397 w 1768"/>
                <a:gd name="T81" fmla="*/ 63 h 1342"/>
                <a:gd name="T82" fmla="*/ 436 w 1768"/>
                <a:gd name="T83" fmla="*/ 27 h 1342"/>
                <a:gd name="T84" fmla="*/ 469 w 1768"/>
                <a:gd name="T85" fmla="*/ 13 h 1342"/>
                <a:gd name="T86" fmla="*/ 498 w 1768"/>
                <a:gd name="T87" fmla="*/ 4 h 13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68" h="1342">
                  <a:moveTo>
                    <a:pt x="1207" y="12"/>
                  </a:moveTo>
                  <a:lnTo>
                    <a:pt x="1225" y="12"/>
                  </a:lnTo>
                  <a:lnTo>
                    <a:pt x="1213" y="48"/>
                  </a:lnTo>
                  <a:lnTo>
                    <a:pt x="1228" y="66"/>
                  </a:lnTo>
                  <a:lnTo>
                    <a:pt x="1231" y="78"/>
                  </a:lnTo>
                  <a:lnTo>
                    <a:pt x="1267" y="114"/>
                  </a:lnTo>
                  <a:lnTo>
                    <a:pt x="1276" y="141"/>
                  </a:lnTo>
                  <a:lnTo>
                    <a:pt x="1324" y="144"/>
                  </a:lnTo>
                  <a:lnTo>
                    <a:pt x="1345" y="162"/>
                  </a:lnTo>
                  <a:lnTo>
                    <a:pt x="1357" y="162"/>
                  </a:lnTo>
                  <a:lnTo>
                    <a:pt x="1384" y="222"/>
                  </a:lnTo>
                  <a:lnTo>
                    <a:pt x="1411" y="294"/>
                  </a:lnTo>
                  <a:lnTo>
                    <a:pt x="1396" y="336"/>
                  </a:lnTo>
                  <a:lnTo>
                    <a:pt x="1399" y="351"/>
                  </a:lnTo>
                  <a:lnTo>
                    <a:pt x="1375" y="396"/>
                  </a:lnTo>
                  <a:lnTo>
                    <a:pt x="1381" y="429"/>
                  </a:lnTo>
                  <a:lnTo>
                    <a:pt x="1471" y="468"/>
                  </a:lnTo>
                  <a:lnTo>
                    <a:pt x="1567" y="480"/>
                  </a:lnTo>
                  <a:lnTo>
                    <a:pt x="1666" y="549"/>
                  </a:lnTo>
                  <a:lnTo>
                    <a:pt x="1696" y="561"/>
                  </a:lnTo>
                  <a:lnTo>
                    <a:pt x="1699" y="579"/>
                  </a:lnTo>
                  <a:lnTo>
                    <a:pt x="1720" y="623"/>
                  </a:lnTo>
                  <a:lnTo>
                    <a:pt x="1741" y="677"/>
                  </a:lnTo>
                  <a:lnTo>
                    <a:pt x="1768" y="725"/>
                  </a:lnTo>
                  <a:lnTo>
                    <a:pt x="1753" y="743"/>
                  </a:lnTo>
                  <a:lnTo>
                    <a:pt x="1753" y="776"/>
                  </a:lnTo>
                  <a:lnTo>
                    <a:pt x="1717" y="791"/>
                  </a:lnTo>
                  <a:lnTo>
                    <a:pt x="1633" y="827"/>
                  </a:lnTo>
                  <a:lnTo>
                    <a:pt x="1579" y="872"/>
                  </a:lnTo>
                  <a:lnTo>
                    <a:pt x="1540" y="890"/>
                  </a:lnTo>
                  <a:lnTo>
                    <a:pt x="1534" y="917"/>
                  </a:lnTo>
                  <a:lnTo>
                    <a:pt x="1546" y="1049"/>
                  </a:lnTo>
                  <a:lnTo>
                    <a:pt x="1513" y="1043"/>
                  </a:lnTo>
                  <a:lnTo>
                    <a:pt x="1498" y="1055"/>
                  </a:lnTo>
                  <a:lnTo>
                    <a:pt x="1291" y="1097"/>
                  </a:lnTo>
                  <a:lnTo>
                    <a:pt x="1261" y="1118"/>
                  </a:lnTo>
                  <a:lnTo>
                    <a:pt x="1264" y="1175"/>
                  </a:lnTo>
                  <a:lnTo>
                    <a:pt x="1327" y="1226"/>
                  </a:lnTo>
                  <a:lnTo>
                    <a:pt x="1306" y="1259"/>
                  </a:lnTo>
                  <a:lnTo>
                    <a:pt x="1276" y="1274"/>
                  </a:lnTo>
                  <a:lnTo>
                    <a:pt x="1273" y="1289"/>
                  </a:lnTo>
                  <a:lnTo>
                    <a:pt x="1279" y="1307"/>
                  </a:lnTo>
                  <a:lnTo>
                    <a:pt x="1294" y="1307"/>
                  </a:lnTo>
                  <a:lnTo>
                    <a:pt x="1303" y="1319"/>
                  </a:lnTo>
                  <a:lnTo>
                    <a:pt x="1243" y="1339"/>
                  </a:lnTo>
                  <a:lnTo>
                    <a:pt x="1207" y="1325"/>
                  </a:lnTo>
                  <a:lnTo>
                    <a:pt x="1189" y="1316"/>
                  </a:lnTo>
                  <a:lnTo>
                    <a:pt x="1141" y="1316"/>
                  </a:lnTo>
                  <a:lnTo>
                    <a:pt x="1061" y="1277"/>
                  </a:lnTo>
                  <a:lnTo>
                    <a:pt x="1010" y="1277"/>
                  </a:lnTo>
                  <a:lnTo>
                    <a:pt x="968" y="1289"/>
                  </a:lnTo>
                  <a:lnTo>
                    <a:pt x="923" y="1289"/>
                  </a:lnTo>
                  <a:lnTo>
                    <a:pt x="851" y="1328"/>
                  </a:lnTo>
                  <a:lnTo>
                    <a:pt x="794" y="1322"/>
                  </a:lnTo>
                  <a:lnTo>
                    <a:pt x="740" y="1342"/>
                  </a:lnTo>
                  <a:lnTo>
                    <a:pt x="692" y="1325"/>
                  </a:lnTo>
                  <a:lnTo>
                    <a:pt x="662" y="1301"/>
                  </a:lnTo>
                  <a:lnTo>
                    <a:pt x="587" y="1289"/>
                  </a:lnTo>
                  <a:lnTo>
                    <a:pt x="536" y="1325"/>
                  </a:lnTo>
                  <a:lnTo>
                    <a:pt x="509" y="1313"/>
                  </a:lnTo>
                  <a:lnTo>
                    <a:pt x="488" y="1295"/>
                  </a:lnTo>
                  <a:lnTo>
                    <a:pt x="431" y="1280"/>
                  </a:lnTo>
                  <a:lnTo>
                    <a:pt x="422" y="1271"/>
                  </a:lnTo>
                  <a:lnTo>
                    <a:pt x="401" y="1271"/>
                  </a:lnTo>
                  <a:lnTo>
                    <a:pt x="365" y="1217"/>
                  </a:lnTo>
                  <a:lnTo>
                    <a:pt x="333" y="1208"/>
                  </a:lnTo>
                  <a:lnTo>
                    <a:pt x="246" y="1235"/>
                  </a:lnTo>
                  <a:lnTo>
                    <a:pt x="210" y="1226"/>
                  </a:lnTo>
                  <a:lnTo>
                    <a:pt x="135" y="1172"/>
                  </a:lnTo>
                  <a:lnTo>
                    <a:pt x="114" y="1169"/>
                  </a:lnTo>
                  <a:lnTo>
                    <a:pt x="99" y="1133"/>
                  </a:lnTo>
                  <a:lnTo>
                    <a:pt x="111" y="1097"/>
                  </a:lnTo>
                  <a:lnTo>
                    <a:pt x="105" y="1079"/>
                  </a:lnTo>
                  <a:lnTo>
                    <a:pt x="78" y="1061"/>
                  </a:lnTo>
                  <a:lnTo>
                    <a:pt x="69" y="1043"/>
                  </a:lnTo>
                  <a:lnTo>
                    <a:pt x="12" y="1010"/>
                  </a:lnTo>
                  <a:lnTo>
                    <a:pt x="12" y="1001"/>
                  </a:lnTo>
                  <a:lnTo>
                    <a:pt x="39" y="989"/>
                  </a:lnTo>
                  <a:lnTo>
                    <a:pt x="57" y="998"/>
                  </a:lnTo>
                  <a:lnTo>
                    <a:pt x="72" y="983"/>
                  </a:lnTo>
                  <a:lnTo>
                    <a:pt x="66" y="929"/>
                  </a:lnTo>
                  <a:lnTo>
                    <a:pt x="72" y="884"/>
                  </a:lnTo>
                  <a:lnTo>
                    <a:pt x="36" y="845"/>
                  </a:lnTo>
                  <a:lnTo>
                    <a:pt x="9" y="854"/>
                  </a:lnTo>
                  <a:lnTo>
                    <a:pt x="0" y="827"/>
                  </a:lnTo>
                  <a:lnTo>
                    <a:pt x="15" y="800"/>
                  </a:lnTo>
                  <a:lnTo>
                    <a:pt x="6" y="773"/>
                  </a:lnTo>
                  <a:lnTo>
                    <a:pt x="30" y="752"/>
                  </a:lnTo>
                  <a:lnTo>
                    <a:pt x="42" y="743"/>
                  </a:lnTo>
                  <a:lnTo>
                    <a:pt x="42" y="722"/>
                  </a:lnTo>
                  <a:lnTo>
                    <a:pt x="75" y="704"/>
                  </a:lnTo>
                  <a:lnTo>
                    <a:pt x="111" y="698"/>
                  </a:lnTo>
                  <a:lnTo>
                    <a:pt x="141" y="686"/>
                  </a:lnTo>
                  <a:lnTo>
                    <a:pt x="165" y="695"/>
                  </a:lnTo>
                  <a:lnTo>
                    <a:pt x="183" y="686"/>
                  </a:lnTo>
                  <a:lnTo>
                    <a:pt x="189" y="692"/>
                  </a:lnTo>
                  <a:lnTo>
                    <a:pt x="192" y="713"/>
                  </a:lnTo>
                  <a:lnTo>
                    <a:pt x="207" y="722"/>
                  </a:lnTo>
                  <a:lnTo>
                    <a:pt x="246" y="719"/>
                  </a:lnTo>
                  <a:lnTo>
                    <a:pt x="291" y="671"/>
                  </a:lnTo>
                  <a:lnTo>
                    <a:pt x="377" y="689"/>
                  </a:lnTo>
                  <a:lnTo>
                    <a:pt x="422" y="659"/>
                  </a:lnTo>
                  <a:lnTo>
                    <a:pt x="554" y="629"/>
                  </a:lnTo>
                  <a:lnTo>
                    <a:pt x="563" y="611"/>
                  </a:lnTo>
                  <a:lnTo>
                    <a:pt x="575" y="561"/>
                  </a:lnTo>
                  <a:lnTo>
                    <a:pt x="611" y="531"/>
                  </a:lnTo>
                  <a:lnTo>
                    <a:pt x="623" y="531"/>
                  </a:lnTo>
                  <a:lnTo>
                    <a:pt x="623" y="516"/>
                  </a:lnTo>
                  <a:lnTo>
                    <a:pt x="626" y="390"/>
                  </a:lnTo>
                  <a:lnTo>
                    <a:pt x="632" y="366"/>
                  </a:lnTo>
                  <a:lnTo>
                    <a:pt x="596" y="351"/>
                  </a:lnTo>
                  <a:lnTo>
                    <a:pt x="593" y="342"/>
                  </a:lnTo>
                  <a:lnTo>
                    <a:pt x="632" y="330"/>
                  </a:lnTo>
                  <a:lnTo>
                    <a:pt x="731" y="321"/>
                  </a:lnTo>
                  <a:lnTo>
                    <a:pt x="746" y="342"/>
                  </a:lnTo>
                  <a:lnTo>
                    <a:pt x="779" y="351"/>
                  </a:lnTo>
                  <a:lnTo>
                    <a:pt x="788" y="351"/>
                  </a:lnTo>
                  <a:lnTo>
                    <a:pt x="803" y="333"/>
                  </a:lnTo>
                  <a:lnTo>
                    <a:pt x="785" y="315"/>
                  </a:lnTo>
                  <a:lnTo>
                    <a:pt x="857" y="168"/>
                  </a:lnTo>
                  <a:lnTo>
                    <a:pt x="869" y="159"/>
                  </a:lnTo>
                  <a:lnTo>
                    <a:pt x="935" y="192"/>
                  </a:lnTo>
                  <a:lnTo>
                    <a:pt x="965" y="192"/>
                  </a:lnTo>
                  <a:lnTo>
                    <a:pt x="977" y="210"/>
                  </a:lnTo>
                  <a:lnTo>
                    <a:pt x="1040" y="192"/>
                  </a:lnTo>
                  <a:lnTo>
                    <a:pt x="1058" y="84"/>
                  </a:lnTo>
                  <a:lnTo>
                    <a:pt x="1085" y="66"/>
                  </a:lnTo>
                  <a:lnTo>
                    <a:pt x="1117" y="66"/>
                  </a:lnTo>
                  <a:lnTo>
                    <a:pt x="1138" y="39"/>
                  </a:lnTo>
                  <a:lnTo>
                    <a:pt x="1147" y="12"/>
                  </a:lnTo>
                  <a:lnTo>
                    <a:pt x="1165" y="0"/>
                  </a:lnTo>
                  <a:lnTo>
                    <a:pt x="1207" y="1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0" name="Freeform 174"/>
            <p:cNvSpPr>
              <a:spLocks/>
            </p:cNvSpPr>
            <p:nvPr/>
          </p:nvSpPr>
          <p:spPr bwMode="auto">
            <a:xfrm>
              <a:off x="395536" y="1820887"/>
              <a:ext cx="2481263" cy="1860550"/>
            </a:xfrm>
            <a:custGeom>
              <a:avLst/>
              <a:gdLst>
                <a:gd name="T0" fmla="*/ 501 w 1768"/>
                <a:gd name="T1" fmla="*/ 15 h 1342"/>
                <a:gd name="T2" fmla="*/ 523 w 1768"/>
                <a:gd name="T3" fmla="*/ 37 h 1342"/>
                <a:gd name="T4" fmla="*/ 556 w 1768"/>
                <a:gd name="T5" fmla="*/ 53 h 1342"/>
                <a:gd name="T6" fmla="*/ 581 w 1768"/>
                <a:gd name="T7" fmla="*/ 96 h 1342"/>
                <a:gd name="T8" fmla="*/ 566 w 1768"/>
                <a:gd name="T9" fmla="*/ 129 h 1342"/>
                <a:gd name="T10" fmla="*/ 646 w 1768"/>
                <a:gd name="T11" fmla="*/ 155 h 1342"/>
                <a:gd name="T12" fmla="*/ 700 w 1768"/>
                <a:gd name="T13" fmla="*/ 189 h 1342"/>
                <a:gd name="T14" fmla="*/ 728 w 1768"/>
                <a:gd name="T15" fmla="*/ 236 h 1342"/>
                <a:gd name="T16" fmla="*/ 707 w 1768"/>
                <a:gd name="T17" fmla="*/ 257 h 1342"/>
                <a:gd name="T18" fmla="*/ 634 w 1768"/>
                <a:gd name="T19" fmla="*/ 289 h 1342"/>
                <a:gd name="T20" fmla="*/ 624 w 1768"/>
                <a:gd name="T21" fmla="*/ 338 h 1342"/>
                <a:gd name="T22" fmla="*/ 519 w 1768"/>
                <a:gd name="T23" fmla="*/ 363 h 1342"/>
                <a:gd name="T24" fmla="*/ 538 w 1768"/>
                <a:gd name="T25" fmla="*/ 408 h 1342"/>
                <a:gd name="T26" fmla="*/ 527 w 1768"/>
                <a:gd name="T27" fmla="*/ 424 h 1342"/>
                <a:gd name="T28" fmla="*/ 512 w 1768"/>
                <a:gd name="T29" fmla="*/ 433 h 1342"/>
                <a:gd name="T30" fmla="*/ 469 w 1768"/>
                <a:gd name="T31" fmla="*/ 427 h 1342"/>
                <a:gd name="T32" fmla="*/ 399 w 1768"/>
                <a:gd name="T33" fmla="*/ 418 h 1342"/>
                <a:gd name="T34" fmla="*/ 328 w 1768"/>
                <a:gd name="T35" fmla="*/ 429 h 1342"/>
                <a:gd name="T36" fmla="*/ 274 w 1768"/>
                <a:gd name="T37" fmla="*/ 422 h 1342"/>
                <a:gd name="T38" fmla="*/ 210 w 1768"/>
                <a:gd name="T39" fmla="*/ 424 h 1342"/>
                <a:gd name="T40" fmla="*/ 174 w 1768"/>
                <a:gd name="T41" fmla="*/ 412 h 1342"/>
                <a:gd name="T42" fmla="*/ 136 w 1768"/>
                <a:gd name="T43" fmla="*/ 392 h 1342"/>
                <a:gd name="T44" fmla="*/ 55 w 1768"/>
                <a:gd name="T45" fmla="*/ 379 h 1342"/>
                <a:gd name="T46" fmla="*/ 45 w 1768"/>
                <a:gd name="T47" fmla="*/ 356 h 1342"/>
                <a:gd name="T48" fmla="*/ 29 w 1768"/>
                <a:gd name="T49" fmla="*/ 338 h 1342"/>
                <a:gd name="T50" fmla="*/ 16 w 1768"/>
                <a:gd name="T51" fmla="*/ 321 h 1342"/>
                <a:gd name="T52" fmla="*/ 27 w 1768"/>
                <a:gd name="T53" fmla="*/ 302 h 1342"/>
                <a:gd name="T54" fmla="*/ 5 w 1768"/>
                <a:gd name="T55" fmla="*/ 277 h 1342"/>
                <a:gd name="T56" fmla="*/ 5 w 1768"/>
                <a:gd name="T57" fmla="*/ 251 h 1342"/>
                <a:gd name="T58" fmla="*/ 17 w 1768"/>
                <a:gd name="T59" fmla="*/ 234 h 1342"/>
                <a:gd name="T60" fmla="*/ 59 w 1768"/>
                <a:gd name="T61" fmla="*/ 222 h 1342"/>
                <a:gd name="T62" fmla="*/ 78 w 1768"/>
                <a:gd name="T63" fmla="*/ 224 h 1342"/>
                <a:gd name="T64" fmla="*/ 102 w 1768"/>
                <a:gd name="T65" fmla="*/ 232 h 1342"/>
                <a:gd name="T66" fmla="*/ 174 w 1768"/>
                <a:gd name="T67" fmla="*/ 214 h 1342"/>
                <a:gd name="T68" fmla="*/ 237 w 1768"/>
                <a:gd name="T69" fmla="*/ 182 h 1342"/>
                <a:gd name="T70" fmla="*/ 257 w 1768"/>
                <a:gd name="T71" fmla="*/ 168 h 1342"/>
                <a:gd name="T72" fmla="*/ 246 w 1768"/>
                <a:gd name="T73" fmla="*/ 114 h 1342"/>
                <a:gd name="T74" fmla="*/ 301 w 1768"/>
                <a:gd name="T75" fmla="*/ 105 h 1342"/>
                <a:gd name="T76" fmla="*/ 325 w 1768"/>
                <a:gd name="T77" fmla="*/ 114 h 1342"/>
                <a:gd name="T78" fmla="*/ 351 w 1768"/>
                <a:gd name="T79" fmla="*/ 55 h 1342"/>
                <a:gd name="T80" fmla="*/ 397 w 1768"/>
                <a:gd name="T81" fmla="*/ 63 h 1342"/>
                <a:gd name="T82" fmla="*/ 436 w 1768"/>
                <a:gd name="T83" fmla="*/ 27 h 1342"/>
                <a:gd name="T84" fmla="*/ 469 w 1768"/>
                <a:gd name="T85" fmla="*/ 13 h 1342"/>
                <a:gd name="T86" fmla="*/ 498 w 1768"/>
                <a:gd name="T87" fmla="*/ 4 h 13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68" h="1342">
                  <a:moveTo>
                    <a:pt x="1207" y="12"/>
                  </a:moveTo>
                  <a:lnTo>
                    <a:pt x="1225" y="12"/>
                  </a:lnTo>
                  <a:lnTo>
                    <a:pt x="1213" y="48"/>
                  </a:lnTo>
                  <a:lnTo>
                    <a:pt x="1228" y="66"/>
                  </a:lnTo>
                  <a:lnTo>
                    <a:pt x="1231" y="78"/>
                  </a:lnTo>
                  <a:lnTo>
                    <a:pt x="1267" y="114"/>
                  </a:lnTo>
                  <a:lnTo>
                    <a:pt x="1276" y="141"/>
                  </a:lnTo>
                  <a:lnTo>
                    <a:pt x="1324" y="144"/>
                  </a:lnTo>
                  <a:lnTo>
                    <a:pt x="1345" y="162"/>
                  </a:lnTo>
                  <a:lnTo>
                    <a:pt x="1357" y="162"/>
                  </a:lnTo>
                  <a:lnTo>
                    <a:pt x="1384" y="222"/>
                  </a:lnTo>
                  <a:lnTo>
                    <a:pt x="1411" y="294"/>
                  </a:lnTo>
                  <a:lnTo>
                    <a:pt x="1396" y="336"/>
                  </a:lnTo>
                  <a:lnTo>
                    <a:pt x="1399" y="351"/>
                  </a:lnTo>
                  <a:lnTo>
                    <a:pt x="1375" y="396"/>
                  </a:lnTo>
                  <a:lnTo>
                    <a:pt x="1381" y="429"/>
                  </a:lnTo>
                  <a:lnTo>
                    <a:pt x="1471" y="468"/>
                  </a:lnTo>
                  <a:lnTo>
                    <a:pt x="1567" y="480"/>
                  </a:lnTo>
                  <a:lnTo>
                    <a:pt x="1666" y="549"/>
                  </a:lnTo>
                  <a:lnTo>
                    <a:pt x="1696" y="561"/>
                  </a:lnTo>
                  <a:lnTo>
                    <a:pt x="1699" y="579"/>
                  </a:lnTo>
                  <a:lnTo>
                    <a:pt x="1720" y="623"/>
                  </a:lnTo>
                  <a:lnTo>
                    <a:pt x="1741" y="677"/>
                  </a:lnTo>
                  <a:lnTo>
                    <a:pt x="1768" y="725"/>
                  </a:lnTo>
                  <a:lnTo>
                    <a:pt x="1753" y="743"/>
                  </a:lnTo>
                  <a:lnTo>
                    <a:pt x="1753" y="776"/>
                  </a:lnTo>
                  <a:lnTo>
                    <a:pt x="1717" y="791"/>
                  </a:lnTo>
                  <a:lnTo>
                    <a:pt x="1633" y="827"/>
                  </a:lnTo>
                  <a:lnTo>
                    <a:pt x="1579" y="872"/>
                  </a:lnTo>
                  <a:lnTo>
                    <a:pt x="1540" y="890"/>
                  </a:lnTo>
                  <a:lnTo>
                    <a:pt x="1534" y="917"/>
                  </a:lnTo>
                  <a:lnTo>
                    <a:pt x="1546" y="1049"/>
                  </a:lnTo>
                  <a:lnTo>
                    <a:pt x="1513" y="1043"/>
                  </a:lnTo>
                  <a:lnTo>
                    <a:pt x="1498" y="1055"/>
                  </a:lnTo>
                  <a:lnTo>
                    <a:pt x="1291" y="1097"/>
                  </a:lnTo>
                  <a:lnTo>
                    <a:pt x="1261" y="1118"/>
                  </a:lnTo>
                  <a:lnTo>
                    <a:pt x="1264" y="1175"/>
                  </a:lnTo>
                  <a:lnTo>
                    <a:pt x="1327" y="1226"/>
                  </a:lnTo>
                  <a:lnTo>
                    <a:pt x="1306" y="1259"/>
                  </a:lnTo>
                  <a:lnTo>
                    <a:pt x="1276" y="1274"/>
                  </a:lnTo>
                  <a:lnTo>
                    <a:pt x="1273" y="1289"/>
                  </a:lnTo>
                  <a:lnTo>
                    <a:pt x="1279" y="1307"/>
                  </a:lnTo>
                  <a:lnTo>
                    <a:pt x="1294" y="1307"/>
                  </a:lnTo>
                  <a:lnTo>
                    <a:pt x="1303" y="1319"/>
                  </a:lnTo>
                  <a:lnTo>
                    <a:pt x="1243" y="1339"/>
                  </a:lnTo>
                  <a:lnTo>
                    <a:pt x="1207" y="1325"/>
                  </a:lnTo>
                  <a:lnTo>
                    <a:pt x="1189" y="1316"/>
                  </a:lnTo>
                  <a:lnTo>
                    <a:pt x="1141" y="1316"/>
                  </a:lnTo>
                  <a:lnTo>
                    <a:pt x="1061" y="1277"/>
                  </a:lnTo>
                  <a:lnTo>
                    <a:pt x="1010" y="1277"/>
                  </a:lnTo>
                  <a:lnTo>
                    <a:pt x="968" y="1289"/>
                  </a:lnTo>
                  <a:lnTo>
                    <a:pt x="923" y="1289"/>
                  </a:lnTo>
                  <a:lnTo>
                    <a:pt x="851" y="1328"/>
                  </a:lnTo>
                  <a:lnTo>
                    <a:pt x="794" y="1322"/>
                  </a:lnTo>
                  <a:lnTo>
                    <a:pt x="740" y="1342"/>
                  </a:lnTo>
                  <a:lnTo>
                    <a:pt x="692" y="1325"/>
                  </a:lnTo>
                  <a:lnTo>
                    <a:pt x="662" y="1301"/>
                  </a:lnTo>
                  <a:lnTo>
                    <a:pt x="587" y="1289"/>
                  </a:lnTo>
                  <a:lnTo>
                    <a:pt x="536" y="1325"/>
                  </a:lnTo>
                  <a:lnTo>
                    <a:pt x="509" y="1313"/>
                  </a:lnTo>
                  <a:lnTo>
                    <a:pt x="488" y="1295"/>
                  </a:lnTo>
                  <a:lnTo>
                    <a:pt x="431" y="1280"/>
                  </a:lnTo>
                  <a:lnTo>
                    <a:pt x="422" y="1271"/>
                  </a:lnTo>
                  <a:lnTo>
                    <a:pt x="401" y="1271"/>
                  </a:lnTo>
                  <a:lnTo>
                    <a:pt x="365" y="1217"/>
                  </a:lnTo>
                  <a:lnTo>
                    <a:pt x="333" y="1208"/>
                  </a:lnTo>
                  <a:lnTo>
                    <a:pt x="246" y="1235"/>
                  </a:lnTo>
                  <a:lnTo>
                    <a:pt x="210" y="1226"/>
                  </a:lnTo>
                  <a:lnTo>
                    <a:pt x="135" y="1172"/>
                  </a:lnTo>
                  <a:lnTo>
                    <a:pt x="114" y="1169"/>
                  </a:lnTo>
                  <a:lnTo>
                    <a:pt x="99" y="1133"/>
                  </a:lnTo>
                  <a:lnTo>
                    <a:pt x="111" y="1097"/>
                  </a:lnTo>
                  <a:lnTo>
                    <a:pt x="105" y="1079"/>
                  </a:lnTo>
                  <a:lnTo>
                    <a:pt x="78" y="1061"/>
                  </a:lnTo>
                  <a:lnTo>
                    <a:pt x="69" y="1043"/>
                  </a:lnTo>
                  <a:lnTo>
                    <a:pt x="12" y="1010"/>
                  </a:lnTo>
                  <a:lnTo>
                    <a:pt x="12" y="1001"/>
                  </a:lnTo>
                  <a:lnTo>
                    <a:pt x="39" y="989"/>
                  </a:lnTo>
                  <a:lnTo>
                    <a:pt x="57" y="998"/>
                  </a:lnTo>
                  <a:lnTo>
                    <a:pt x="72" y="983"/>
                  </a:lnTo>
                  <a:lnTo>
                    <a:pt x="66" y="929"/>
                  </a:lnTo>
                  <a:lnTo>
                    <a:pt x="72" y="884"/>
                  </a:lnTo>
                  <a:lnTo>
                    <a:pt x="36" y="845"/>
                  </a:lnTo>
                  <a:lnTo>
                    <a:pt x="9" y="854"/>
                  </a:lnTo>
                  <a:lnTo>
                    <a:pt x="0" y="827"/>
                  </a:lnTo>
                  <a:lnTo>
                    <a:pt x="15" y="800"/>
                  </a:lnTo>
                  <a:lnTo>
                    <a:pt x="6" y="773"/>
                  </a:lnTo>
                  <a:lnTo>
                    <a:pt x="30" y="752"/>
                  </a:lnTo>
                  <a:lnTo>
                    <a:pt x="42" y="743"/>
                  </a:lnTo>
                  <a:lnTo>
                    <a:pt x="42" y="722"/>
                  </a:lnTo>
                  <a:lnTo>
                    <a:pt x="75" y="704"/>
                  </a:lnTo>
                  <a:lnTo>
                    <a:pt x="111" y="698"/>
                  </a:lnTo>
                  <a:lnTo>
                    <a:pt x="141" y="686"/>
                  </a:lnTo>
                  <a:lnTo>
                    <a:pt x="165" y="695"/>
                  </a:lnTo>
                  <a:lnTo>
                    <a:pt x="183" y="686"/>
                  </a:lnTo>
                  <a:lnTo>
                    <a:pt x="189" y="692"/>
                  </a:lnTo>
                  <a:lnTo>
                    <a:pt x="192" y="713"/>
                  </a:lnTo>
                  <a:lnTo>
                    <a:pt x="207" y="722"/>
                  </a:lnTo>
                  <a:lnTo>
                    <a:pt x="246" y="719"/>
                  </a:lnTo>
                  <a:lnTo>
                    <a:pt x="291" y="671"/>
                  </a:lnTo>
                  <a:lnTo>
                    <a:pt x="377" y="689"/>
                  </a:lnTo>
                  <a:lnTo>
                    <a:pt x="422" y="659"/>
                  </a:lnTo>
                  <a:lnTo>
                    <a:pt x="554" y="629"/>
                  </a:lnTo>
                  <a:lnTo>
                    <a:pt x="563" y="611"/>
                  </a:lnTo>
                  <a:lnTo>
                    <a:pt x="575" y="561"/>
                  </a:lnTo>
                  <a:lnTo>
                    <a:pt x="611" y="531"/>
                  </a:lnTo>
                  <a:lnTo>
                    <a:pt x="623" y="531"/>
                  </a:lnTo>
                  <a:lnTo>
                    <a:pt x="623" y="516"/>
                  </a:lnTo>
                  <a:lnTo>
                    <a:pt x="626" y="390"/>
                  </a:lnTo>
                  <a:lnTo>
                    <a:pt x="632" y="366"/>
                  </a:lnTo>
                  <a:lnTo>
                    <a:pt x="596" y="351"/>
                  </a:lnTo>
                  <a:lnTo>
                    <a:pt x="593" y="342"/>
                  </a:lnTo>
                  <a:lnTo>
                    <a:pt x="632" y="330"/>
                  </a:lnTo>
                  <a:lnTo>
                    <a:pt x="731" y="321"/>
                  </a:lnTo>
                  <a:lnTo>
                    <a:pt x="746" y="342"/>
                  </a:lnTo>
                  <a:lnTo>
                    <a:pt x="779" y="351"/>
                  </a:lnTo>
                  <a:lnTo>
                    <a:pt x="788" y="351"/>
                  </a:lnTo>
                  <a:lnTo>
                    <a:pt x="803" y="333"/>
                  </a:lnTo>
                  <a:lnTo>
                    <a:pt x="785" y="315"/>
                  </a:lnTo>
                  <a:lnTo>
                    <a:pt x="857" y="168"/>
                  </a:lnTo>
                  <a:lnTo>
                    <a:pt x="869" y="159"/>
                  </a:lnTo>
                  <a:lnTo>
                    <a:pt x="935" y="192"/>
                  </a:lnTo>
                  <a:lnTo>
                    <a:pt x="965" y="192"/>
                  </a:lnTo>
                  <a:lnTo>
                    <a:pt x="977" y="210"/>
                  </a:lnTo>
                  <a:lnTo>
                    <a:pt x="1040" y="192"/>
                  </a:lnTo>
                  <a:lnTo>
                    <a:pt x="1058" y="84"/>
                  </a:lnTo>
                  <a:lnTo>
                    <a:pt x="1085" y="66"/>
                  </a:lnTo>
                  <a:lnTo>
                    <a:pt x="1117" y="66"/>
                  </a:lnTo>
                  <a:lnTo>
                    <a:pt x="1138" y="39"/>
                  </a:lnTo>
                  <a:lnTo>
                    <a:pt x="1147" y="12"/>
                  </a:lnTo>
                  <a:lnTo>
                    <a:pt x="1165" y="0"/>
                  </a:lnTo>
                  <a:lnTo>
                    <a:pt x="1207" y="12"/>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1" name="Freeform 175"/>
            <p:cNvSpPr>
              <a:spLocks/>
            </p:cNvSpPr>
            <p:nvPr/>
          </p:nvSpPr>
          <p:spPr bwMode="auto">
            <a:xfrm>
              <a:off x="3903911" y="3241700"/>
              <a:ext cx="608013" cy="1090612"/>
            </a:xfrm>
            <a:custGeom>
              <a:avLst/>
              <a:gdLst>
                <a:gd name="T0" fmla="*/ 148 w 434"/>
                <a:gd name="T1" fmla="*/ 153 h 785"/>
                <a:gd name="T2" fmla="*/ 144 w 434"/>
                <a:gd name="T3" fmla="*/ 87 h 785"/>
                <a:gd name="T4" fmla="*/ 156 w 434"/>
                <a:gd name="T5" fmla="*/ 64 h 785"/>
                <a:gd name="T6" fmla="*/ 156 w 434"/>
                <a:gd name="T7" fmla="*/ 34 h 785"/>
                <a:gd name="T8" fmla="*/ 163 w 434"/>
                <a:gd name="T9" fmla="*/ 13 h 785"/>
                <a:gd name="T10" fmla="*/ 157 w 434"/>
                <a:gd name="T11" fmla="*/ 0 h 785"/>
                <a:gd name="T12" fmla="*/ 130 w 434"/>
                <a:gd name="T13" fmla="*/ 8 h 785"/>
                <a:gd name="T14" fmla="*/ 121 w 434"/>
                <a:gd name="T15" fmla="*/ 27 h 785"/>
                <a:gd name="T16" fmla="*/ 111 w 434"/>
                <a:gd name="T17" fmla="*/ 33 h 785"/>
                <a:gd name="T18" fmla="*/ 76 w 434"/>
                <a:gd name="T19" fmla="*/ 65 h 785"/>
                <a:gd name="T20" fmla="*/ 49 w 434"/>
                <a:gd name="T21" fmla="*/ 64 h 785"/>
                <a:gd name="T22" fmla="*/ 44 w 434"/>
                <a:gd name="T23" fmla="*/ 87 h 785"/>
                <a:gd name="T24" fmla="*/ 76 w 434"/>
                <a:gd name="T25" fmla="*/ 102 h 785"/>
                <a:gd name="T26" fmla="*/ 94 w 434"/>
                <a:gd name="T27" fmla="*/ 118 h 785"/>
                <a:gd name="T28" fmla="*/ 91 w 434"/>
                <a:gd name="T29" fmla="*/ 139 h 785"/>
                <a:gd name="T30" fmla="*/ 66 w 434"/>
                <a:gd name="T31" fmla="*/ 145 h 785"/>
                <a:gd name="T32" fmla="*/ 62 w 434"/>
                <a:gd name="T33" fmla="*/ 150 h 785"/>
                <a:gd name="T34" fmla="*/ 45 w 434"/>
                <a:gd name="T35" fmla="*/ 157 h 785"/>
                <a:gd name="T36" fmla="*/ 25 w 434"/>
                <a:gd name="T37" fmla="*/ 153 h 785"/>
                <a:gd name="T38" fmla="*/ 25 w 434"/>
                <a:gd name="T39" fmla="*/ 160 h 785"/>
                <a:gd name="T40" fmla="*/ 16 w 434"/>
                <a:gd name="T41" fmla="*/ 172 h 785"/>
                <a:gd name="T42" fmla="*/ 20 w 434"/>
                <a:gd name="T43" fmla="*/ 192 h 785"/>
                <a:gd name="T44" fmla="*/ 23 w 434"/>
                <a:gd name="T45" fmla="*/ 202 h 785"/>
                <a:gd name="T46" fmla="*/ 0 w 434"/>
                <a:gd name="T47" fmla="*/ 206 h 785"/>
                <a:gd name="T48" fmla="*/ 5 w 434"/>
                <a:gd name="T49" fmla="*/ 224 h 785"/>
                <a:gd name="T50" fmla="*/ 12 w 434"/>
                <a:gd name="T51" fmla="*/ 233 h 785"/>
                <a:gd name="T52" fmla="*/ 41 w 434"/>
                <a:gd name="T53" fmla="*/ 230 h 785"/>
                <a:gd name="T54" fmla="*/ 48 w 434"/>
                <a:gd name="T55" fmla="*/ 236 h 785"/>
                <a:gd name="T56" fmla="*/ 79 w 434"/>
                <a:gd name="T57" fmla="*/ 247 h 785"/>
                <a:gd name="T58" fmla="*/ 118 w 434"/>
                <a:gd name="T59" fmla="*/ 251 h 785"/>
                <a:gd name="T60" fmla="*/ 135 w 434"/>
                <a:gd name="T61" fmla="*/ 254 h 785"/>
                <a:gd name="T62" fmla="*/ 132 w 434"/>
                <a:gd name="T63" fmla="*/ 240 h 785"/>
                <a:gd name="T64" fmla="*/ 148 w 434"/>
                <a:gd name="T65" fmla="*/ 226 h 785"/>
                <a:gd name="T66" fmla="*/ 144 w 434"/>
                <a:gd name="T67" fmla="*/ 220 h 785"/>
                <a:gd name="T68" fmla="*/ 127 w 434"/>
                <a:gd name="T69" fmla="*/ 210 h 785"/>
                <a:gd name="T70" fmla="*/ 160 w 434"/>
                <a:gd name="T71" fmla="*/ 208 h 785"/>
                <a:gd name="T72" fmla="*/ 169 w 434"/>
                <a:gd name="T73" fmla="*/ 210 h 785"/>
                <a:gd name="T74" fmla="*/ 177 w 434"/>
                <a:gd name="T75" fmla="*/ 197 h 785"/>
                <a:gd name="T76" fmla="*/ 152 w 434"/>
                <a:gd name="T77" fmla="*/ 162 h 7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4" h="785">
                  <a:moveTo>
                    <a:pt x="371" y="497"/>
                  </a:moveTo>
                  <a:lnTo>
                    <a:pt x="362" y="467"/>
                  </a:lnTo>
                  <a:lnTo>
                    <a:pt x="380" y="398"/>
                  </a:lnTo>
                  <a:lnTo>
                    <a:pt x="350" y="264"/>
                  </a:lnTo>
                  <a:lnTo>
                    <a:pt x="371" y="231"/>
                  </a:lnTo>
                  <a:lnTo>
                    <a:pt x="380" y="198"/>
                  </a:lnTo>
                  <a:lnTo>
                    <a:pt x="353" y="144"/>
                  </a:lnTo>
                  <a:lnTo>
                    <a:pt x="380" y="105"/>
                  </a:lnTo>
                  <a:lnTo>
                    <a:pt x="383" y="69"/>
                  </a:lnTo>
                  <a:lnTo>
                    <a:pt x="398" y="42"/>
                  </a:lnTo>
                  <a:lnTo>
                    <a:pt x="395" y="9"/>
                  </a:lnTo>
                  <a:lnTo>
                    <a:pt x="383" y="0"/>
                  </a:lnTo>
                  <a:lnTo>
                    <a:pt x="365" y="21"/>
                  </a:lnTo>
                  <a:lnTo>
                    <a:pt x="317" y="24"/>
                  </a:lnTo>
                  <a:lnTo>
                    <a:pt x="293" y="60"/>
                  </a:lnTo>
                  <a:lnTo>
                    <a:pt x="293" y="81"/>
                  </a:lnTo>
                  <a:lnTo>
                    <a:pt x="290" y="93"/>
                  </a:lnTo>
                  <a:lnTo>
                    <a:pt x="269" y="102"/>
                  </a:lnTo>
                  <a:lnTo>
                    <a:pt x="194" y="207"/>
                  </a:lnTo>
                  <a:lnTo>
                    <a:pt x="185" y="201"/>
                  </a:lnTo>
                  <a:lnTo>
                    <a:pt x="164" y="195"/>
                  </a:lnTo>
                  <a:lnTo>
                    <a:pt x="122" y="198"/>
                  </a:lnTo>
                  <a:lnTo>
                    <a:pt x="107" y="219"/>
                  </a:lnTo>
                  <a:lnTo>
                    <a:pt x="107" y="264"/>
                  </a:lnTo>
                  <a:lnTo>
                    <a:pt x="113" y="276"/>
                  </a:lnTo>
                  <a:lnTo>
                    <a:pt x="185" y="311"/>
                  </a:lnTo>
                  <a:lnTo>
                    <a:pt x="224" y="335"/>
                  </a:lnTo>
                  <a:lnTo>
                    <a:pt x="230" y="359"/>
                  </a:lnTo>
                  <a:lnTo>
                    <a:pt x="209" y="389"/>
                  </a:lnTo>
                  <a:lnTo>
                    <a:pt x="221" y="422"/>
                  </a:lnTo>
                  <a:lnTo>
                    <a:pt x="215" y="440"/>
                  </a:lnTo>
                  <a:lnTo>
                    <a:pt x="161" y="443"/>
                  </a:lnTo>
                  <a:lnTo>
                    <a:pt x="149" y="449"/>
                  </a:lnTo>
                  <a:lnTo>
                    <a:pt x="152" y="461"/>
                  </a:lnTo>
                  <a:lnTo>
                    <a:pt x="152" y="476"/>
                  </a:lnTo>
                  <a:lnTo>
                    <a:pt x="110" y="479"/>
                  </a:lnTo>
                  <a:lnTo>
                    <a:pt x="89" y="467"/>
                  </a:lnTo>
                  <a:lnTo>
                    <a:pt x="60" y="467"/>
                  </a:lnTo>
                  <a:lnTo>
                    <a:pt x="54" y="476"/>
                  </a:lnTo>
                  <a:lnTo>
                    <a:pt x="60" y="491"/>
                  </a:lnTo>
                  <a:lnTo>
                    <a:pt x="45" y="506"/>
                  </a:lnTo>
                  <a:lnTo>
                    <a:pt x="39" y="524"/>
                  </a:lnTo>
                  <a:lnTo>
                    <a:pt x="69" y="548"/>
                  </a:lnTo>
                  <a:lnTo>
                    <a:pt x="48" y="587"/>
                  </a:lnTo>
                  <a:lnTo>
                    <a:pt x="57" y="608"/>
                  </a:lnTo>
                  <a:lnTo>
                    <a:pt x="54" y="620"/>
                  </a:lnTo>
                  <a:lnTo>
                    <a:pt x="24" y="620"/>
                  </a:lnTo>
                  <a:lnTo>
                    <a:pt x="0" y="629"/>
                  </a:lnTo>
                  <a:lnTo>
                    <a:pt x="18" y="656"/>
                  </a:lnTo>
                  <a:lnTo>
                    <a:pt x="6" y="686"/>
                  </a:lnTo>
                  <a:lnTo>
                    <a:pt x="24" y="692"/>
                  </a:lnTo>
                  <a:lnTo>
                    <a:pt x="27" y="713"/>
                  </a:lnTo>
                  <a:lnTo>
                    <a:pt x="42" y="713"/>
                  </a:lnTo>
                  <a:lnTo>
                    <a:pt x="101" y="701"/>
                  </a:lnTo>
                  <a:lnTo>
                    <a:pt x="113" y="707"/>
                  </a:lnTo>
                  <a:lnTo>
                    <a:pt x="116" y="722"/>
                  </a:lnTo>
                  <a:lnTo>
                    <a:pt x="140" y="731"/>
                  </a:lnTo>
                  <a:lnTo>
                    <a:pt x="191" y="755"/>
                  </a:lnTo>
                  <a:lnTo>
                    <a:pt x="221" y="743"/>
                  </a:lnTo>
                  <a:lnTo>
                    <a:pt x="287" y="767"/>
                  </a:lnTo>
                  <a:lnTo>
                    <a:pt x="299" y="785"/>
                  </a:lnTo>
                  <a:lnTo>
                    <a:pt x="332" y="779"/>
                  </a:lnTo>
                  <a:lnTo>
                    <a:pt x="326" y="743"/>
                  </a:lnTo>
                  <a:lnTo>
                    <a:pt x="320" y="734"/>
                  </a:lnTo>
                  <a:lnTo>
                    <a:pt x="326" y="707"/>
                  </a:lnTo>
                  <a:lnTo>
                    <a:pt x="362" y="692"/>
                  </a:lnTo>
                  <a:lnTo>
                    <a:pt x="368" y="677"/>
                  </a:lnTo>
                  <a:lnTo>
                    <a:pt x="350" y="671"/>
                  </a:lnTo>
                  <a:lnTo>
                    <a:pt x="332" y="665"/>
                  </a:lnTo>
                  <a:lnTo>
                    <a:pt x="311" y="644"/>
                  </a:lnTo>
                  <a:lnTo>
                    <a:pt x="320" y="638"/>
                  </a:lnTo>
                  <a:lnTo>
                    <a:pt x="389" y="638"/>
                  </a:lnTo>
                  <a:lnTo>
                    <a:pt x="404" y="638"/>
                  </a:lnTo>
                  <a:lnTo>
                    <a:pt x="413" y="644"/>
                  </a:lnTo>
                  <a:lnTo>
                    <a:pt x="434" y="626"/>
                  </a:lnTo>
                  <a:lnTo>
                    <a:pt x="434" y="599"/>
                  </a:lnTo>
                  <a:lnTo>
                    <a:pt x="371" y="506"/>
                  </a:lnTo>
                  <a:lnTo>
                    <a:pt x="371" y="497"/>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2" name="Freeform 176"/>
            <p:cNvSpPr>
              <a:spLocks/>
            </p:cNvSpPr>
            <p:nvPr/>
          </p:nvSpPr>
          <p:spPr bwMode="auto">
            <a:xfrm>
              <a:off x="3903911" y="3241700"/>
              <a:ext cx="608013" cy="1090612"/>
            </a:xfrm>
            <a:custGeom>
              <a:avLst/>
              <a:gdLst>
                <a:gd name="T0" fmla="*/ 148 w 434"/>
                <a:gd name="T1" fmla="*/ 153 h 785"/>
                <a:gd name="T2" fmla="*/ 144 w 434"/>
                <a:gd name="T3" fmla="*/ 87 h 785"/>
                <a:gd name="T4" fmla="*/ 156 w 434"/>
                <a:gd name="T5" fmla="*/ 64 h 785"/>
                <a:gd name="T6" fmla="*/ 156 w 434"/>
                <a:gd name="T7" fmla="*/ 34 h 785"/>
                <a:gd name="T8" fmla="*/ 163 w 434"/>
                <a:gd name="T9" fmla="*/ 13 h 785"/>
                <a:gd name="T10" fmla="*/ 157 w 434"/>
                <a:gd name="T11" fmla="*/ 0 h 785"/>
                <a:gd name="T12" fmla="*/ 130 w 434"/>
                <a:gd name="T13" fmla="*/ 8 h 785"/>
                <a:gd name="T14" fmla="*/ 121 w 434"/>
                <a:gd name="T15" fmla="*/ 27 h 785"/>
                <a:gd name="T16" fmla="*/ 111 w 434"/>
                <a:gd name="T17" fmla="*/ 33 h 785"/>
                <a:gd name="T18" fmla="*/ 76 w 434"/>
                <a:gd name="T19" fmla="*/ 65 h 785"/>
                <a:gd name="T20" fmla="*/ 49 w 434"/>
                <a:gd name="T21" fmla="*/ 64 h 785"/>
                <a:gd name="T22" fmla="*/ 44 w 434"/>
                <a:gd name="T23" fmla="*/ 87 h 785"/>
                <a:gd name="T24" fmla="*/ 76 w 434"/>
                <a:gd name="T25" fmla="*/ 102 h 785"/>
                <a:gd name="T26" fmla="*/ 94 w 434"/>
                <a:gd name="T27" fmla="*/ 118 h 785"/>
                <a:gd name="T28" fmla="*/ 91 w 434"/>
                <a:gd name="T29" fmla="*/ 139 h 785"/>
                <a:gd name="T30" fmla="*/ 66 w 434"/>
                <a:gd name="T31" fmla="*/ 145 h 785"/>
                <a:gd name="T32" fmla="*/ 62 w 434"/>
                <a:gd name="T33" fmla="*/ 150 h 785"/>
                <a:gd name="T34" fmla="*/ 45 w 434"/>
                <a:gd name="T35" fmla="*/ 157 h 785"/>
                <a:gd name="T36" fmla="*/ 25 w 434"/>
                <a:gd name="T37" fmla="*/ 153 h 785"/>
                <a:gd name="T38" fmla="*/ 25 w 434"/>
                <a:gd name="T39" fmla="*/ 160 h 785"/>
                <a:gd name="T40" fmla="*/ 16 w 434"/>
                <a:gd name="T41" fmla="*/ 172 h 785"/>
                <a:gd name="T42" fmla="*/ 20 w 434"/>
                <a:gd name="T43" fmla="*/ 192 h 785"/>
                <a:gd name="T44" fmla="*/ 23 w 434"/>
                <a:gd name="T45" fmla="*/ 202 h 785"/>
                <a:gd name="T46" fmla="*/ 0 w 434"/>
                <a:gd name="T47" fmla="*/ 206 h 785"/>
                <a:gd name="T48" fmla="*/ 5 w 434"/>
                <a:gd name="T49" fmla="*/ 224 h 785"/>
                <a:gd name="T50" fmla="*/ 12 w 434"/>
                <a:gd name="T51" fmla="*/ 233 h 785"/>
                <a:gd name="T52" fmla="*/ 41 w 434"/>
                <a:gd name="T53" fmla="*/ 230 h 785"/>
                <a:gd name="T54" fmla="*/ 48 w 434"/>
                <a:gd name="T55" fmla="*/ 236 h 785"/>
                <a:gd name="T56" fmla="*/ 79 w 434"/>
                <a:gd name="T57" fmla="*/ 247 h 785"/>
                <a:gd name="T58" fmla="*/ 118 w 434"/>
                <a:gd name="T59" fmla="*/ 251 h 785"/>
                <a:gd name="T60" fmla="*/ 135 w 434"/>
                <a:gd name="T61" fmla="*/ 254 h 785"/>
                <a:gd name="T62" fmla="*/ 132 w 434"/>
                <a:gd name="T63" fmla="*/ 240 h 785"/>
                <a:gd name="T64" fmla="*/ 148 w 434"/>
                <a:gd name="T65" fmla="*/ 226 h 785"/>
                <a:gd name="T66" fmla="*/ 144 w 434"/>
                <a:gd name="T67" fmla="*/ 220 h 785"/>
                <a:gd name="T68" fmla="*/ 127 w 434"/>
                <a:gd name="T69" fmla="*/ 210 h 785"/>
                <a:gd name="T70" fmla="*/ 160 w 434"/>
                <a:gd name="T71" fmla="*/ 208 h 785"/>
                <a:gd name="T72" fmla="*/ 169 w 434"/>
                <a:gd name="T73" fmla="*/ 210 h 785"/>
                <a:gd name="T74" fmla="*/ 177 w 434"/>
                <a:gd name="T75" fmla="*/ 197 h 785"/>
                <a:gd name="T76" fmla="*/ 152 w 434"/>
                <a:gd name="T77" fmla="*/ 162 h 7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34" h="785">
                  <a:moveTo>
                    <a:pt x="371" y="497"/>
                  </a:moveTo>
                  <a:lnTo>
                    <a:pt x="362" y="467"/>
                  </a:lnTo>
                  <a:lnTo>
                    <a:pt x="380" y="398"/>
                  </a:lnTo>
                  <a:lnTo>
                    <a:pt x="350" y="264"/>
                  </a:lnTo>
                  <a:lnTo>
                    <a:pt x="371" y="231"/>
                  </a:lnTo>
                  <a:lnTo>
                    <a:pt x="380" y="198"/>
                  </a:lnTo>
                  <a:lnTo>
                    <a:pt x="353" y="144"/>
                  </a:lnTo>
                  <a:lnTo>
                    <a:pt x="380" y="105"/>
                  </a:lnTo>
                  <a:lnTo>
                    <a:pt x="383" y="69"/>
                  </a:lnTo>
                  <a:lnTo>
                    <a:pt x="398" y="42"/>
                  </a:lnTo>
                  <a:lnTo>
                    <a:pt x="395" y="9"/>
                  </a:lnTo>
                  <a:lnTo>
                    <a:pt x="383" y="0"/>
                  </a:lnTo>
                  <a:lnTo>
                    <a:pt x="365" y="21"/>
                  </a:lnTo>
                  <a:lnTo>
                    <a:pt x="317" y="24"/>
                  </a:lnTo>
                  <a:lnTo>
                    <a:pt x="293" y="60"/>
                  </a:lnTo>
                  <a:lnTo>
                    <a:pt x="293" y="81"/>
                  </a:lnTo>
                  <a:lnTo>
                    <a:pt x="290" y="93"/>
                  </a:lnTo>
                  <a:lnTo>
                    <a:pt x="269" y="102"/>
                  </a:lnTo>
                  <a:lnTo>
                    <a:pt x="194" y="207"/>
                  </a:lnTo>
                  <a:lnTo>
                    <a:pt x="185" y="201"/>
                  </a:lnTo>
                  <a:lnTo>
                    <a:pt x="164" y="195"/>
                  </a:lnTo>
                  <a:lnTo>
                    <a:pt x="122" y="198"/>
                  </a:lnTo>
                  <a:lnTo>
                    <a:pt x="107" y="219"/>
                  </a:lnTo>
                  <a:lnTo>
                    <a:pt x="107" y="264"/>
                  </a:lnTo>
                  <a:lnTo>
                    <a:pt x="113" y="276"/>
                  </a:lnTo>
                  <a:lnTo>
                    <a:pt x="185" y="311"/>
                  </a:lnTo>
                  <a:lnTo>
                    <a:pt x="224" y="335"/>
                  </a:lnTo>
                  <a:lnTo>
                    <a:pt x="230" y="359"/>
                  </a:lnTo>
                  <a:lnTo>
                    <a:pt x="209" y="389"/>
                  </a:lnTo>
                  <a:lnTo>
                    <a:pt x="221" y="422"/>
                  </a:lnTo>
                  <a:lnTo>
                    <a:pt x="215" y="440"/>
                  </a:lnTo>
                  <a:lnTo>
                    <a:pt x="161" y="443"/>
                  </a:lnTo>
                  <a:lnTo>
                    <a:pt x="149" y="449"/>
                  </a:lnTo>
                  <a:lnTo>
                    <a:pt x="152" y="461"/>
                  </a:lnTo>
                  <a:lnTo>
                    <a:pt x="152" y="476"/>
                  </a:lnTo>
                  <a:lnTo>
                    <a:pt x="110" y="479"/>
                  </a:lnTo>
                  <a:lnTo>
                    <a:pt x="89" y="467"/>
                  </a:lnTo>
                  <a:lnTo>
                    <a:pt x="60" y="467"/>
                  </a:lnTo>
                  <a:lnTo>
                    <a:pt x="54" y="476"/>
                  </a:lnTo>
                  <a:lnTo>
                    <a:pt x="60" y="491"/>
                  </a:lnTo>
                  <a:lnTo>
                    <a:pt x="45" y="506"/>
                  </a:lnTo>
                  <a:lnTo>
                    <a:pt x="39" y="524"/>
                  </a:lnTo>
                  <a:lnTo>
                    <a:pt x="69" y="548"/>
                  </a:lnTo>
                  <a:lnTo>
                    <a:pt x="48" y="587"/>
                  </a:lnTo>
                  <a:lnTo>
                    <a:pt x="57" y="608"/>
                  </a:lnTo>
                  <a:lnTo>
                    <a:pt x="54" y="620"/>
                  </a:lnTo>
                  <a:lnTo>
                    <a:pt x="24" y="620"/>
                  </a:lnTo>
                  <a:lnTo>
                    <a:pt x="0" y="629"/>
                  </a:lnTo>
                  <a:lnTo>
                    <a:pt x="18" y="656"/>
                  </a:lnTo>
                  <a:lnTo>
                    <a:pt x="6" y="686"/>
                  </a:lnTo>
                  <a:lnTo>
                    <a:pt x="24" y="692"/>
                  </a:lnTo>
                  <a:lnTo>
                    <a:pt x="27" y="713"/>
                  </a:lnTo>
                  <a:lnTo>
                    <a:pt x="42" y="713"/>
                  </a:lnTo>
                  <a:lnTo>
                    <a:pt x="101" y="701"/>
                  </a:lnTo>
                  <a:lnTo>
                    <a:pt x="113" y="707"/>
                  </a:lnTo>
                  <a:lnTo>
                    <a:pt x="116" y="722"/>
                  </a:lnTo>
                  <a:lnTo>
                    <a:pt x="140" y="731"/>
                  </a:lnTo>
                  <a:lnTo>
                    <a:pt x="191" y="755"/>
                  </a:lnTo>
                  <a:lnTo>
                    <a:pt x="221" y="743"/>
                  </a:lnTo>
                  <a:lnTo>
                    <a:pt x="287" y="767"/>
                  </a:lnTo>
                  <a:lnTo>
                    <a:pt x="299" y="785"/>
                  </a:lnTo>
                  <a:lnTo>
                    <a:pt x="332" y="779"/>
                  </a:lnTo>
                  <a:lnTo>
                    <a:pt x="326" y="743"/>
                  </a:lnTo>
                  <a:lnTo>
                    <a:pt x="320" y="734"/>
                  </a:lnTo>
                  <a:lnTo>
                    <a:pt x="326" y="707"/>
                  </a:lnTo>
                  <a:lnTo>
                    <a:pt x="362" y="692"/>
                  </a:lnTo>
                  <a:lnTo>
                    <a:pt x="368" y="677"/>
                  </a:lnTo>
                  <a:lnTo>
                    <a:pt x="350" y="671"/>
                  </a:lnTo>
                  <a:lnTo>
                    <a:pt x="332" y="665"/>
                  </a:lnTo>
                  <a:lnTo>
                    <a:pt x="311" y="644"/>
                  </a:lnTo>
                  <a:lnTo>
                    <a:pt x="320" y="638"/>
                  </a:lnTo>
                  <a:lnTo>
                    <a:pt x="389" y="638"/>
                  </a:lnTo>
                  <a:lnTo>
                    <a:pt x="404" y="638"/>
                  </a:lnTo>
                  <a:lnTo>
                    <a:pt x="413" y="644"/>
                  </a:lnTo>
                  <a:lnTo>
                    <a:pt x="434" y="626"/>
                  </a:lnTo>
                  <a:lnTo>
                    <a:pt x="434" y="599"/>
                  </a:lnTo>
                  <a:lnTo>
                    <a:pt x="371" y="506"/>
                  </a:lnTo>
                  <a:lnTo>
                    <a:pt x="371" y="497"/>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3" name="Freeform 177"/>
            <p:cNvSpPr>
              <a:spLocks/>
            </p:cNvSpPr>
            <p:nvPr/>
          </p:nvSpPr>
          <p:spPr bwMode="auto">
            <a:xfrm>
              <a:off x="4423024" y="3659212"/>
              <a:ext cx="736600" cy="650875"/>
            </a:xfrm>
            <a:custGeom>
              <a:avLst/>
              <a:gdLst>
                <a:gd name="T0" fmla="*/ 27 w 524"/>
                <a:gd name="T1" fmla="*/ 105 h 470"/>
                <a:gd name="T2" fmla="*/ 57 w 524"/>
                <a:gd name="T3" fmla="*/ 128 h 470"/>
                <a:gd name="T4" fmla="*/ 82 w 524"/>
                <a:gd name="T5" fmla="*/ 131 h 470"/>
                <a:gd name="T6" fmla="*/ 105 w 524"/>
                <a:gd name="T7" fmla="*/ 130 h 470"/>
                <a:gd name="T8" fmla="*/ 114 w 524"/>
                <a:gd name="T9" fmla="*/ 131 h 470"/>
                <a:gd name="T10" fmla="*/ 122 w 524"/>
                <a:gd name="T11" fmla="*/ 128 h 470"/>
                <a:gd name="T12" fmla="*/ 128 w 524"/>
                <a:gd name="T13" fmla="*/ 132 h 470"/>
                <a:gd name="T14" fmla="*/ 132 w 524"/>
                <a:gd name="T15" fmla="*/ 139 h 470"/>
                <a:gd name="T16" fmla="*/ 142 w 524"/>
                <a:gd name="T17" fmla="*/ 147 h 470"/>
                <a:gd name="T18" fmla="*/ 158 w 524"/>
                <a:gd name="T19" fmla="*/ 147 h 470"/>
                <a:gd name="T20" fmla="*/ 169 w 524"/>
                <a:gd name="T21" fmla="*/ 153 h 470"/>
                <a:gd name="T22" fmla="*/ 179 w 524"/>
                <a:gd name="T23" fmla="*/ 147 h 470"/>
                <a:gd name="T24" fmla="*/ 187 w 524"/>
                <a:gd name="T25" fmla="*/ 153 h 470"/>
                <a:gd name="T26" fmla="*/ 193 w 524"/>
                <a:gd name="T27" fmla="*/ 143 h 470"/>
                <a:gd name="T28" fmla="*/ 202 w 524"/>
                <a:gd name="T29" fmla="*/ 139 h 470"/>
                <a:gd name="T30" fmla="*/ 204 w 524"/>
                <a:gd name="T31" fmla="*/ 131 h 470"/>
                <a:gd name="T32" fmla="*/ 201 w 524"/>
                <a:gd name="T33" fmla="*/ 116 h 470"/>
                <a:gd name="T34" fmla="*/ 199 w 524"/>
                <a:gd name="T35" fmla="*/ 114 h 470"/>
                <a:gd name="T36" fmla="*/ 190 w 524"/>
                <a:gd name="T37" fmla="*/ 122 h 470"/>
                <a:gd name="T38" fmla="*/ 176 w 524"/>
                <a:gd name="T39" fmla="*/ 113 h 470"/>
                <a:gd name="T40" fmla="*/ 165 w 524"/>
                <a:gd name="T41" fmla="*/ 104 h 470"/>
                <a:gd name="T42" fmla="*/ 176 w 524"/>
                <a:gd name="T43" fmla="*/ 97 h 470"/>
                <a:gd name="T44" fmla="*/ 179 w 524"/>
                <a:gd name="T45" fmla="*/ 87 h 470"/>
                <a:gd name="T46" fmla="*/ 185 w 524"/>
                <a:gd name="T47" fmla="*/ 83 h 470"/>
                <a:gd name="T48" fmla="*/ 184 w 524"/>
                <a:gd name="T49" fmla="*/ 70 h 470"/>
                <a:gd name="T50" fmla="*/ 188 w 524"/>
                <a:gd name="T51" fmla="*/ 66 h 470"/>
                <a:gd name="T52" fmla="*/ 197 w 524"/>
                <a:gd name="T53" fmla="*/ 71 h 470"/>
                <a:gd name="T54" fmla="*/ 202 w 524"/>
                <a:gd name="T55" fmla="*/ 75 h 470"/>
                <a:gd name="T56" fmla="*/ 215 w 524"/>
                <a:gd name="T57" fmla="*/ 71 h 470"/>
                <a:gd name="T58" fmla="*/ 218 w 524"/>
                <a:gd name="T59" fmla="*/ 67 h 470"/>
                <a:gd name="T60" fmla="*/ 215 w 524"/>
                <a:gd name="T61" fmla="*/ 60 h 470"/>
                <a:gd name="T62" fmla="*/ 202 w 524"/>
                <a:gd name="T63" fmla="*/ 55 h 470"/>
                <a:gd name="T64" fmla="*/ 199 w 524"/>
                <a:gd name="T65" fmla="*/ 47 h 470"/>
                <a:gd name="T66" fmla="*/ 176 w 524"/>
                <a:gd name="T67" fmla="*/ 50 h 470"/>
                <a:gd name="T68" fmla="*/ 161 w 524"/>
                <a:gd name="T69" fmla="*/ 40 h 470"/>
                <a:gd name="T70" fmla="*/ 155 w 524"/>
                <a:gd name="T71" fmla="*/ 38 h 470"/>
                <a:gd name="T72" fmla="*/ 155 w 524"/>
                <a:gd name="T73" fmla="*/ 31 h 470"/>
                <a:gd name="T74" fmla="*/ 187 w 524"/>
                <a:gd name="T75" fmla="*/ 4 h 470"/>
                <a:gd name="T76" fmla="*/ 176 w 524"/>
                <a:gd name="T77" fmla="*/ 4 h 470"/>
                <a:gd name="T78" fmla="*/ 169 w 524"/>
                <a:gd name="T79" fmla="*/ 9 h 470"/>
                <a:gd name="T80" fmla="*/ 165 w 524"/>
                <a:gd name="T81" fmla="*/ 5 h 470"/>
                <a:gd name="T82" fmla="*/ 165 w 524"/>
                <a:gd name="T83" fmla="*/ 3 h 470"/>
                <a:gd name="T84" fmla="*/ 159 w 524"/>
                <a:gd name="T85" fmla="*/ 0 h 470"/>
                <a:gd name="T86" fmla="*/ 145 w 524"/>
                <a:gd name="T87" fmla="*/ 4 h 470"/>
                <a:gd name="T88" fmla="*/ 105 w 524"/>
                <a:gd name="T89" fmla="*/ 0 h 470"/>
                <a:gd name="T90" fmla="*/ 105 w 524"/>
                <a:gd name="T91" fmla="*/ 24 h 470"/>
                <a:gd name="T92" fmla="*/ 87 w 524"/>
                <a:gd name="T93" fmla="*/ 36 h 470"/>
                <a:gd name="T94" fmla="*/ 62 w 524"/>
                <a:gd name="T95" fmla="*/ 40 h 470"/>
                <a:gd name="T96" fmla="*/ 27 w 524"/>
                <a:gd name="T97" fmla="*/ 57 h 470"/>
                <a:gd name="T98" fmla="*/ 0 w 524"/>
                <a:gd name="T99" fmla="*/ 63 h 470"/>
                <a:gd name="T100" fmla="*/ 0 w 524"/>
                <a:gd name="T101" fmla="*/ 67 h 470"/>
                <a:gd name="T102" fmla="*/ 27 w 524"/>
                <a:gd name="T103" fmla="*/ 97 h 470"/>
                <a:gd name="T104" fmla="*/ 27 w 524"/>
                <a:gd name="T105" fmla="*/ 105 h 4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24" h="470">
                  <a:moveTo>
                    <a:pt x="63" y="326"/>
                  </a:moveTo>
                  <a:lnTo>
                    <a:pt x="138" y="395"/>
                  </a:lnTo>
                  <a:lnTo>
                    <a:pt x="198" y="407"/>
                  </a:lnTo>
                  <a:lnTo>
                    <a:pt x="255" y="398"/>
                  </a:lnTo>
                  <a:lnTo>
                    <a:pt x="273" y="407"/>
                  </a:lnTo>
                  <a:lnTo>
                    <a:pt x="294" y="395"/>
                  </a:lnTo>
                  <a:lnTo>
                    <a:pt x="309" y="410"/>
                  </a:lnTo>
                  <a:lnTo>
                    <a:pt x="315" y="431"/>
                  </a:lnTo>
                  <a:lnTo>
                    <a:pt x="342" y="449"/>
                  </a:lnTo>
                  <a:lnTo>
                    <a:pt x="378" y="449"/>
                  </a:lnTo>
                  <a:lnTo>
                    <a:pt x="405" y="470"/>
                  </a:lnTo>
                  <a:lnTo>
                    <a:pt x="429" y="458"/>
                  </a:lnTo>
                  <a:lnTo>
                    <a:pt x="450" y="470"/>
                  </a:lnTo>
                  <a:lnTo>
                    <a:pt x="464" y="440"/>
                  </a:lnTo>
                  <a:lnTo>
                    <a:pt x="485" y="428"/>
                  </a:lnTo>
                  <a:lnTo>
                    <a:pt x="491" y="401"/>
                  </a:lnTo>
                  <a:lnTo>
                    <a:pt x="482" y="356"/>
                  </a:lnTo>
                  <a:lnTo>
                    <a:pt x="479" y="353"/>
                  </a:lnTo>
                  <a:lnTo>
                    <a:pt x="456" y="377"/>
                  </a:lnTo>
                  <a:lnTo>
                    <a:pt x="423" y="347"/>
                  </a:lnTo>
                  <a:lnTo>
                    <a:pt x="396" y="317"/>
                  </a:lnTo>
                  <a:lnTo>
                    <a:pt x="423" y="299"/>
                  </a:lnTo>
                  <a:lnTo>
                    <a:pt x="429" y="266"/>
                  </a:lnTo>
                  <a:lnTo>
                    <a:pt x="444" y="254"/>
                  </a:lnTo>
                  <a:lnTo>
                    <a:pt x="441" y="212"/>
                  </a:lnTo>
                  <a:lnTo>
                    <a:pt x="453" y="203"/>
                  </a:lnTo>
                  <a:lnTo>
                    <a:pt x="473" y="215"/>
                  </a:lnTo>
                  <a:lnTo>
                    <a:pt x="485" y="233"/>
                  </a:lnTo>
                  <a:lnTo>
                    <a:pt x="515" y="215"/>
                  </a:lnTo>
                  <a:lnTo>
                    <a:pt x="524" y="206"/>
                  </a:lnTo>
                  <a:lnTo>
                    <a:pt x="518" y="185"/>
                  </a:lnTo>
                  <a:lnTo>
                    <a:pt x="485" y="167"/>
                  </a:lnTo>
                  <a:lnTo>
                    <a:pt x="479" y="146"/>
                  </a:lnTo>
                  <a:lnTo>
                    <a:pt x="423" y="152"/>
                  </a:lnTo>
                  <a:lnTo>
                    <a:pt x="387" y="122"/>
                  </a:lnTo>
                  <a:lnTo>
                    <a:pt x="372" y="116"/>
                  </a:lnTo>
                  <a:lnTo>
                    <a:pt x="372" y="95"/>
                  </a:lnTo>
                  <a:lnTo>
                    <a:pt x="450" y="8"/>
                  </a:lnTo>
                  <a:lnTo>
                    <a:pt x="423" y="14"/>
                  </a:lnTo>
                  <a:lnTo>
                    <a:pt x="405" y="26"/>
                  </a:lnTo>
                  <a:lnTo>
                    <a:pt x="396" y="17"/>
                  </a:lnTo>
                  <a:lnTo>
                    <a:pt x="396" y="3"/>
                  </a:lnTo>
                  <a:lnTo>
                    <a:pt x="384" y="0"/>
                  </a:lnTo>
                  <a:lnTo>
                    <a:pt x="348" y="11"/>
                  </a:lnTo>
                  <a:lnTo>
                    <a:pt x="255" y="0"/>
                  </a:lnTo>
                  <a:lnTo>
                    <a:pt x="252" y="74"/>
                  </a:lnTo>
                  <a:lnTo>
                    <a:pt x="207" y="110"/>
                  </a:lnTo>
                  <a:lnTo>
                    <a:pt x="150" y="122"/>
                  </a:lnTo>
                  <a:lnTo>
                    <a:pt x="66" y="179"/>
                  </a:lnTo>
                  <a:lnTo>
                    <a:pt x="0" y="197"/>
                  </a:lnTo>
                  <a:lnTo>
                    <a:pt x="0" y="206"/>
                  </a:lnTo>
                  <a:lnTo>
                    <a:pt x="63" y="299"/>
                  </a:lnTo>
                  <a:lnTo>
                    <a:pt x="63" y="326"/>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4" name="Freeform 178"/>
            <p:cNvSpPr>
              <a:spLocks/>
            </p:cNvSpPr>
            <p:nvPr/>
          </p:nvSpPr>
          <p:spPr bwMode="auto">
            <a:xfrm>
              <a:off x="4423024" y="3659212"/>
              <a:ext cx="736600" cy="650875"/>
            </a:xfrm>
            <a:custGeom>
              <a:avLst/>
              <a:gdLst>
                <a:gd name="T0" fmla="*/ 27 w 524"/>
                <a:gd name="T1" fmla="*/ 105 h 470"/>
                <a:gd name="T2" fmla="*/ 57 w 524"/>
                <a:gd name="T3" fmla="*/ 128 h 470"/>
                <a:gd name="T4" fmla="*/ 82 w 524"/>
                <a:gd name="T5" fmla="*/ 131 h 470"/>
                <a:gd name="T6" fmla="*/ 105 w 524"/>
                <a:gd name="T7" fmla="*/ 130 h 470"/>
                <a:gd name="T8" fmla="*/ 114 w 524"/>
                <a:gd name="T9" fmla="*/ 131 h 470"/>
                <a:gd name="T10" fmla="*/ 122 w 524"/>
                <a:gd name="T11" fmla="*/ 128 h 470"/>
                <a:gd name="T12" fmla="*/ 128 w 524"/>
                <a:gd name="T13" fmla="*/ 132 h 470"/>
                <a:gd name="T14" fmla="*/ 132 w 524"/>
                <a:gd name="T15" fmla="*/ 139 h 470"/>
                <a:gd name="T16" fmla="*/ 142 w 524"/>
                <a:gd name="T17" fmla="*/ 147 h 470"/>
                <a:gd name="T18" fmla="*/ 158 w 524"/>
                <a:gd name="T19" fmla="*/ 147 h 470"/>
                <a:gd name="T20" fmla="*/ 169 w 524"/>
                <a:gd name="T21" fmla="*/ 153 h 470"/>
                <a:gd name="T22" fmla="*/ 179 w 524"/>
                <a:gd name="T23" fmla="*/ 147 h 470"/>
                <a:gd name="T24" fmla="*/ 187 w 524"/>
                <a:gd name="T25" fmla="*/ 153 h 470"/>
                <a:gd name="T26" fmla="*/ 193 w 524"/>
                <a:gd name="T27" fmla="*/ 143 h 470"/>
                <a:gd name="T28" fmla="*/ 202 w 524"/>
                <a:gd name="T29" fmla="*/ 139 h 470"/>
                <a:gd name="T30" fmla="*/ 204 w 524"/>
                <a:gd name="T31" fmla="*/ 131 h 470"/>
                <a:gd name="T32" fmla="*/ 201 w 524"/>
                <a:gd name="T33" fmla="*/ 116 h 470"/>
                <a:gd name="T34" fmla="*/ 199 w 524"/>
                <a:gd name="T35" fmla="*/ 114 h 470"/>
                <a:gd name="T36" fmla="*/ 190 w 524"/>
                <a:gd name="T37" fmla="*/ 122 h 470"/>
                <a:gd name="T38" fmla="*/ 176 w 524"/>
                <a:gd name="T39" fmla="*/ 113 h 470"/>
                <a:gd name="T40" fmla="*/ 165 w 524"/>
                <a:gd name="T41" fmla="*/ 104 h 470"/>
                <a:gd name="T42" fmla="*/ 176 w 524"/>
                <a:gd name="T43" fmla="*/ 97 h 470"/>
                <a:gd name="T44" fmla="*/ 179 w 524"/>
                <a:gd name="T45" fmla="*/ 87 h 470"/>
                <a:gd name="T46" fmla="*/ 185 w 524"/>
                <a:gd name="T47" fmla="*/ 83 h 470"/>
                <a:gd name="T48" fmla="*/ 184 w 524"/>
                <a:gd name="T49" fmla="*/ 70 h 470"/>
                <a:gd name="T50" fmla="*/ 188 w 524"/>
                <a:gd name="T51" fmla="*/ 66 h 470"/>
                <a:gd name="T52" fmla="*/ 197 w 524"/>
                <a:gd name="T53" fmla="*/ 71 h 470"/>
                <a:gd name="T54" fmla="*/ 202 w 524"/>
                <a:gd name="T55" fmla="*/ 75 h 470"/>
                <a:gd name="T56" fmla="*/ 215 w 524"/>
                <a:gd name="T57" fmla="*/ 71 h 470"/>
                <a:gd name="T58" fmla="*/ 218 w 524"/>
                <a:gd name="T59" fmla="*/ 67 h 470"/>
                <a:gd name="T60" fmla="*/ 215 w 524"/>
                <a:gd name="T61" fmla="*/ 60 h 470"/>
                <a:gd name="T62" fmla="*/ 202 w 524"/>
                <a:gd name="T63" fmla="*/ 55 h 470"/>
                <a:gd name="T64" fmla="*/ 199 w 524"/>
                <a:gd name="T65" fmla="*/ 47 h 470"/>
                <a:gd name="T66" fmla="*/ 176 w 524"/>
                <a:gd name="T67" fmla="*/ 50 h 470"/>
                <a:gd name="T68" fmla="*/ 161 w 524"/>
                <a:gd name="T69" fmla="*/ 40 h 470"/>
                <a:gd name="T70" fmla="*/ 155 w 524"/>
                <a:gd name="T71" fmla="*/ 38 h 470"/>
                <a:gd name="T72" fmla="*/ 155 w 524"/>
                <a:gd name="T73" fmla="*/ 31 h 470"/>
                <a:gd name="T74" fmla="*/ 187 w 524"/>
                <a:gd name="T75" fmla="*/ 4 h 470"/>
                <a:gd name="T76" fmla="*/ 176 w 524"/>
                <a:gd name="T77" fmla="*/ 4 h 470"/>
                <a:gd name="T78" fmla="*/ 169 w 524"/>
                <a:gd name="T79" fmla="*/ 9 h 470"/>
                <a:gd name="T80" fmla="*/ 165 w 524"/>
                <a:gd name="T81" fmla="*/ 5 h 470"/>
                <a:gd name="T82" fmla="*/ 165 w 524"/>
                <a:gd name="T83" fmla="*/ 3 h 470"/>
                <a:gd name="T84" fmla="*/ 159 w 524"/>
                <a:gd name="T85" fmla="*/ 0 h 470"/>
                <a:gd name="T86" fmla="*/ 145 w 524"/>
                <a:gd name="T87" fmla="*/ 4 h 470"/>
                <a:gd name="T88" fmla="*/ 105 w 524"/>
                <a:gd name="T89" fmla="*/ 0 h 470"/>
                <a:gd name="T90" fmla="*/ 105 w 524"/>
                <a:gd name="T91" fmla="*/ 24 h 470"/>
                <a:gd name="T92" fmla="*/ 87 w 524"/>
                <a:gd name="T93" fmla="*/ 36 h 470"/>
                <a:gd name="T94" fmla="*/ 62 w 524"/>
                <a:gd name="T95" fmla="*/ 40 h 470"/>
                <a:gd name="T96" fmla="*/ 27 w 524"/>
                <a:gd name="T97" fmla="*/ 57 h 470"/>
                <a:gd name="T98" fmla="*/ 0 w 524"/>
                <a:gd name="T99" fmla="*/ 63 h 470"/>
                <a:gd name="T100" fmla="*/ 0 w 524"/>
                <a:gd name="T101" fmla="*/ 67 h 470"/>
                <a:gd name="T102" fmla="*/ 27 w 524"/>
                <a:gd name="T103" fmla="*/ 97 h 470"/>
                <a:gd name="T104" fmla="*/ 27 w 524"/>
                <a:gd name="T105" fmla="*/ 105 h 4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24" h="470">
                  <a:moveTo>
                    <a:pt x="63" y="326"/>
                  </a:moveTo>
                  <a:lnTo>
                    <a:pt x="138" y="395"/>
                  </a:lnTo>
                  <a:lnTo>
                    <a:pt x="198" y="407"/>
                  </a:lnTo>
                  <a:lnTo>
                    <a:pt x="255" y="398"/>
                  </a:lnTo>
                  <a:lnTo>
                    <a:pt x="273" y="407"/>
                  </a:lnTo>
                  <a:lnTo>
                    <a:pt x="294" y="395"/>
                  </a:lnTo>
                  <a:lnTo>
                    <a:pt x="309" y="410"/>
                  </a:lnTo>
                  <a:lnTo>
                    <a:pt x="315" y="431"/>
                  </a:lnTo>
                  <a:lnTo>
                    <a:pt x="342" y="449"/>
                  </a:lnTo>
                  <a:lnTo>
                    <a:pt x="378" y="449"/>
                  </a:lnTo>
                  <a:lnTo>
                    <a:pt x="405" y="470"/>
                  </a:lnTo>
                  <a:lnTo>
                    <a:pt x="429" y="458"/>
                  </a:lnTo>
                  <a:lnTo>
                    <a:pt x="450" y="470"/>
                  </a:lnTo>
                  <a:lnTo>
                    <a:pt x="464" y="440"/>
                  </a:lnTo>
                  <a:lnTo>
                    <a:pt x="485" y="428"/>
                  </a:lnTo>
                  <a:lnTo>
                    <a:pt x="491" y="401"/>
                  </a:lnTo>
                  <a:lnTo>
                    <a:pt x="482" y="356"/>
                  </a:lnTo>
                  <a:lnTo>
                    <a:pt x="479" y="353"/>
                  </a:lnTo>
                  <a:lnTo>
                    <a:pt x="456" y="377"/>
                  </a:lnTo>
                  <a:lnTo>
                    <a:pt x="423" y="347"/>
                  </a:lnTo>
                  <a:lnTo>
                    <a:pt x="396" y="317"/>
                  </a:lnTo>
                  <a:lnTo>
                    <a:pt x="423" y="299"/>
                  </a:lnTo>
                  <a:lnTo>
                    <a:pt x="429" y="266"/>
                  </a:lnTo>
                  <a:lnTo>
                    <a:pt x="444" y="254"/>
                  </a:lnTo>
                  <a:lnTo>
                    <a:pt x="441" y="212"/>
                  </a:lnTo>
                  <a:lnTo>
                    <a:pt x="453" y="203"/>
                  </a:lnTo>
                  <a:lnTo>
                    <a:pt x="473" y="215"/>
                  </a:lnTo>
                  <a:lnTo>
                    <a:pt x="485" y="233"/>
                  </a:lnTo>
                  <a:lnTo>
                    <a:pt x="515" y="215"/>
                  </a:lnTo>
                  <a:lnTo>
                    <a:pt x="524" y="206"/>
                  </a:lnTo>
                  <a:lnTo>
                    <a:pt x="518" y="185"/>
                  </a:lnTo>
                  <a:lnTo>
                    <a:pt x="485" y="167"/>
                  </a:lnTo>
                  <a:lnTo>
                    <a:pt x="479" y="146"/>
                  </a:lnTo>
                  <a:lnTo>
                    <a:pt x="423" y="152"/>
                  </a:lnTo>
                  <a:lnTo>
                    <a:pt x="387" y="122"/>
                  </a:lnTo>
                  <a:lnTo>
                    <a:pt x="372" y="116"/>
                  </a:lnTo>
                  <a:lnTo>
                    <a:pt x="372" y="95"/>
                  </a:lnTo>
                  <a:lnTo>
                    <a:pt x="450" y="8"/>
                  </a:lnTo>
                  <a:lnTo>
                    <a:pt x="423" y="14"/>
                  </a:lnTo>
                  <a:lnTo>
                    <a:pt x="405" y="26"/>
                  </a:lnTo>
                  <a:lnTo>
                    <a:pt x="396" y="17"/>
                  </a:lnTo>
                  <a:lnTo>
                    <a:pt x="396" y="3"/>
                  </a:lnTo>
                  <a:lnTo>
                    <a:pt x="384" y="0"/>
                  </a:lnTo>
                  <a:lnTo>
                    <a:pt x="348" y="11"/>
                  </a:lnTo>
                  <a:lnTo>
                    <a:pt x="255" y="0"/>
                  </a:lnTo>
                  <a:lnTo>
                    <a:pt x="252" y="74"/>
                  </a:lnTo>
                  <a:lnTo>
                    <a:pt x="207" y="110"/>
                  </a:lnTo>
                  <a:lnTo>
                    <a:pt x="150" y="122"/>
                  </a:lnTo>
                  <a:lnTo>
                    <a:pt x="66" y="179"/>
                  </a:lnTo>
                  <a:lnTo>
                    <a:pt x="0" y="197"/>
                  </a:lnTo>
                  <a:lnTo>
                    <a:pt x="0" y="206"/>
                  </a:lnTo>
                  <a:lnTo>
                    <a:pt x="63" y="299"/>
                  </a:lnTo>
                  <a:lnTo>
                    <a:pt x="63" y="326"/>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5" name="Freeform 179"/>
            <p:cNvSpPr>
              <a:spLocks/>
            </p:cNvSpPr>
            <p:nvPr/>
          </p:nvSpPr>
          <p:spPr bwMode="auto">
            <a:xfrm>
              <a:off x="4394449" y="3067075"/>
              <a:ext cx="423862" cy="865187"/>
            </a:xfrm>
            <a:custGeom>
              <a:avLst/>
              <a:gdLst>
                <a:gd name="T0" fmla="*/ 9 w 303"/>
                <a:gd name="T1" fmla="*/ 203 h 623"/>
                <a:gd name="T2" fmla="*/ 36 w 303"/>
                <a:gd name="T3" fmla="*/ 198 h 623"/>
                <a:gd name="T4" fmla="*/ 70 w 303"/>
                <a:gd name="T5" fmla="*/ 179 h 623"/>
                <a:gd name="T6" fmla="*/ 93 w 303"/>
                <a:gd name="T7" fmla="*/ 175 h 623"/>
                <a:gd name="T8" fmla="*/ 112 w 303"/>
                <a:gd name="T9" fmla="*/ 164 h 623"/>
                <a:gd name="T10" fmla="*/ 112 w 303"/>
                <a:gd name="T11" fmla="*/ 139 h 623"/>
                <a:gd name="T12" fmla="*/ 103 w 303"/>
                <a:gd name="T13" fmla="*/ 131 h 623"/>
                <a:gd name="T14" fmla="*/ 108 w 303"/>
                <a:gd name="T15" fmla="*/ 123 h 623"/>
                <a:gd name="T16" fmla="*/ 112 w 303"/>
                <a:gd name="T17" fmla="*/ 117 h 623"/>
                <a:gd name="T18" fmla="*/ 115 w 303"/>
                <a:gd name="T19" fmla="*/ 105 h 623"/>
                <a:gd name="T20" fmla="*/ 121 w 303"/>
                <a:gd name="T21" fmla="*/ 99 h 623"/>
                <a:gd name="T22" fmla="*/ 112 w 303"/>
                <a:gd name="T23" fmla="*/ 84 h 623"/>
                <a:gd name="T24" fmla="*/ 98 w 303"/>
                <a:gd name="T25" fmla="*/ 72 h 623"/>
                <a:gd name="T26" fmla="*/ 105 w 303"/>
                <a:gd name="T27" fmla="*/ 53 h 623"/>
                <a:gd name="T28" fmla="*/ 122 w 303"/>
                <a:gd name="T29" fmla="*/ 45 h 623"/>
                <a:gd name="T30" fmla="*/ 123 w 303"/>
                <a:gd name="T31" fmla="*/ 33 h 623"/>
                <a:gd name="T32" fmla="*/ 117 w 303"/>
                <a:gd name="T33" fmla="*/ 21 h 623"/>
                <a:gd name="T34" fmla="*/ 117 w 303"/>
                <a:gd name="T35" fmla="*/ 7 h 623"/>
                <a:gd name="T36" fmla="*/ 108 w 303"/>
                <a:gd name="T37" fmla="*/ 0 h 623"/>
                <a:gd name="T38" fmla="*/ 83 w 303"/>
                <a:gd name="T39" fmla="*/ 10 h 623"/>
                <a:gd name="T40" fmla="*/ 79 w 303"/>
                <a:gd name="T41" fmla="*/ 7 h 623"/>
                <a:gd name="T42" fmla="*/ 65 w 303"/>
                <a:gd name="T43" fmla="*/ 13 h 623"/>
                <a:gd name="T44" fmla="*/ 56 w 303"/>
                <a:gd name="T45" fmla="*/ 13 h 623"/>
                <a:gd name="T46" fmla="*/ 36 w 303"/>
                <a:gd name="T47" fmla="*/ 37 h 623"/>
                <a:gd name="T48" fmla="*/ 29 w 303"/>
                <a:gd name="T49" fmla="*/ 37 h 623"/>
                <a:gd name="T50" fmla="*/ 18 w 303"/>
                <a:gd name="T51" fmla="*/ 45 h 623"/>
                <a:gd name="T52" fmla="*/ 20 w 303"/>
                <a:gd name="T53" fmla="*/ 55 h 623"/>
                <a:gd name="T54" fmla="*/ 14 w 303"/>
                <a:gd name="T55" fmla="*/ 64 h 623"/>
                <a:gd name="T56" fmla="*/ 13 w 303"/>
                <a:gd name="T57" fmla="*/ 75 h 623"/>
                <a:gd name="T58" fmla="*/ 3 w 303"/>
                <a:gd name="T59" fmla="*/ 88 h 623"/>
                <a:gd name="T60" fmla="*/ 13 w 303"/>
                <a:gd name="T61" fmla="*/ 105 h 623"/>
                <a:gd name="T62" fmla="*/ 9 w 303"/>
                <a:gd name="T63" fmla="*/ 117 h 623"/>
                <a:gd name="T64" fmla="*/ 0 w 303"/>
                <a:gd name="T65" fmla="*/ 127 h 623"/>
                <a:gd name="T66" fmla="*/ 13 w 303"/>
                <a:gd name="T67" fmla="*/ 171 h 623"/>
                <a:gd name="T68" fmla="*/ 5 w 303"/>
                <a:gd name="T69" fmla="*/ 193 h 623"/>
                <a:gd name="T70" fmla="*/ 9 w 303"/>
                <a:gd name="T71" fmla="*/ 203 h 6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03" h="623">
                  <a:moveTo>
                    <a:pt x="21" y="623"/>
                  </a:moveTo>
                  <a:lnTo>
                    <a:pt x="87" y="605"/>
                  </a:lnTo>
                  <a:lnTo>
                    <a:pt x="171" y="548"/>
                  </a:lnTo>
                  <a:lnTo>
                    <a:pt x="228" y="536"/>
                  </a:lnTo>
                  <a:lnTo>
                    <a:pt x="273" y="500"/>
                  </a:lnTo>
                  <a:lnTo>
                    <a:pt x="276" y="426"/>
                  </a:lnTo>
                  <a:lnTo>
                    <a:pt x="255" y="399"/>
                  </a:lnTo>
                  <a:lnTo>
                    <a:pt x="264" y="378"/>
                  </a:lnTo>
                  <a:lnTo>
                    <a:pt x="276" y="357"/>
                  </a:lnTo>
                  <a:lnTo>
                    <a:pt x="282" y="324"/>
                  </a:lnTo>
                  <a:lnTo>
                    <a:pt x="294" y="303"/>
                  </a:lnTo>
                  <a:lnTo>
                    <a:pt x="273" y="258"/>
                  </a:lnTo>
                  <a:lnTo>
                    <a:pt x="240" y="219"/>
                  </a:lnTo>
                  <a:lnTo>
                    <a:pt x="258" y="162"/>
                  </a:lnTo>
                  <a:lnTo>
                    <a:pt x="297" y="135"/>
                  </a:lnTo>
                  <a:lnTo>
                    <a:pt x="303" y="99"/>
                  </a:lnTo>
                  <a:lnTo>
                    <a:pt x="288" y="63"/>
                  </a:lnTo>
                  <a:lnTo>
                    <a:pt x="288" y="21"/>
                  </a:lnTo>
                  <a:lnTo>
                    <a:pt x="264" y="0"/>
                  </a:lnTo>
                  <a:lnTo>
                    <a:pt x="204" y="30"/>
                  </a:lnTo>
                  <a:lnTo>
                    <a:pt x="195" y="21"/>
                  </a:lnTo>
                  <a:lnTo>
                    <a:pt x="162" y="42"/>
                  </a:lnTo>
                  <a:lnTo>
                    <a:pt x="138" y="42"/>
                  </a:lnTo>
                  <a:lnTo>
                    <a:pt x="87" y="114"/>
                  </a:lnTo>
                  <a:lnTo>
                    <a:pt x="72" y="114"/>
                  </a:lnTo>
                  <a:lnTo>
                    <a:pt x="45" y="135"/>
                  </a:lnTo>
                  <a:lnTo>
                    <a:pt x="48" y="168"/>
                  </a:lnTo>
                  <a:lnTo>
                    <a:pt x="33" y="195"/>
                  </a:lnTo>
                  <a:lnTo>
                    <a:pt x="30" y="231"/>
                  </a:lnTo>
                  <a:lnTo>
                    <a:pt x="3" y="270"/>
                  </a:lnTo>
                  <a:lnTo>
                    <a:pt x="30" y="324"/>
                  </a:lnTo>
                  <a:lnTo>
                    <a:pt x="21" y="357"/>
                  </a:lnTo>
                  <a:lnTo>
                    <a:pt x="0" y="390"/>
                  </a:lnTo>
                  <a:lnTo>
                    <a:pt x="30" y="524"/>
                  </a:lnTo>
                  <a:lnTo>
                    <a:pt x="12" y="593"/>
                  </a:lnTo>
                  <a:lnTo>
                    <a:pt x="21" y="623"/>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6" name="Freeform 180"/>
            <p:cNvSpPr>
              <a:spLocks/>
            </p:cNvSpPr>
            <p:nvPr/>
          </p:nvSpPr>
          <p:spPr bwMode="auto">
            <a:xfrm>
              <a:off x="4394449" y="3067075"/>
              <a:ext cx="423862" cy="865187"/>
            </a:xfrm>
            <a:custGeom>
              <a:avLst/>
              <a:gdLst>
                <a:gd name="T0" fmla="*/ 9 w 303"/>
                <a:gd name="T1" fmla="*/ 203 h 623"/>
                <a:gd name="T2" fmla="*/ 36 w 303"/>
                <a:gd name="T3" fmla="*/ 198 h 623"/>
                <a:gd name="T4" fmla="*/ 70 w 303"/>
                <a:gd name="T5" fmla="*/ 179 h 623"/>
                <a:gd name="T6" fmla="*/ 93 w 303"/>
                <a:gd name="T7" fmla="*/ 175 h 623"/>
                <a:gd name="T8" fmla="*/ 112 w 303"/>
                <a:gd name="T9" fmla="*/ 164 h 623"/>
                <a:gd name="T10" fmla="*/ 112 w 303"/>
                <a:gd name="T11" fmla="*/ 139 h 623"/>
                <a:gd name="T12" fmla="*/ 103 w 303"/>
                <a:gd name="T13" fmla="*/ 131 h 623"/>
                <a:gd name="T14" fmla="*/ 108 w 303"/>
                <a:gd name="T15" fmla="*/ 123 h 623"/>
                <a:gd name="T16" fmla="*/ 112 w 303"/>
                <a:gd name="T17" fmla="*/ 117 h 623"/>
                <a:gd name="T18" fmla="*/ 115 w 303"/>
                <a:gd name="T19" fmla="*/ 105 h 623"/>
                <a:gd name="T20" fmla="*/ 121 w 303"/>
                <a:gd name="T21" fmla="*/ 99 h 623"/>
                <a:gd name="T22" fmla="*/ 112 w 303"/>
                <a:gd name="T23" fmla="*/ 84 h 623"/>
                <a:gd name="T24" fmla="*/ 98 w 303"/>
                <a:gd name="T25" fmla="*/ 72 h 623"/>
                <a:gd name="T26" fmla="*/ 105 w 303"/>
                <a:gd name="T27" fmla="*/ 53 h 623"/>
                <a:gd name="T28" fmla="*/ 122 w 303"/>
                <a:gd name="T29" fmla="*/ 45 h 623"/>
                <a:gd name="T30" fmla="*/ 123 w 303"/>
                <a:gd name="T31" fmla="*/ 33 h 623"/>
                <a:gd name="T32" fmla="*/ 117 w 303"/>
                <a:gd name="T33" fmla="*/ 21 h 623"/>
                <a:gd name="T34" fmla="*/ 117 w 303"/>
                <a:gd name="T35" fmla="*/ 7 h 623"/>
                <a:gd name="T36" fmla="*/ 108 w 303"/>
                <a:gd name="T37" fmla="*/ 0 h 623"/>
                <a:gd name="T38" fmla="*/ 83 w 303"/>
                <a:gd name="T39" fmla="*/ 10 h 623"/>
                <a:gd name="T40" fmla="*/ 79 w 303"/>
                <a:gd name="T41" fmla="*/ 7 h 623"/>
                <a:gd name="T42" fmla="*/ 65 w 303"/>
                <a:gd name="T43" fmla="*/ 13 h 623"/>
                <a:gd name="T44" fmla="*/ 56 w 303"/>
                <a:gd name="T45" fmla="*/ 13 h 623"/>
                <a:gd name="T46" fmla="*/ 36 w 303"/>
                <a:gd name="T47" fmla="*/ 37 h 623"/>
                <a:gd name="T48" fmla="*/ 29 w 303"/>
                <a:gd name="T49" fmla="*/ 37 h 623"/>
                <a:gd name="T50" fmla="*/ 18 w 303"/>
                <a:gd name="T51" fmla="*/ 45 h 623"/>
                <a:gd name="T52" fmla="*/ 20 w 303"/>
                <a:gd name="T53" fmla="*/ 55 h 623"/>
                <a:gd name="T54" fmla="*/ 14 w 303"/>
                <a:gd name="T55" fmla="*/ 64 h 623"/>
                <a:gd name="T56" fmla="*/ 13 w 303"/>
                <a:gd name="T57" fmla="*/ 75 h 623"/>
                <a:gd name="T58" fmla="*/ 3 w 303"/>
                <a:gd name="T59" fmla="*/ 88 h 623"/>
                <a:gd name="T60" fmla="*/ 13 w 303"/>
                <a:gd name="T61" fmla="*/ 105 h 623"/>
                <a:gd name="T62" fmla="*/ 9 w 303"/>
                <a:gd name="T63" fmla="*/ 117 h 623"/>
                <a:gd name="T64" fmla="*/ 0 w 303"/>
                <a:gd name="T65" fmla="*/ 127 h 623"/>
                <a:gd name="T66" fmla="*/ 13 w 303"/>
                <a:gd name="T67" fmla="*/ 171 h 623"/>
                <a:gd name="T68" fmla="*/ 5 w 303"/>
                <a:gd name="T69" fmla="*/ 193 h 623"/>
                <a:gd name="T70" fmla="*/ 9 w 303"/>
                <a:gd name="T71" fmla="*/ 203 h 6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03" h="623">
                  <a:moveTo>
                    <a:pt x="21" y="623"/>
                  </a:moveTo>
                  <a:lnTo>
                    <a:pt x="87" y="605"/>
                  </a:lnTo>
                  <a:lnTo>
                    <a:pt x="171" y="548"/>
                  </a:lnTo>
                  <a:lnTo>
                    <a:pt x="228" y="536"/>
                  </a:lnTo>
                  <a:lnTo>
                    <a:pt x="273" y="500"/>
                  </a:lnTo>
                  <a:lnTo>
                    <a:pt x="276" y="426"/>
                  </a:lnTo>
                  <a:lnTo>
                    <a:pt x="255" y="399"/>
                  </a:lnTo>
                  <a:lnTo>
                    <a:pt x="264" y="378"/>
                  </a:lnTo>
                  <a:lnTo>
                    <a:pt x="276" y="357"/>
                  </a:lnTo>
                  <a:lnTo>
                    <a:pt x="282" y="324"/>
                  </a:lnTo>
                  <a:lnTo>
                    <a:pt x="294" y="303"/>
                  </a:lnTo>
                  <a:lnTo>
                    <a:pt x="273" y="258"/>
                  </a:lnTo>
                  <a:lnTo>
                    <a:pt x="240" y="219"/>
                  </a:lnTo>
                  <a:lnTo>
                    <a:pt x="258" y="162"/>
                  </a:lnTo>
                  <a:lnTo>
                    <a:pt x="297" y="135"/>
                  </a:lnTo>
                  <a:lnTo>
                    <a:pt x="303" y="99"/>
                  </a:lnTo>
                  <a:lnTo>
                    <a:pt x="288" y="63"/>
                  </a:lnTo>
                  <a:lnTo>
                    <a:pt x="288" y="21"/>
                  </a:lnTo>
                  <a:lnTo>
                    <a:pt x="264" y="0"/>
                  </a:lnTo>
                  <a:lnTo>
                    <a:pt x="204" y="30"/>
                  </a:lnTo>
                  <a:lnTo>
                    <a:pt x="195" y="21"/>
                  </a:lnTo>
                  <a:lnTo>
                    <a:pt x="162" y="42"/>
                  </a:lnTo>
                  <a:lnTo>
                    <a:pt x="138" y="42"/>
                  </a:lnTo>
                  <a:lnTo>
                    <a:pt x="87" y="114"/>
                  </a:lnTo>
                  <a:lnTo>
                    <a:pt x="72" y="114"/>
                  </a:lnTo>
                  <a:lnTo>
                    <a:pt x="45" y="135"/>
                  </a:lnTo>
                  <a:lnTo>
                    <a:pt x="48" y="168"/>
                  </a:lnTo>
                  <a:lnTo>
                    <a:pt x="33" y="195"/>
                  </a:lnTo>
                  <a:lnTo>
                    <a:pt x="30" y="231"/>
                  </a:lnTo>
                  <a:lnTo>
                    <a:pt x="3" y="270"/>
                  </a:lnTo>
                  <a:lnTo>
                    <a:pt x="30" y="324"/>
                  </a:lnTo>
                  <a:lnTo>
                    <a:pt x="21" y="357"/>
                  </a:lnTo>
                  <a:lnTo>
                    <a:pt x="0" y="390"/>
                  </a:lnTo>
                  <a:lnTo>
                    <a:pt x="30" y="524"/>
                  </a:lnTo>
                  <a:lnTo>
                    <a:pt x="12" y="593"/>
                  </a:lnTo>
                  <a:lnTo>
                    <a:pt x="21" y="623"/>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7" name="Freeform 181"/>
            <p:cNvSpPr>
              <a:spLocks/>
            </p:cNvSpPr>
            <p:nvPr/>
          </p:nvSpPr>
          <p:spPr bwMode="auto">
            <a:xfrm>
              <a:off x="4946899" y="3333775"/>
              <a:ext cx="792162" cy="536575"/>
            </a:xfrm>
            <a:custGeom>
              <a:avLst/>
              <a:gdLst>
                <a:gd name="T0" fmla="*/ 50 w 566"/>
                <a:gd name="T1" fmla="*/ 122 h 386"/>
                <a:gd name="T2" fmla="*/ 53 w 566"/>
                <a:gd name="T3" fmla="*/ 115 h 386"/>
                <a:gd name="T4" fmla="*/ 60 w 566"/>
                <a:gd name="T5" fmla="*/ 111 h 386"/>
                <a:gd name="T6" fmla="*/ 75 w 566"/>
                <a:gd name="T7" fmla="*/ 122 h 386"/>
                <a:gd name="T8" fmla="*/ 79 w 566"/>
                <a:gd name="T9" fmla="*/ 122 h 386"/>
                <a:gd name="T10" fmla="*/ 92 w 566"/>
                <a:gd name="T11" fmla="*/ 121 h 386"/>
                <a:gd name="T12" fmla="*/ 101 w 566"/>
                <a:gd name="T13" fmla="*/ 116 h 386"/>
                <a:gd name="T14" fmla="*/ 112 w 566"/>
                <a:gd name="T15" fmla="*/ 123 h 386"/>
                <a:gd name="T16" fmla="*/ 118 w 566"/>
                <a:gd name="T17" fmla="*/ 116 h 386"/>
                <a:gd name="T18" fmla="*/ 119 w 566"/>
                <a:gd name="T19" fmla="*/ 111 h 386"/>
                <a:gd name="T20" fmla="*/ 127 w 566"/>
                <a:gd name="T21" fmla="*/ 108 h 386"/>
                <a:gd name="T22" fmla="*/ 131 w 566"/>
                <a:gd name="T23" fmla="*/ 99 h 386"/>
                <a:gd name="T24" fmla="*/ 139 w 566"/>
                <a:gd name="T25" fmla="*/ 97 h 386"/>
                <a:gd name="T26" fmla="*/ 164 w 566"/>
                <a:gd name="T27" fmla="*/ 63 h 386"/>
                <a:gd name="T28" fmla="*/ 159 w 566"/>
                <a:gd name="T29" fmla="*/ 57 h 386"/>
                <a:gd name="T30" fmla="*/ 164 w 566"/>
                <a:gd name="T31" fmla="*/ 54 h 386"/>
                <a:gd name="T32" fmla="*/ 172 w 566"/>
                <a:gd name="T33" fmla="*/ 55 h 386"/>
                <a:gd name="T34" fmla="*/ 180 w 566"/>
                <a:gd name="T35" fmla="*/ 51 h 386"/>
                <a:gd name="T36" fmla="*/ 182 w 566"/>
                <a:gd name="T37" fmla="*/ 43 h 386"/>
                <a:gd name="T38" fmla="*/ 206 w 566"/>
                <a:gd name="T39" fmla="*/ 27 h 386"/>
                <a:gd name="T40" fmla="*/ 221 w 566"/>
                <a:gd name="T41" fmla="*/ 23 h 386"/>
                <a:gd name="T42" fmla="*/ 229 w 566"/>
                <a:gd name="T43" fmla="*/ 17 h 386"/>
                <a:gd name="T44" fmla="*/ 227 w 566"/>
                <a:gd name="T45" fmla="*/ 4 h 386"/>
                <a:gd name="T46" fmla="*/ 216 w 566"/>
                <a:gd name="T47" fmla="*/ 4 h 386"/>
                <a:gd name="T48" fmla="*/ 189 w 566"/>
                <a:gd name="T49" fmla="*/ 6 h 386"/>
                <a:gd name="T50" fmla="*/ 173 w 566"/>
                <a:gd name="T51" fmla="*/ 0 h 386"/>
                <a:gd name="T52" fmla="*/ 164 w 566"/>
                <a:gd name="T53" fmla="*/ 3 h 386"/>
                <a:gd name="T54" fmla="*/ 137 w 566"/>
                <a:gd name="T55" fmla="*/ 27 h 386"/>
                <a:gd name="T56" fmla="*/ 131 w 566"/>
                <a:gd name="T57" fmla="*/ 31 h 386"/>
                <a:gd name="T58" fmla="*/ 114 w 566"/>
                <a:gd name="T59" fmla="*/ 26 h 386"/>
                <a:gd name="T60" fmla="*/ 112 w 566"/>
                <a:gd name="T61" fmla="*/ 19 h 386"/>
                <a:gd name="T62" fmla="*/ 110 w 566"/>
                <a:gd name="T63" fmla="*/ 7 h 386"/>
                <a:gd name="T64" fmla="*/ 101 w 566"/>
                <a:gd name="T65" fmla="*/ 4 h 386"/>
                <a:gd name="T66" fmla="*/ 84 w 566"/>
                <a:gd name="T67" fmla="*/ 6 h 386"/>
                <a:gd name="T68" fmla="*/ 76 w 566"/>
                <a:gd name="T69" fmla="*/ 0 h 386"/>
                <a:gd name="T70" fmla="*/ 62 w 566"/>
                <a:gd name="T71" fmla="*/ 15 h 386"/>
                <a:gd name="T72" fmla="*/ 47 w 566"/>
                <a:gd name="T73" fmla="*/ 17 h 386"/>
                <a:gd name="T74" fmla="*/ 28 w 566"/>
                <a:gd name="T75" fmla="*/ 32 h 386"/>
                <a:gd name="T76" fmla="*/ 5 w 566"/>
                <a:gd name="T77" fmla="*/ 64 h 386"/>
                <a:gd name="T78" fmla="*/ 12 w 566"/>
                <a:gd name="T79" fmla="*/ 73 h 386"/>
                <a:gd name="T80" fmla="*/ 10 w 566"/>
                <a:gd name="T81" fmla="*/ 78 h 386"/>
                <a:gd name="T82" fmla="*/ 10 w 566"/>
                <a:gd name="T83" fmla="*/ 81 h 386"/>
                <a:gd name="T84" fmla="*/ 14 w 566"/>
                <a:gd name="T85" fmla="*/ 84 h 386"/>
                <a:gd name="T86" fmla="*/ 21 w 566"/>
                <a:gd name="T87" fmla="*/ 80 h 386"/>
                <a:gd name="T88" fmla="*/ 31 w 566"/>
                <a:gd name="T89" fmla="*/ 79 h 386"/>
                <a:gd name="T90" fmla="*/ 0 w 566"/>
                <a:gd name="T91" fmla="*/ 107 h 386"/>
                <a:gd name="T92" fmla="*/ 0 w 566"/>
                <a:gd name="T93" fmla="*/ 114 h 386"/>
                <a:gd name="T94" fmla="*/ 5 w 566"/>
                <a:gd name="T95" fmla="*/ 116 h 386"/>
                <a:gd name="T96" fmla="*/ 21 w 566"/>
                <a:gd name="T97" fmla="*/ 125 h 386"/>
                <a:gd name="T98" fmla="*/ 44 w 566"/>
                <a:gd name="T99" fmla="*/ 124 h 386"/>
                <a:gd name="T100" fmla="*/ 50 w 566"/>
                <a:gd name="T101" fmla="*/ 122 h 3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66" h="386">
                  <a:moveTo>
                    <a:pt x="125" y="374"/>
                  </a:moveTo>
                  <a:lnTo>
                    <a:pt x="128" y="353"/>
                  </a:lnTo>
                  <a:lnTo>
                    <a:pt x="149" y="344"/>
                  </a:lnTo>
                  <a:lnTo>
                    <a:pt x="185" y="374"/>
                  </a:lnTo>
                  <a:lnTo>
                    <a:pt x="197" y="374"/>
                  </a:lnTo>
                  <a:lnTo>
                    <a:pt x="230" y="371"/>
                  </a:lnTo>
                  <a:lnTo>
                    <a:pt x="251" y="356"/>
                  </a:lnTo>
                  <a:lnTo>
                    <a:pt x="278" y="377"/>
                  </a:lnTo>
                  <a:lnTo>
                    <a:pt x="290" y="356"/>
                  </a:lnTo>
                  <a:lnTo>
                    <a:pt x="293" y="344"/>
                  </a:lnTo>
                  <a:lnTo>
                    <a:pt x="314" y="332"/>
                  </a:lnTo>
                  <a:lnTo>
                    <a:pt x="323" y="305"/>
                  </a:lnTo>
                  <a:lnTo>
                    <a:pt x="344" y="299"/>
                  </a:lnTo>
                  <a:lnTo>
                    <a:pt x="407" y="195"/>
                  </a:lnTo>
                  <a:lnTo>
                    <a:pt x="395" y="177"/>
                  </a:lnTo>
                  <a:lnTo>
                    <a:pt x="407" y="165"/>
                  </a:lnTo>
                  <a:lnTo>
                    <a:pt x="422" y="168"/>
                  </a:lnTo>
                  <a:lnTo>
                    <a:pt x="443" y="159"/>
                  </a:lnTo>
                  <a:lnTo>
                    <a:pt x="452" y="132"/>
                  </a:lnTo>
                  <a:lnTo>
                    <a:pt x="506" y="84"/>
                  </a:lnTo>
                  <a:lnTo>
                    <a:pt x="545" y="72"/>
                  </a:lnTo>
                  <a:lnTo>
                    <a:pt x="566" y="54"/>
                  </a:lnTo>
                  <a:lnTo>
                    <a:pt x="560" y="15"/>
                  </a:lnTo>
                  <a:lnTo>
                    <a:pt x="533" y="12"/>
                  </a:lnTo>
                  <a:lnTo>
                    <a:pt x="470" y="18"/>
                  </a:lnTo>
                  <a:lnTo>
                    <a:pt x="428" y="0"/>
                  </a:lnTo>
                  <a:lnTo>
                    <a:pt x="404" y="3"/>
                  </a:lnTo>
                  <a:lnTo>
                    <a:pt x="341" y="84"/>
                  </a:lnTo>
                  <a:lnTo>
                    <a:pt x="323" y="96"/>
                  </a:lnTo>
                  <a:lnTo>
                    <a:pt x="281" y="78"/>
                  </a:lnTo>
                  <a:lnTo>
                    <a:pt x="278" y="57"/>
                  </a:lnTo>
                  <a:lnTo>
                    <a:pt x="269" y="21"/>
                  </a:lnTo>
                  <a:lnTo>
                    <a:pt x="248" y="9"/>
                  </a:lnTo>
                  <a:lnTo>
                    <a:pt x="209" y="18"/>
                  </a:lnTo>
                  <a:lnTo>
                    <a:pt x="188" y="0"/>
                  </a:lnTo>
                  <a:lnTo>
                    <a:pt x="152" y="45"/>
                  </a:lnTo>
                  <a:lnTo>
                    <a:pt x="116" y="54"/>
                  </a:lnTo>
                  <a:lnTo>
                    <a:pt x="69" y="99"/>
                  </a:lnTo>
                  <a:lnTo>
                    <a:pt x="12" y="198"/>
                  </a:lnTo>
                  <a:lnTo>
                    <a:pt x="27" y="225"/>
                  </a:lnTo>
                  <a:lnTo>
                    <a:pt x="24" y="237"/>
                  </a:lnTo>
                  <a:lnTo>
                    <a:pt x="24" y="251"/>
                  </a:lnTo>
                  <a:lnTo>
                    <a:pt x="33" y="260"/>
                  </a:lnTo>
                  <a:lnTo>
                    <a:pt x="51" y="248"/>
                  </a:lnTo>
                  <a:lnTo>
                    <a:pt x="78" y="242"/>
                  </a:lnTo>
                  <a:lnTo>
                    <a:pt x="0" y="329"/>
                  </a:lnTo>
                  <a:lnTo>
                    <a:pt x="0" y="350"/>
                  </a:lnTo>
                  <a:lnTo>
                    <a:pt x="15" y="356"/>
                  </a:lnTo>
                  <a:lnTo>
                    <a:pt x="51" y="386"/>
                  </a:lnTo>
                  <a:lnTo>
                    <a:pt x="107" y="380"/>
                  </a:lnTo>
                  <a:lnTo>
                    <a:pt x="125" y="374"/>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8" name="Freeform 182"/>
            <p:cNvSpPr>
              <a:spLocks/>
            </p:cNvSpPr>
            <p:nvPr/>
          </p:nvSpPr>
          <p:spPr bwMode="auto">
            <a:xfrm>
              <a:off x="4946899" y="3333775"/>
              <a:ext cx="792162" cy="536575"/>
            </a:xfrm>
            <a:custGeom>
              <a:avLst/>
              <a:gdLst>
                <a:gd name="T0" fmla="*/ 50 w 566"/>
                <a:gd name="T1" fmla="*/ 122 h 386"/>
                <a:gd name="T2" fmla="*/ 53 w 566"/>
                <a:gd name="T3" fmla="*/ 115 h 386"/>
                <a:gd name="T4" fmla="*/ 60 w 566"/>
                <a:gd name="T5" fmla="*/ 111 h 386"/>
                <a:gd name="T6" fmla="*/ 75 w 566"/>
                <a:gd name="T7" fmla="*/ 122 h 386"/>
                <a:gd name="T8" fmla="*/ 79 w 566"/>
                <a:gd name="T9" fmla="*/ 122 h 386"/>
                <a:gd name="T10" fmla="*/ 92 w 566"/>
                <a:gd name="T11" fmla="*/ 121 h 386"/>
                <a:gd name="T12" fmla="*/ 101 w 566"/>
                <a:gd name="T13" fmla="*/ 116 h 386"/>
                <a:gd name="T14" fmla="*/ 112 w 566"/>
                <a:gd name="T15" fmla="*/ 123 h 386"/>
                <a:gd name="T16" fmla="*/ 118 w 566"/>
                <a:gd name="T17" fmla="*/ 116 h 386"/>
                <a:gd name="T18" fmla="*/ 119 w 566"/>
                <a:gd name="T19" fmla="*/ 111 h 386"/>
                <a:gd name="T20" fmla="*/ 127 w 566"/>
                <a:gd name="T21" fmla="*/ 108 h 386"/>
                <a:gd name="T22" fmla="*/ 131 w 566"/>
                <a:gd name="T23" fmla="*/ 99 h 386"/>
                <a:gd name="T24" fmla="*/ 139 w 566"/>
                <a:gd name="T25" fmla="*/ 97 h 386"/>
                <a:gd name="T26" fmla="*/ 164 w 566"/>
                <a:gd name="T27" fmla="*/ 63 h 386"/>
                <a:gd name="T28" fmla="*/ 159 w 566"/>
                <a:gd name="T29" fmla="*/ 57 h 386"/>
                <a:gd name="T30" fmla="*/ 164 w 566"/>
                <a:gd name="T31" fmla="*/ 54 h 386"/>
                <a:gd name="T32" fmla="*/ 172 w 566"/>
                <a:gd name="T33" fmla="*/ 55 h 386"/>
                <a:gd name="T34" fmla="*/ 180 w 566"/>
                <a:gd name="T35" fmla="*/ 51 h 386"/>
                <a:gd name="T36" fmla="*/ 182 w 566"/>
                <a:gd name="T37" fmla="*/ 43 h 386"/>
                <a:gd name="T38" fmla="*/ 206 w 566"/>
                <a:gd name="T39" fmla="*/ 27 h 386"/>
                <a:gd name="T40" fmla="*/ 221 w 566"/>
                <a:gd name="T41" fmla="*/ 23 h 386"/>
                <a:gd name="T42" fmla="*/ 229 w 566"/>
                <a:gd name="T43" fmla="*/ 17 h 386"/>
                <a:gd name="T44" fmla="*/ 227 w 566"/>
                <a:gd name="T45" fmla="*/ 4 h 386"/>
                <a:gd name="T46" fmla="*/ 216 w 566"/>
                <a:gd name="T47" fmla="*/ 4 h 386"/>
                <a:gd name="T48" fmla="*/ 189 w 566"/>
                <a:gd name="T49" fmla="*/ 6 h 386"/>
                <a:gd name="T50" fmla="*/ 173 w 566"/>
                <a:gd name="T51" fmla="*/ 0 h 386"/>
                <a:gd name="T52" fmla="*/ 164 w 566"/>
                <a:gd name="T53" fmla="*/ 3 h 386"/>
                <a:gd name="T54" fmla="*/ 137 w 566"/>
                <a:gd name="T55" fmla="*/ 27 h 386"/>
                <a:gd name="T56" fmla="*/ 131 w 566"/>
                <a:gd name="T57" fmla="*/ 31 h 386"/>
                <a:gd name="T58" fmla="*/ 114 w 566"/>
                <a:gd name="T59" fmla="*/ 26 h 386"/>
                <a:gd name="T60" fmla="*/ 112 w 566"/>
                <a:gd name="T61" fmla="*/ 19 h 386"/>
                <a:gd name="T62" fmla="*/ 110 w 566"/>
                <a:gd name="T63" fmla="*/ 7 h 386"/>
                <a:gd name="T64" fmla="*/ 101 w 566"/>
                <a:gd name="T65" fmla="*/ 4 h 386"/>
                <a:gd name="T66" fmla="*/ 84 w 566"/>
                <a:gd name="T67" fmla="*/ 6 h 386"/>
                <a:gd name="T68" fmla="*/ 76 w 566"/>
                <a:gd name="T69" fmla="*/ 0 h 386"/>
                <a:gd name="T70" fmla="*/ 62 w 566"/>
                <a:gd name="T71" fmla="*/ 15 h 386"/>
                <a:gd name="T72" fmla="*/ 47 w 566"/>
                <a:gd name="T73" fmla="*/ 17 h 386"/>
                <a:gd name="T74" fmla="*/ 28 w 566"/>
                <a:gd name="T75" fmla="*/ 32 h 386"/>
                <a:gd name="T76" fmla="*/ 5 w 566"/>
                <a:gd name="T77" fmla="*/ 64 h 386"/>
                <a:gd name="T78" fmla="*/ 12 w 566"/>
                <a:gd name="T79" fmla="*/ 73 h 386"/>
                <a:gd name="T80" fmla="*/ 10 w 566"/>
                <a:gd name="T81" fmla="*/ 78 h 386"/>
                <a:gd name="T82" fmla="*/ 10 w 566"/>
                <a:gd name="T83" fmla="*/ 81 h 386"/>
                <a:gd name="T84" fmla="*/ 14 w 566"/>
                <a:gd name="T85" fmla="*/ 84 h 386"/>
                <a:gd name="T86" fmla="*/ 21 w 566"/>
                <a:gd name="T87" fmla="*/ 80 h 386"/>
                <a:gd name="T88" fmla="*/ 31 w 566"/>
                <a:gd name="T89" fmla="*/ 79 h 386"/>
                <a:gd name="T90" fmla="*/ 0 w 566"/>
                <a:gd name="T91" fmla="*/ 107 h 386"/>
                <a:gd name="T92" fmla="*/ 0 w 566"/>
                <a:gd name="T93" fmla="*/ 114 h 386"/>
                <a:gd name="T94" fmla="*/ 5 w 566"/>
                <a:gd name="T95" fmla="*/ 116 h 386"/>
                <a:gd name="T96" fmla="*/ 21 w 566"/>
                <a:gd name="T97" fmla="*/ 125 h 386"/>
                <a:gd name="T98" fmla="*/ 44 w 566"/>
                <a:gd name="T99" fmla="*/ 124 h 386"/>
                <a:gd name="T100" fmla="*/ 50 w 566"/>
                <a:gd name="T101" fmla="*/ 122 h 3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66" h="386">
                  <a:moveTo>
                    <a:pt x="125" y="374"/>
                  </a:moveTo>
                  <a:lnTo>
                    <a:pt x="128" y="353"/>
                  </a:lnTo>
                  <a:lnTo>
                    <a:pt x="149" y="344"/>
                  </a:lnTo>
                  <a:lnTo>
                    <a:pt x="185" y="374"/>
                  </a:lnTo>
                  <a:lnTo>
                    <a:pt x="197" y="374"/>
                  </a:lnTo>
                  <a:lnTo>
                    <a:pt x="230" y="371"/>
                  </a:lnTo>
                  <a:lnTo>
                    <a:pt x="251" y="356"/>
                  </a:lnTo>
                  <a:lnTo>
                    <a:pt x="278" y="377"/>
                  </a:lnTo>
                  <a:lnTo>
                    <a:pt x="290" y="356"/>
                  </a:lnTo>
                  <a:lnTo>
                    <a:pt x="293" y="344"/>
                  </a:lnTo>
                  <a:lnTo>
                    <a:pt x="314" y="332"/>
                  </a:lnTo>
                  <a:lnTo>
                    <a:pt x="323" y="305"/>
                  </a:lnTo>
                  <a:lnTo>
                    <a:pt x="344" y="299"/>
                  </a:lnTo>
                  <a:lnTo>
                    <a:pt x="407" y="195"/>
                  </a:lnTo>
                  <a:lnTo>
                    <a:pt x="395" y="177"/>
                  </a:lnTo>
                  <a:lnTo>
                    <a:pt x="407" y="165"/>
                  </a:lnTo>
                  <a:lnTo>
                    <a:pt x="422" y="168"/>
                  </a:lnTo>
                  <a:lnTo>
                    <a:pt x="443" y="159"/>
                  </a:lnTo>
                  <a:lnTo>
                    <a:pt x="452" y="132"/>
                  </a:lnTo>
                  <a:lnTo>
                    <a:pt x="506" y="84"/>
                  </a:lnTo>
                  <a:lnTo>
                    <a:pt x="545" y="72"/>
                  </a:lnTo>
                  <a:lnTo>
                    <a:pt x="566" y="54"/>
                  </a:lnTo>
                  <a:lnTo>
                    <a:pt x="560" y="15"/>
                  </a:lnTo>
                  <a:lnTo>
                    <a:pt x="533" y="12"/>
                  </a:lnTo>
                  <a:lnTo>
                    <a:pt x="470" y="18"/>
                  </a:lnTo>
                  <a:lnTo>
                    <a:pt x="428" y="0"/>
                  </a:lnTo>
                  <a:lnTo>
                    <a:pt x="404" y="3"/>
                  </a:lnTo>
                  <a:lnTo>
                    <a:pt x="341" y="84"/>
                  </a:lnTo>
                  <a:lnTo>
                    <a:pt x="323" y="96"/>
                  </a:lnTo>
                  <a:lnTo>
                    <a:pt x="281" y="78"/>
                  </a:lnTo>
                  <a:lnTo>
                    <a:pt x="278" y="57"/>
                  </a:lnTo>
                  <a:lnTo>
                    <a:pt x="269" y="21"/>
                  </a:lnTo>
                  <a:lnTo>
                    <a:pt x="248" y="9"/>
                  </a:lnTo>
                  <a:lnTo>
                    <a:pt x="209" y="18"/>
                  </a:lnTo>
                  <a:lnTo>
                    <a:pt x="188" y="0"/>
                  </a:lnTo>
                  <a:lnTo>
                    <a:pt x="152" y="45"/>
                  </a:lnTo>
                  <a:lnTo>
                    <a:pt x="116" y="54"/>
                  </a:lnTo>
                  <a:lnTo>
                    <a:pt x="69" y="99"/>
                  </a:lnTo>
                  <a:lnTo>
                    <a:pt x="12" y="198"/>
                  </a:lnTo>
                  <a:lnTo>
                    <a:pt x="27" y="225"/>
                  </a:lnTo>
                  <a:lnTo>
                    <a:pt x="24" y="237"/>
                  </a:lnTo>
                  <a:lnTo>
                    <a:pt x="24" y="251"/>
                  </a:lnTo>
                  <a:lnTo>
                    <a:pt x="33" y="260"/>
                  </a:lnTo>
                  <a:lnTo>
                    <a:pt x="51" y="248"/>
                  </a:lnTo>
                  <a:lnTo>
                    <a:pt x="78" y="242"/>
                  </a:lnTo>
                  <a:lnTo>
                    <a:pt x="0" y="329"/>
                  </a:lnTo>
                  <a:lnTo>
                    <a:pt x="0" y="350"/>
                  </a:lnTo>
                  <a:lnTo>
                    <a:pt x="15" y="356"/>
                  </a:lnTo>
                  <a:lnTo>
                    <a:pt x="51" y="386"/>
                  </a:lnTo>
                  <a:lnTo>
                    <a:pt x="107" y="380"/>
                  </a:lnTo>
                  <a:lnTo>
                    <a:pt x="125" y="374"/>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89" name="Freeform 183"/>
            <p:cNvSpPr>
              <a:spLocks/>
            </p:cNvSpPr>
            <p:nvPr/>
          </p:nvSpPr>
          <p:spPr bwMode="auto">
            <a:xfrm>
              <a:off x="4723061" y="2735287"/>
              <a:ext cx="658813" cy="938213"/>
            </a:xfrm>
            <a:custGeom>
              <a:avLst/>
              <a:gdLst>
                <a:gd name="T0" fmla="*/ 77 w 470"/>
                <a:gd name="T1" fmla="*/ 213 h 677"/>
                <a:gd name="T2" fmla="*/ 94 w 470"/>
                <a:gd name="T3" fmla="*/ 172 h 677"/>
                <a:gd name="T4" fmla="*/ 128 w 470"/>
                <a:gd name="T5" fmla="*/ 155 h 677"/>
                <a:gd name="T6" fmla="*/ 135 w 470"/>
                <a:gd name="T7" fmla="*/ 138 h 677"/>
                <a:gd name="T8" fmla="*/ 121 w 470"/>
                <a:gd name="T9" fmla="*/ 131 h 677"/>
                <a:gd name="T10" fmla="*/ 102 w 470"/>
                <a:gd name="T11" fmla="*/ 124 h 677"/>
                <a:gd name="T12" fmla="*/ 93 w 470"/>
                <a:gd name="T13" fmla="*/ 104 h 677"/>
                <a:gd name="T14" fmla="*/ 74 w 470"/>
                <a:gd name="T15" fmla="*/ 105 h 677"/>
                <a:gd name="T16" fmla="*/ 55 w 470"/>
                <a:gd name="T17" fmla="*/ 100 h 677"/>
                <a:gd name="T18" fmla="*/ 70 w 470"/>
                <a:gd name="T19" fmla="*/ 79 h 677"/>
                <a:gd name="T20" fmla="*/ 85 w 470"/>
                <a:gd name="T21" fmla="*/ 56 h 677"/>
                <a:gd name="T22" fmla="*/ 113 w 470"/>
                <a:gd name="T23" fmla="*/ 65 h 677"/>
                <a:gd name="T24" fmla="*/ 122 w 470"/>
                <a:gd name="T25" fmla="*/ 80 h 677"/>
                <a:gd name="T26" fmla="*/ 124 w 470"/>
                <a:gd name="T27" fmla="*/ 94 h 677"/>
                <a:gd name="T28" fmla="*/ 140 w 470"/>
                <a:gd name="T29" fmla="*/ 105 h 677"/>
                <a:gd name="T30" fmla="*/ 177 w 470"/>
                <a:gd name="T31" fmla="*/ 98 h 677"/>
                <a:gd name="T32" fmla="*/ 193 w 470"/>
                <a:gd name="T33" fmla="*/ 73 h 677"/>
                <a:gd name="T34" fmla="*/ 174 w 470"/>
                <a:gd name="T35" fmla="*/ 60 h 677"/>
                <a:gd name="T36" fmla="*/ 162 w 470"/>
                <a:gd name="T37" fmla="*/ 39 h 677"/>
                <a:gd name="T38" fmla="*/ 128 w 470"/>
                <a:gd name="T39" fmla="*/ 24 h 677"/>
                <a:gd name="T40" fmla="*/ 110 w 470"/>
                <a:gd name="T41" fmla="*/ 0 h 677"/>
                <a:gd name="T42" fmla="*/ 85 w 470"/>
                <a:gd name="T43" fmla="*/ 15 h 677"/>
                <a:gd name="T44" fmla="*/ 86 w 470"/>
                <a:gd name="T45" fmla="*/ 26 h 677"/>
                <a:gd name="T46" fmla="*/ 63 w 470"/>
                <a:gd name="T47" fmla="*/ 31 h 677"/>
                <a:gd name="T48" fmla="*/ 49 w 470"/>
                <a:gd name="T49" fmla="*/ 34 h 677"/>
                <a:gd name="T50" fmla="*/ 28 w 470"/>
                <a:gd name="T51" fmla="*/ 40 h 677"/>
                <a:gd name="T52" fmla="*/ 23 w 470"/>
                <a:gd name="T53" fmla="*/ 26 h 677"/>
                <a:gd name="T54" fmla="*/ 5 w 470"/>
                <a:gd name="T55" fmla="*/ 45 h 677"/>
                <a:gd name="T56" fmla="*/ 13 w 470"/>
                <a:gd name="T57" fmla="*/ 78 h 677"/>
                <a:gd name="T58" fmla="*/ 23 w 470"/>
                <a:gd name="T59" fmla="*/ 98 h 677"/>
                <a:gd name="T60" fmla="*/ 26 w 470"/>
                <a:gd name="T61" fmla="*/ 122 h 677"/>
                <a:gd name="T62" fmla="*/ 5 w 470"/>
                <a:gd name="T63" fmla="*/ 148 h 677"/>
                <a:gd name="T64" fmla="*/ 25 w 470"/>
                <a:gd name="T65" fmla="*/ 176 h 677"/>
                <a:gd name="T66" fmla="*/ 17 w 470"/>
                <a:gd name="T67" fmla="*/ 194 h 677"/>
                <a:gd name="T68" fmla="*/ 9 w 470"/>
                <a:gd name="T69" fmla="*/ 207 h 677"/>
                <a:gd name="T70" fmla="*/ 55 w 470"/>
                <a:gd name="T71" fmla="*/ 220 h 677"/>
                <a:gd name="T72" fmla="*/ 75 w 470"/>
                <a:gd name="T73" fmla="*/ 217 h 6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70" h="677">
                  <a:moveTo>
                    <a:pt x="183" y="669"/>
                  </a:moveTo>
                  <a:lnTo>
                    <a:pt x="186" y="657"/>
                  </a:lnTo>
                  <a:lnTo>
                    <a:pt x="171" y="630"/>
                  </a:lnTo>
                  <a:lnTo>
                    <a:pt x="228" y="531"/>
                  </a:lnTo>
                  <a:lnTo>
                    <a:pt x="275" y="486"/>
                  </a:lnTo>
                  <a:lnTo>
                    <a:pt x="311" y="477"/>
                  </a:lnTo>
                  <a:lnTo>
                    <a:pt x="347" y="432"/>
                  </a:lnTo>
                  <a:lnTo>
                    <a:pt x="332" y="423"/>
                  </a:lnTo>
                  <a:lnTo>
                    <a:pt x="320" y="393"/>
                  </a:lnTo>
                  <a:lnTo>
                    <a:pt x="293" y="402"/>
                  </a:lnTo>
                  <a:lnTo>
                    <a:pt x="251" y="393"/>
                  </a:lnTo>
                  <a:lnTo>
                    <a:pt x="248" y="381"/>
                  </a:lnTo>
                  <a:lnTo>
                    <a:pt x="248" y="306"/>
                  </a:lnTo>
                  <a:lnTo>
                    <a:pt x="225" y="318"/>
                  </a:lnTo>
                  <a:lnTo>
                    <a:pt x="210" y="330"/>
                  </a:lnTo>
                  <a:lnTo>
                    <a:pt x="180" y="321"/>
                  </a:lnTo>
                  <a:lnTo>
                    <a:pt x="141" y="327"/>
                  </a:lnTo>
                  <a:lnTo>
                    <a:pt x="135" y="309"/>
                  </a:lnTo>
                  <a:lnTo>
                    <a:pt x="141" y="276"/>
                  </a:lnTo>
                  <a:lnTo>
                    <a:pt x="171" y="243"/>
                  </a:lnTo>
                  <a:lnTo>
                    <a:pt x="177" y="204"/>
                  </a:lnTo>
                  <a:lnTo>
                    <a:pt x="207" y="174"/>
                  </a:lnTo>
                  <a:lnTo>
                    <a:pt x="257" y="201"/>
                  </a:lnTo>
                  <a:lnTo>
                    <a:pt x="272" y="201"/>
                  </a:lnTo>
                  <a:lnTo>
                    <a:pt x="281" y="240"/>
                  </a:lnTo>
                  <a:lnTo>
                    <a:pt x="296" y="246"/>
                  </a:lnTo>
                  <a:lnTo>
                    <a:pt x="302" y="270"/>
                  </a:lnTo>
                  <a:lnTo>
                    <a:pt x="302" y="288"/>
                  </a:lnTo>
                  <a:lnTo>
                    <a:pt x="332" y="309"/>
                  </a:lnTo>
                  <a:lnTo>
                    <a:pt x="338" y="327"/>
                  </a:lnTo>
                  <a:lnTo>
                    <a:pt x="365" y="339"/>
                  </a:lnTo>
                  <a:lnTo>
                    <a:pt x="431" y="303"/>
                  </a:lnTo>
                  <a:lnTo>
                    <a:pt x="431" y="282"/>
                  </a:lnTo>
                  <a:lnTo>
                    <a:pt x="470" y="225"/>
                  </a:lnTo>
                  <a:lnTo>
                    <a:pt x="443" y="186"/>
                  </a:lnTo>
                  <a:lnTo>
                    <a:pt x="422" y="186"/>
                  </a:lnTo>
                  <a:lnTo>
                    <a:pt x="383" y="159"/>
                  </a:lnTo>
                  <a:lnTo>
                    <a:pt x="395" y="120"/>
                  </a:lnTo>
                  <a:lnTo>
                    <a:pt x="338" y="114"/>
                  </a:lnTo>
                  <a:lnTo>
                    <a:pt x="311" y="75"/>
                  </a:lnTo>
                  <a:lnTo>
                    <a:pt x="314" y="54"/>
                  </a:lnTo>
                  <a:lnTo>
                    <a:pt x="266" y="0"/>
                  </a:lnTo>
                  <a:lnTo>
                    <a:pt x="234" y="18"/>
                  </a:lnTo>
                  <a:lnTo>
                    <a:pt x="207" y="45"/>
                  </a:lnTo>
                  <a:lnTo>
                    <a:pt x="216" y="66"/>
                  </a:lnTo>
                  <a:lnTo>
                    <a:pt x="210" y="78"/>
                  </a:lnTo>
                  <a:lnTo>
                    <a:pt x="171" y="81"/>
                  </a:lnTo>
                  <a:lnTo>
                    <a:pt x="153" y="96"/>
                  </a:lnTo>
                  <a:lnTo>
                    <a:pt x="135" y="90"/>
                  </a:lnTo>
                  <a:lnTo>
                    <a:pt x="120" y="105"/>
                  </a:lnTo>
                  <a:lnTo>
                    <a:pt x="84" y="132"/>
                  </a:lnTo>
                  <a:lnTo>
                    <a:pt x="69" y="123"/>
                  </a:lnTo>
                  <a:lnTo>
                    <a:pt x="69" y="84"/>
                  </a:lnTo>
                  <a:lnTo>
                    <a:pt x="54" y="78"/>
                  </a:lnTo>
                  <a:lnTo>
                    <a:pt x="33" y="87"/>
                  </a:lnTo>
                  <a:lnTo>
                    <a:pt x="9" y="141"/>
                  </a:lnTo>
                  <a:lnTo>
                    <a:pt x="0" y="189"/>
                  </a:lnTo>
                  <a:lnTo>
                    <a:pt x="30" y="240"/>
                  </a:lnTo>
                  <a:lnTo>
                    <a:pt x="54" y="261"/>
                  </a:lnTo>
                  <a:lnTo>
                    <a:pt x="54" y="303"/>
                  </a:lnTo>
                  <a:lnTo>
                    <a:pt x="69" y="339"/>
                  </a:lnTo>
                  <a:lnTo>
                    <a:pt x="63" y="375"/>
                  </a:lnTo>
                  <a:lnTo>
                    <a:pt x="24" y="402"/>
                  </a:lnTo>
                  <a:lnTo>
                    <a:pt x="6" y="459"/>
                  </a:lnTo>
                  <a:lnTo>
                    <a:pt x="39" y="498"/>
                  </a:lnTo>
                  <a:lnTo>
                    <a:pt x="60" y="543"/>
                  </a:lnTo>
                  <a:lnTo>
                    <a:pt x="48" y="564"/>
                  </a:lnTo>
                  <a:lnTo>
                    <a:pt x="42" y="597"/>
                  </a:lnTo>
                  <a:lnTo>
                    <a:pt x="30" y="618"/>
                  </a:lnTo>
                  <a:lnTo>
                    <a:pt x="21" y="639"/>
                  </a:lnTo>
                  <a:lnTo>
                    <a:pt x="42" y="666"/>
                  </a:lnTo>
                  <a:lnTo>
                    <a:pt x="135" y="677"/>
                  </a:lnTo>
                  <a:lnTo>
                    <a:pt x="171" y="666"/>
                  </a:lnTo>
                  <a:lnTo>
                    <a:pt x="183" y="669"/>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0" name="Freeform 184"/>
            <p:cNvSpPr>
              <a:spLocks/>
            </p:cNvSpPr>
            <p:nvPr/>
          </p:nvSpPr>
          <p:spPr bwMode="auto">
            <a:xfrm>
              <a:off x="4723061" y="2735287"/>
              <a:ext cx="658813" cy="938213"/>
            </a:xfrm>
            <a:custGeom>
              <a:avLst/>
              <a:gdLst>
                <a:gd name="T0" fmla="*/ 77 w 470"/>
                <a:gd name="T1" fmla="*/ 213 h 677"/>
                <a:gd name="T2" fmla="*/ 94 w 470"/>
                <a:gd name="T3" fmla="*/ 172 h 677"/>
                <a:gd name="T4" fmla="*/ 128 w 470"/>
                <a:gd name="T5" fmla="*/ 155 h 677"/>
                <a:gd name="T6" fmla="*/ 135 w 470"/>
                <a:gd name="T7" fmla="*/ 138 h 677"/>
                <a:gd name="T8" fmla="*/ 121 w 470"/>
                <a:gd name="T9" fmla="*/ 131 h 677"/>
                <a:gd name="T10" fmla="*/ 102 w 470"/>
                <a:gd name="T11" fmla="*/ 124 h 677"/>
                <a:gd name="T12" fmla="*/ 93 w 470"/>
                <a:gd name="T13" fmla="*/ 104 h 677"/>
                <a:gd name="T14" fmla="*/ 74 w 470"/>
                <a:gd name="T15" fmla="*/ 105 h 677"/>
                <a:gd name="T16" fmla="*/ 55 w 470"/>
                <a:gd name="T17" fmla="*/ 100 h 677"/>
                <a:gd name="T18" fmla="*/ 70 w 470"/>
                <a:gd name="T19" fmla="*/ 79 h 677"/>
                <a:gd name="T20" fmla="*/ 85 w 470"/>
                <a:gd name="T21" fmla="*/ 56 h 677"/>
                <a:gd name="T22" fmla="*/ 113 w 470"/>
                <a:gd name="T23" fmla="*/ 65 h 677"/>
                <a:gd name="T24" fmla="*/ 122 w 470"/>
                <a:gd name="T25" fmla="*/ 80 h 677"/>
                <a:gd name="T26" fmla="*/ 124 w 470"/>
                <a:gd name="T27" fmla="*/ 94 h 677"/>
                <a:gd name="T28" fmla="*/ 140 w 470"/>
                <a:gd name="T29" fmla="*/ 105 h 677"/>
                <a:gd name="T30" fmla="*/ 177 w 470"/>
                <a:gd name="T31" fmla="*/ 98 h 677"/>
                <a:gd name="T32" fmla="*/ 193 w 470"/>
                <a:gd name="T33" fmla="*/ 73 h 677"/>
                <a:gd name="T34" fmla="*/ 174 w 470"/>
                <a:gd name="T35" fmla="*/ 60 h 677"/>
                <a:gd name="T36" fmla="*/ 162 w 470"/>
                <a:gd name="T37" fmla="*/ 39 h 677"/>
                <a:gd name="T38" fmla="*/ 128 w 470"/>
                <a:gd name="T39" fmla="*/ 24 h 677"/>
                <a:gd name="T40" fmla="*/ 110 w 470"/>
                <a:gd name="T41" fmla="*/ 0 h 677"/>
                <a:gd name="T42" fmla="*/ 85 w 470"/>
                <a:gd name="T43" fmla="*/ 15 h 677"/>
                <a:gd name="T44" fmla="*/ 86 w 470"/>
                <a:gd name="T45" fmla="*/ 26 h 677"/>
                <a:gd name="T46" fmla="*/ 63 w 470"/>
                <a:gd name="T47" fmla="*/ 31 h 677"/>
                <a:gd name="T48" fmla="*/ 49 w 470"/>
                <a:gd name="T49" fmla="*/ 34 h 677"/>
                <a:gd name="T50" fmla="*/ 28 w 470"/>
                <a:gd name="T51" fmla="*/ 40 h 677"/>
                <a:gd name="T52" fmla="*/ 23 w 470"/>
                <a:gd name="T53" fmla="*/ 26 h 677"/>
                <a:gd name="T54" fmla="*/ 5 w 470"/>
                <a:gd name="T55" fmla="*/ 45 h 677"/>
                <a:gd name="T56" fmla="*/ 13 w 470"/>
                <a:gd name="T57" fmla="*/ 78 h 677"/>
                <a:gd name="T58" fmla="*/ 23 w 470"/>
                <a:gd name="T59" fmla="*/ 98 h 677"/>
                <a:gd name="T60" fmla="*/ 26 w 470"/>
                <a:gd name="T61" fmla="*/ 122 h 677"/>
                <a:gd name="T62" fmla="*/ 5 w 470"/>
                <a:gd name="T63" fmla="*/ 148 h 677"/>
                <a:gd name="T64" fmla="*/ 25 w 470"/>
                <a:gd name="T65" fmla="*/ 176 h 677"/>
                <a:gd name="T66" fmla="*/ 17 w 470"/>
                <a:gd name="T67" fmla="*/ 194 h 677"/>
                <a:gd name="T68" fmla="*/ 9 w 470"/>
                <a:gd name="T69" fmla="*/ 207 h 677"/>
                <a:gd name="T70" fmla="*/ 55 w 470"/>
                <a:gd name="T71" fmla="*/ 220 h 677"/>
                <a:gd name="T72" fmla="*/ 75 w 470"/>
                <a:gd name="T73" fmla="*/ 217 h 6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70" h="677">
                  <a:moveTo>
                    <a:pt x="183" y="669"/>
                  </a:moveTo>
                  <a:lnTo>
                    <a:pt x="186" y="657"/>
                  </a:lnTo>
                  <a:lnTo>
                    <a:pt x="171" y="630"/>
                  </a:lnTo>
                  <a:lnTo>
                    <a:pt x="228" y="531"/>
                  </a:lnTo>
                  <a:lnTo>
                    <a:pt x="275" y="486"/>
                  </a:lnTo>
                  <a:lnTo>
                    <a:pt x="311" y="477"/>
                  </a:lnTo>
                  <a:lnTo>
                    <a:pt x="347" y="432"/>
                  </a:lnTo>
                  <a:lnTo>
                    <a:pt x="332" y="423"/>
                  </a:lnTo>
                  <a:lnTo>
                    <a:pt x="320" y="393"/>
                  </a:lnTo>
                  <a:lnTo>
                    <a:pt x="293" y="402"/>
                  </a:lnTo>
                  <a:lnTo>
                    <a:pt x="251" y="393"/>
                  </a:lnTo>
                  <a:lnTo>
                    <a:pt x="248" y="381"/>
                  </a:lnTo>
                  <a:lnTo>
                    <a:pt x="248" y="306"/>
                  </a:lnTo>
                  <a:lnTo>
                    <a:pt x="225" y="318"/>
                  </a:lnTo>
                  <a:lnTo>
                    <a:pt x="210" y="330"/>
                  </a:lnTo>
                  <a:lnTo>
                    <a:pt x="180" y="321"/>
                  </a:lnTo>
                  <a:lnTo>
                    <a:pt x="141" y="327"/>
                  </a:lnTo>
                  <a:lnTo>
                    <a:pt x="135" y="309"/>
                  </a:lnTo>
                  <a:lnTo>
                    <a:pt x="141" y="276"/>
                  </a:lnTo>
                  <a:lnTo>
                    <a:pt x="171" y="243"/>
                  </a:lnTo>
                  <a:lnTo>
                    <a:pt x="177" y="204"/>
                  </a:lnTo>
                  <a:lnTo>
                    <a:pt x="207" y="174"/>
                  </a:lnTo>
                  <a:lnTo>
                    <a:pt x="257" y="201"/>
                  </a:lnTo>
                  <a:lnTo>
                    <a:pt x="272" y="201"/>
                  </a:lnTo>
                  <a:lnTo>
                    <a:pt x="281" y="240"/>
                  </a:lnTo>
                  <a:lnTo>
                    <a:pt x="296" y="246"/>
                  </a:lnTo>
                  <a:lnTo>
                    <a:pt x="302" y="270"/>
                  </a:lnTo>
                  <a:lnTo>
                    <a:pt x="302" y="288"/>
                  </a:lnTo>
                  <a:lnTo>
                    <a:pt x="332" y="309"/>
                  </a:lnTo>
                  <a:lnTo>
                    <a:pt x="338" y="327"/>
                  </a:lnTo>
                  <a:lnTo>
                    <a:pt x="365" y="339"/>
                  </a:lnTo>
                  <a:lnTo>
                    <a:pt x="431" y="303"/>
                  </a:lnTo>
                  <a:lnTo>
                    <a:pt x="431" y="282"/>
                  </a:lnTo>
                  <a:lnTo>
                    <a:pt x="470" y="225"/>
                  </a:lnTo>
                  <a:lnTo>
                    <a:pt x="443" y="186"/>
                  </a:lnTo>
                  <a:lnTo>
                    <a:pt x="422" y="186"/>
                  </a:lnTo>
                  <a:lnTo>
                    <a:pt x="383" y="159"/>
                  </a:lnTo>
                  <a:lnTo>
                    <a:pt x="395" y="120"/>
                  </a:lnTo>
                  <a:lnTo>
                    <a:pt x="338" y="114"/>
                  </a:lnTo>
                  <a:lnTo>
                    <a:pt x="311" y="75"/>
                  </a:lnTo>
                  <a:lnTo>
                    <a:pt x="314" y="54"/>
                  </a:lnTo>
                  <a:lnTo>
                    <a:pt x="266" y="0"/>
                  </a:lnTo>
                  <a:lnTo>
                    <a:pt x="234" y="18"/>
                  </a:lnTo>
                  <a:lnTo>
                    <a:pt x="207" y="45"/>
                  </a:lnTo>
                  <a:lnTo>
                    <a:pt x="216" y="66"/>
                  </a:lnTo>
                  <a:lnTo>
                    <a:pt x="210" y="78"/>
                  </a:lnTo>
                  <a:lnTo>
                    <a:pt x="171" y="81"/>
                  </a:lnTo>
                  <a:lnTo>
                    <a:pt x="153" y="96"/>
                  </a:lnTo>
                  <a:lnTo>
                    <a:pt x="135" y="90"/>
                  </a:lnTo>
                  <a:lnTo>
                    <a:pt x="120" y="105"/>
                  </a:lnTo>
                  <a:lnTo>
                    <a:pt x="84" y="132"/>
                  </a:lnTo>
                  <a:lnTo>
                    <a:pt x="69" y="123"/>
                  </a:lnTo>
                  <a:lnTo>
                    <a:pt x="69" y="84"/>
                  </a:lnTo>
                  <a:lnTo>
                    <a:pt x="54" y="78"/>
                  </a:lnTo>
                  <a:lnTo>
                    <a:pt x="33" y="87"/>
                  </a:lnTo>
                  <a:lnTo>
                    <a:pt x="9" y="141"/>
                  </a:lnTo>
                  <a:lnTo>
                    <a:pt x="0" y="189"/>
                  </a:lnTo>
                  <a:lnTo>
                    <a:pt x="30" y="240"/>
                  </a:lnTo>
                  <a:lnTo>
                    <a:pt x="54" y="261"/>
                  </a:lnTo>
                  <a:lnTo>
                    <a:pt x="54" y="303"/>
                  </a:lnTo>
                  <a:lnTo>
                    <a:pt x="69" y="339"/>
                  </a:lnTo>
                  <a:lnTo>
                    <a:pt x="63" y="375"/>
                  </a:lnTo>
                  <a:lnTo>
                    <a:pt x="24" y="402"/>
                  </a:lnTo>
                  <a:lnTo>
                    <a:pt x="6" y="459"/>
                  </a:lnTo>
                  <a:lnTo>
                    <a:pt x="39" y="498"/>
                  </a:lnTo>
                  <a:lnTo>
                    <a:pt x="60" y="543"/>
                  </a:lnTo>
                  <a:lnTo>
                    <a:pt x="48" y="564"/>
                  </a:lnTo>
                  <a:lnTo>
                    <a:pt x="42" y="597"/>
                  </a:lnTo>
                  <a:lnTo>
                    <a:pt x="30" y="618"/>
                  </a:lnTo>
                  <a:lnTo>
                    <a:pt x="21" y="639"/>
                  </a:lnTo>
                  <a:lnTo>
                    <a:pt x="42" y="666"/>
                  </a:lnTo>
                  <a:lnTo>
                    <a:pt x="135" y="677"/>
                  </a:lnTo>
                  <a:lnTo>
                    <a:pt x="171" y="666"/>
                  </a:lnTo>
                  <a:lnTo>
                    <a:pt x="183" y="669"/>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1" name="Freeform 185"/>
            <p:cNvSpPr>
              <a:spLocks/>
            </p:cNvSpPr>
            <p:nvPr/>
          </p:nvSpPr>
          <p:spPr bwMode="auto">
            <a:xfrm>
              <a:off x="5070724" y="3067075"/>
              <a:ext cx="125412" cy="225425"/>
            </a:xfrm>
            <a:custGeom>
              <a:avLst/>
              <a:gdLst>
                <a:gd name="T0" fmla="*/ 29 w 90"/>
                <a:gd name="T1" fmla="*/ 51 h 162"/>
                <a:gd name="T2" fmla="*/ 18 w 90"/>
                <a:gd name="T3" fmla="*/ 53 h 162"/>
                <a:gd name="T4" fmla="*/ 3 w 90"/>
                <a:gd name="T5" fmla="*/ 51 h 162"/>
                <a:gd name="T6" fmla="*/ 0 w 90"/>
                <a:gd name="T7" fmla="*/ 47 h 162"/>
                <a:gd name="T8" fmla="*/ 0 w 90"/>
                <a:gd name="T9" fmla="*/ 21 h 162"/>
                <a:gd name="T10" fmla="*/ 11 w 90"/>
                <a:gd name="T11" fmla="*/ 17 h 162"/>
                <a:gd name="T12" fmla="*/ 10 w 90"/>
                <a:gd name="T13" fmla="*/ 13 h 162"/>
                <a:gd name="T14" fmla="*/ 12 w 90"/>
                <a:gd name="T15" fmla="*/ 4 h 162"/>
                <a:gd name="T16" fmla="*/ 13 w 90"/>
                <a:gd name="T17" fmla="*/ 0 h 162"/>
                <a:gd name="T18" fmla="*/ 19 w 90"/>
                <a:gd name="T19" fmla="*/ 4 h 162"/>
                <a:gd name="T20" fmla="*/ 22 w 90"/>
                <a:gd name="T21" fmla="*/ 10 h 162"/>
                <a:gd name="T22" fmla="*/ 22 w 90"/>
                <a:gd name="T23" fmla="*/ 15 h 162"/>
                <a:gd name="T24" fmla="*/ 33 w 90"/>
                <a:gd name="T25" fmla="*/ 22 h 162"/>
                <a:gd name="T26" fmla="*/ 35 w 90"/>
                <a:gd name="T27" fmla="*/ 29 h 162"/>
                <a:gd name="T28" fmla="*/ 29 w 90"/>
                <a:gd name="T29" fmla="*/ 34 h 162"/>
                <a:gd name="T30" fmla="*/ 25 w 90"/>
                <a:gd name="T31" fmla="*/ 44 h 162"/>
                <a:gd name="T32" fmla="*/ 29 w 90"/>
                <a:gd name="T33" fmla="*/ 51 h 1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162">
                  <a:moveTo>
                    <a:pt x="72" y="153"/>
                  </a:moveTo>
                  <a:lnTo>
                    <a:pt x="45" y="162"/>
                  </a:lnTo>
                  <a:lnTo>
                    <a:pt x="3" y="153"/>
                  </a:lnTo>
                  <a:lnTo>
                    <a:pt x="0" y="141"/>
                  </a:lnTo>
                  <a:lnTo>
                    <a:pt x="0" y="66"/>
                  </a:lnTo>
                  <a:lnTo>
                    <a:pt x="27" y="54"/>
                  </a:lnTo>
                  <a:lnTo>
                    <a:pt x="24" y="42"/>
                  </a:lnTo>
                  <a:lnTo>
                    <a:pt x="30" y="12"/>
                  </a:lnTo>
                  <a:lnTo>
                    <a:pt x="33" y="0"/>
                  </a:lnTo>
                  <a:lnTo>
                    <a:pt x="48" y="6"/>
                  </a:lnTo>
                  <a:lnTo>
                    <a:pt x="54" y="30"/>
                  </a:lnTo>
                  <a:lnTo>
                    <a:pt x="54" y="48"/>
                  </a:lnTo>
                  <a:lnTo>
                    <a:pt x="84" y="69"/>
                  </a:lnTo>
                  <a:lnTo>
                    <a:pt x="90" y="87"/>
                  </a:lnTo>
                  <a:lnTo>
                    <a:pt x="72" y="102"/>
                  </a:lnTo>
                  <a:lnTo>
                    <a:pt x="63" y="132"/>
                  </a:lnTo>
                  <a:lnTo>
                    <a:pt x="72" y="153"/>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2" name="Freeform 186"/>
            <p:cNvSpPr>
              <a:spLocks/>
            </p:cNvSpPr>
            <p:nvPr/>
          </p:nvSpPr>
          <p:spPr bwMode="auto">
            <a:xfrm>
              <a:off x="5070724" y="3067075"/>
              <a:ext cx="125412" cy="225425"/>
            </a:xfrm>
            <a:custGeom>
              <a:avLst/>
              <a:gdLst>
                <a:gd name="T0" fmla="*/ 29 w 90"/>
                <a:gd name="T1" fmla="*/ 51 h 162"/>
                <a:gd name="T2" fmla="*/ 18 w 90"/>
                <a:gd name="T3" fmla="*/ 53 h 162"/>
                <a:gd name="T4" fmla="*/ 3 w 90"/>
                <a:gd name="T5" fmla="*/ 51 h 162"/>
                <a:gd name="T6" fmla="*/ 0 w 90"/>
                <a:gd name="T7" fmla="*/ 47 h 162"/>
                <a:gd name="T8" fmla="*/ 0 w 90"/>
                <a:gd name="T9" fmla="*/ 21 h 162"/>
                <a:gd name="T10" fmla="*/ 11 w 90"/>
                <a:gd name="T11" fmla="*/ 17 h 162"/>
                <a:gd name="T12" fmla="*/ 10 w 90"/>
                <a:gd name="T13" fmla="*/ 13 h 162"/>
                <a:gd name="T14" fmla="*/ 12 w 90"/>
                <a:gd name="T15" fmla="*/ 4 h 162"/>
                <a:gd name="T16" fmla="*/ 13 w 90"/>
                <a:gd name="T17" fmla="*/ 0 h 162"/>
                <a:gd name="T18" fmla="*/ 19 w 90"/>
                <a:gd name="T19" fmla="*/ 4 h 162"/>
                <a:gd name="T20" fmla="*/ 22 w 90"/>
                <a:gd name="T21" fmla="*/ 10 h 162"/>
                <a:gd name="T22" fmla="*/ 22 w 90"/>
                <a:gd name="T23" fmla="*/ 15 h 162"/>
                <a:gd name="T24" fmla="*/ 33 w 90"/>
                <a:gd name="T25" fmla="*/ 22 h 162"/>
                <a:gd name="T26" fmla="*/ 35 w 90"/>
                <a:gd name="T27" fmla="*/ 29 h 162"/>
                <a:gd name="T28" fmla="*/ 29 w 90"/>
                <a:gd name="T29" fmla="*/ 34 h 162"/>
                <a:gd name="T30" fmla="*/ 25 w 90"/>
                <a:gd name="T31" fmla="*/ 44 h 162"/>
                <a:gd name="T32" fmla="*/ 29 w 90"/>
                <a:gd name="T33" fmla="*/ 51 h 1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0" h="162">
                  <a:moveTo>
                    <a:pt x="72" y="153"/>
                  </a:moveTo>
                  <a:lnTo>
                    <a:pt x="45" y="162"/>
                  </a:lnTo>
                  <a:lnTo>
                    <a:pt x="3" y="153"/>
                  </a:lnTo>
                  <a:lnTo>
                    <a:pt x="0" y="141"/>
                  </a:lnTo>
                  <a:lnTo>
                    <a:pt x="0" y="66"/>
                  </a:lnTo>
                  <a:lnTo>
                    <a:pt x="27" y="54"/>
                  </a:lnTo>
                  <a:lnTo>
                    <a:pt x="24" y="42"/>
                  </a:lnTo>
                  <a:lnTo>
                    <a:pt x="30" y="12"/>
                  </a:lnTo>
                  <a:lnTo>
                    <a:pt x="33" y="0"/>
                  </a:lnTo>
                  <a:lnTo>
                    <a:pt x="48" y="6"/>
                  </a:lnTo>
                  <a:lnTo>
                    <a:pt x="54" y="30"/>
                  </a:lnTo>
                  <a:lnTo>
                    <a:pt x="54" y="48"/>
                  </a:lnTo>
                  <a:lnTo>
                    <a:pt x="84" y="69"/>
                  </a:lnTo>
                  <a:lnTo>
                    <a:pt x="90" y="87"/>
                  </a:lnTo>
                  <a:lnTo>
                    <a:pt x="72" y="102"/>
                  </a:lnTo>
                  <a:lnTo>
                    <a:pt x="63" y="132"/>
                  </a:lnTo>
                  <a:lnTo>
                    <a:pt x="72" y="153"/>
                  </a:lnTo>
                </a:path>
              </a:pathLst>
            </a:custGeom>
            <a:solidFill>
              <a:srgbClr val="E6E6E6"/>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3" name="Freeform 187"/>
            <p:cNvSpPr>
              <a:spLocks/>
            </p:cNvSpPr>
            <p:nvPr/>
          </p:nvSpPr>
          <p:spPr bwMode="auto">
            <a:xfrm>
              <a:off x="4911974" y="2975000"/>
              <a:ext cx="204787" cy="217487"/>
            </a:xfrm>
            <a:custGeom>
              <a:avLst/>
              <a:gdLst>
                <a:gd name="T0" fmla="*/ 45 w 146"/>
                <a:gd name="T1" fmla="*/ 44 h 156"/>
                <a:gd name="T2" fmla="*/ 43 w 146"/>
                <a:gd name="T3" fmla="*/ 39 h 156"/>
                <a:gd name="T4" fmla="*/ 40 w 146"/>
                <a:gd name="T5" fmla="*/ 32 h 156"/>
                <a:gd name="T6" fmla="*/ 56 w 146"/>
                <a:gd name="T7" fmla="*/ 27 h 156"/>
                <a:gd name="T8" fmla="*/ 57 w 146"/>
                <a:gd name="T9" fmla="*/ 22 h 156"/>
                <a:gd name="T10" fmla="*/ 55 w 146"/>
                <a:gd name="T11" fmla="*/ 10 h 156"/>
                <a:gd name="T12" fmla="*/ 48 w 146"/>
                <a:gd name="T13" fmla="*/ 10 h 156"/>
                <a:gd name="T14" fmla="*/ 29 w 146"/>
                <a:gd name="T15" fmla="*/ 0 h 156"/>
                <a:gd name="T16" fmla="*/ 16 w 146"/>
                <a:gd name="T17" fmla="*/ 11 h 156"/>
                <a:gd name="T18" fmla="*/ 14 w 146"/>
                <a:gd name="T19" fmla="*/ 23 h 156"/>
                <a:gd name="T20" fmla="*/ 5 w 146"/>
                <a:gd name="T21" fmla="*/ 35 h 156"/>
                <a:gd name="T22" fmla="*/ 0 w 146"/>
                <a:gd name="T23" fmla="*/ 46 h 156"/>
                <a:gd name="T24" fmla="*/ 5 w 146"/>
                <a:gd name="T25" fmla="*/ 52 h 156"/>
                <a:gd name="T26" fmla="*/ 18 w 146"/>
                <a:gd name="T27" fmla="*/ 49 h 156"/>
                <a:gd name="T28" fmla="*/ 29 w 146"/>
                <a:gd name="T29" fmla="*/ 53 h 156"/>
                <a:gd name="T30" fmla="*/ 35 w 146"/>
                <a:gd name="T31" fmla="*/ 48 h 156"/>
                <a:gd name="T32" fmla="*/ 45 w 146"/>
                <a:gd name="T33" fmla="*/ 44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6" h="156">
                  <a:moveTo>
                    <a:pt x="113" y="132"/>
                  </a:moveTo>
                  <a:lnTo>
                    <a:pt x="110" y="111"/>
                  </a:lnTo>
                  <a:lnTo>
                    <a:pt x="102" y="96"/>
                  </a:lnTo>
                  <a:lnTo>
                    <a:pt x="143" y="78"/>
                  </a:lnTo>
                  <a:lnTo>
                    <a:pt x="146" y="66"/>
                  </a:lnTo>
                  <a:lnTo>
                    <a:pt x="137" y="27"/>
                  </a:lnTo>
                  <a:lnTo>
                    <a:pt x="122" y="27"/>
                  </a:lnTo>
                  <a:lnTo>
                    <a:pt x="72" y="0"/>
                  </a:lnTo>
                  <a:lnTo>
                    <a:pt x="42" y="30"/>
                  </a:lnTo>
                  <a:lnTo>
                    <a:pt x="36" y="69"/>
                  </a:lnTo>
                  <a:lnTo>
                    <a:pt x="6" y="102"/>
                  </a:lnTo>
                  <a:lnTo>
                    <a:pt x="0" y="135"/>
                  </a:lnTo>
                  <a:lnTo>
                    <a:pt x="6" y="153"/>
                  </a:lnTo>
                  <a:lnTo>
                    <a:pt x="45" y="147"/>
                  </a:lnTo>
                  <a:lnTo>
                    <a:pt x="75" y="156"/>
                  </a:lnTo>
                  <a:lnTo>
                    <a:pt x="90" y="144"/>
                  </a:lnTo>
                  <a:lnTo>
                    <a:pt x="113" y="132"/>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4" name="Freeform 188"/>
            <p:cNvSpPr>
              <a:spLocks/>
            </p:cNvSpPr>
            <p:nvPr/>
          </p:nvSpPr>
          <p:spPr bwMode="auto">
            <a:xfrm>
              <a:off x="4911974" y="2975000"/>
              <a:ext cx="204787" cy="217487"/>
            </a:xfrm>
            <a:custGeom>
              <a:avLst/>
              <a:gdLst>
                <a:gd name="T0" fmla="*/ 45 w 146"/>
                <a:gd name="T1" fmla="*/ 44 h 156"/>
                <a:gd name="T2" fmla="*/ 43 w 146"/>
                <a:gd name="T3" fmla="*/ 39 h 156"/>
                <a:gd name="T4" fmla="*/ 40 w 146"/>
                <a:gd name="T5" fmla="*/ 32 h 156"/>
                <a:gd name="T6" fmla="*/ 56 w 146"/>
                <a:gd name="T7" fmla="*/ 27 h 156"/>
                <a:gd name="T8" fmla="*/ 57 w 146"/>
                <a:gd name="T9" fmla="*/ 22 h 156"/>
                <a:gd name="T10" fmla="*/ 55 w 146"/>
                <a:gd name="T11" fmla="*/ 10 h 156"/>
                <a:gd name="T12" fmla="*/ 48 w 146"/>
                <a:gd name="T13" fmla="*/ 10 h 156"/>
                <a:gd name="T14" fmla="*/ 29 w 146"/>
                <a:gd name="T15" fmla="*/ 0 h 156"/>
                <a:gd name="T16" fmla="*/ 16 w 146"/>
                <a:gd name="T17" fmla="*/ 11 h 156"/>
                <a:gd name="T18" fmla="*/ 14 w 146"/>
                <a:gd name="T19" fmla="*/ 23 h 156"/>
                <a:gd name="T20" fmla="*/ 5 w 146"/>
                <a:gd name="T21" fmla="*/ 35 h 156"/>
                <a:gd name="T22" fmla="*/ 0 w 146"/>
                <a:gd name="T23" fmla="*/ 46 h 156"/>
                <a:gd name="T24" fmla="*/ 5 w 146"/>
                <a:gd name="T25" fmla="*/ 52 h 156"/>
                <a:gd name="T26" fmla="*/ 18 w 146"/>
                <a:gd name="T27" fmla="*/ 49 h 156"/>
                <a:gd name="T28" fmla="*/ 29 w 146"/>
                <a:gd name="T29" fmla="*/ 53 h 156"/>
                <a:gd name="T30" fmla="*/ 35 w 146"/>
                <a:gd name="T31" fmla="*/ 48 h 156"/>
                <a:gd name="T32" fmla="*/ 45 w 146"/>
                <a:gd name="T33" fmla="*/ 44 h 1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6" h="156">
                  <a:moveTo>
                    <a:pt x="113" y="132"/>
                  </a:moveTo>
                  <a:lnTo>
                    <a:pt x="110" y="111"/>
                  </a:lnTo>
                  <a:lnTo>
                    <a:pt x="102" y="96"/>
                  </a:lnTo>
                  <a:lnTo>
                    <a:pt x="143" y="78"/>
                  </a:lnTo>
                  <a:lnTo>
                    <a:pt x="146" y="66"/>
                  </a:lnTo>
                  <a:lnTo>
                    <a:pt x="137" y="27"/>
                  </a:lnTo>
                  <a:lnTo>
                    <a:pt x="122" y="27"/>
                  </a:lnTo>
                  <a:lnTo>
                    <a:pt x="72" y="0"/>
                  </a:lnTo>
                  <a:lnTo>
                    <a:pt x="42" y="30"/>
                  </a:lnTo>
                  <a:lnTo>
                    <a:pt x="36" y="69"/>
                  </a:lnTo>
                  <a:lnTo>
                    <a:pt x="6" y="102"/>
                  </a:lnTo>
                  <a:lnTo>
                    <a:pt x="0" y="135"/>
                  </a:lnTo>
                  <a:lnTo>
                    <a:pt x="6" y="153"/>
                  </a:lnTo>
                  <a:lnTo>
                    <a:pt x="45" y="147"/>
                  </a:lnTo>
                  <a:lnTo>
                    <a:pt x="75" y="156"/>
                  </a:lnTo>
                  <a:lnTo>
                    <a:pt x="90" y="144"/>
                  </a:lnTo>
                  <a:lnTo>
                    <a:pt x="113" y="132"/>
                  </a:lnTo>
                </a:path>
              </a:pathLst>
            </a:custGeom>
            <a:solidFill>
              <a:srgbClr val="E6E6E6"/>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5" name="Freeform 189"/>
            <p:cNvSpPr>
              <a:spLocks/>
            </p:cNvSpPr>
            <p:nvPr/>
          </p:nvSpPr>
          <p:spPr bwMode="auto">
            <a:xfrm>
              <a:off x="3738811" y="3289325"/>
              <a:ext cx="334963" cy="568325"/>
            </a:xfrm>
            <a:custGeom>
              <a:avLst/>
              <a:gdLst>
                <a:gd name="T0" fmla="*/ 90 w 239"/>
                <a:gd name="T1" fmla="*/ 74 h 410"/>
                <a:gd name="T2" fmla="*/ 90 w 239"/>
                <a:gd name="T3" fmla="*/ 60 h 410"/>
                <a:gd name="T4" fmla="*/ 96 w 239"/>
                <a:gd name="T5" fmla="*/ 53 h 410"/>
                <a:gd name="T6" fmla="*/ 92 w 239"/>
                <a:gd name="T7" fmla="*/ 46 h 410"/>
                <a:gd name="T8" fmla="*/ 62 w 239"/>
                <a:gd name="T9" fmla="*/ 37 h 410"/>
                <a:gd name="T10" fmla="*/ 67 w 239"/>
                <a:gd name="T11" fmla="*/ 28 h 410"/>
                <a:gd name="T12" fmla="*/ 75 w 239"/>
                <a:gd name="T13" fmla="*/ 19 h 410"/>
                <a:gd name="T14" fmla="*/ 68 w 239"/>
                <a:gd name="T15" fmla="*/ 4 h 410"/>
                <a:gd name="T16" fmla="*/ 67 w 239"/>
                <a:gd name="T17" fmla="*/ 0 h 410"/>
                <a:gd name="T18" fmla="*/ 47 w 239"/>
                <a:gd name="T19" fmla="*/ 11 h 410"/>
                <a:gd name="T20" fmla="*/ 39 w 239"/>
                <a:gd name="T21" fmla="*/ 34 h 410"/>
                <a:gd name="T22" fmla="*/ 36 w 239"/>
                <a:gd name="T23" fmla="*/ 50 h 410"/>
                <a:gd name="T24" fmla="*/ 21 w 239"/>
                <a:gd name="T25" fmla="*/ 60 h 410"/>
                <a:gd name="T26" fmla="*/ 13 w 239"/>
                <a:gd name="T27" fmla="*/ 62 h 410"/>
                <a:gd name="T28" fmla="*/ 0 w 239"/>
                <a:gd name="T29" fmla="*/ 64 h 410"/>
                <a:gd name="T30" fmla="*/ 25 w 239"/>
                <a:gd name="T31" fmla="*/ 87 h 410"/>
                <a:gd name="T32" fmla="*/ 30 w 239"/>
                <a:gd name="T33" fmla="*/ 107 h 410"/>
                <a:gd name="T34" fmla="*/ 27 w 239"/>
                <a:gd name="T35" fmla="*/ 115 h 410"/>
                <a:gd name="T36" fmla="*/ 44 w 239"/>
                <a:gd name="T37" fmla="*/ 122 h 410"/>
                <a:gd name="T38" fmla="*/ 44 w 239"/>
                <a:gd name="T39" fmla="*/ 129 h 410"/>
                <a:gd name="T40" fmla="*/ 60 w 239"/>
                <a:gd name="T41" fmla="*/ 132 h 410"/>
                <a:gd name="T42" fmla="*/ 65 w 239"/>
                <a:gd name="T43" fmla="*/ 132 h 410"/>
                <a:gd name="T44" fmla="*/ 65 w 239"/>
                <a:gd name="T45" fmla="*/ 122 h 410"/>
                <a:gd name="T46" fmla="*/ 76 w 239"/>
                <a:gd name="T47" fmla="*/ 121 h 410"/>
                <a:gd name="T48" fmla="*/ 80 w 239"/>
                <a:gd name="T49" fmla="*/ 108 h 410"/>
                <a:gd name="T50" fmla="*/ 70 w 239"/>
                <a:gd name="T51" fmla="*/ 103 h 410"/>
                <a:gd name="T52" fmla="*/ 65 w 239"/>
                <a:gd name="T53" fmla="*/ 97 h 410"/>
                <a:gd name="T54" fmla="*/ 67 w 239"/>
                <a:gd name="T55" fmla="*/ 74 h 410"/>
                <a:gd name="T56" fmla="*/ 75 w 239"/>
                <a:gd name="T57" fmla="*/ 71 h 410"/>
                <a:gd name="T58" fmla="*/ 84 w 239"/>
                <a:gd name="T59" fmla="*/ 76 h 410"/>
                <a:gd name="T60" fmla="*/ 90 w 239"/>
                <a:gd name="T61" fmla="*/ 74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9" h="410">
                  <a:moveTo>
                    <a:pt x="224" y="231"/>
                  </a:moveTo>
                  <a:lnTo>
                    <a:pt x="224" y="186"/>
                  </a:lnTo>
                  <a:lnTo>
                    <a:pt x="239" y="165"/>
                  </a:lnTo>
                  <a:lnTo>
                    <a:pt x="233" y="144"/>
                  </a:lnTo>
                  <a:lnTo>
                    <a:pt x="159" y="117"/>
                  </a:lnTo>
                  <a:lnTo>
                    <a:pt x="165" y="87"/>
                  </a:lnTo>
                  <a:lnTo>
                    <a:pt x="189" y="57"/>
                  </a:lnTo>
                  <a:lnTo>
                    <a:pt x="174" y="6"/>
                  </a:lnTo>
                  <a:lnTo>
                    <a:pt x="168" y="0"/>
                  </a:lnTo>
                  <a:lnTo>
                    <a:pt x="120" y="33"/>
                  </a:lnTo>
                  <a:lnTo>
                    <a:pt x="96" y="105"/>
                  </a:lnTo>
                  <a:lnTo>
                    <a:pt x="90" y="156"/>
                  </a:lnTo>
                  <a:lnTo>
                    <a:pt x="51" y="186"/>
                  </a:lnTo>
                  <a:lnTo>
                    <a:pt x="30" y="195"/>
                  </a:lnTo>
                  <a:lnTo>
                    <a:pt x="0" y="201"/>
                  </a:lnTo>
                  <a:lnTo>
                    <a:pt x="63" y="275"/>
                  </a:lnTo>
                  <a:lnTo>
                    <a:pt x="75" y="332"/>
                  </a:lnTo>
                  <a:lnTo>
                    <a:pt x="69" y="359"/>
                  </a:lnTo>
                  <a:lnTo>
                    <a:pt x="111" y="383"/>
                  </a:lnTo>
                  <a:lnTo>
                    <a:pt x="111" y="401"/>
                  </a:lnTo>
                  <a:lnTo>
                    <a:pt x="150" y="410"/>
                  </a:lnTo>
                  <a:lnTo>
                    <a:pt x="162" y="410"/>
                  </a:lnTo>
                  <a:lnTo>
                    <a:pt x="162" y="377"/>
                  </a:lnTo>
                  <a:lnTo>
                    <a:pt x="192" y="374"/>
                  </a:lnTo>
                  <a:lnTo>
                    <a:pt x="198" y="335"/>
                  </a:lnTo>
                  <a:lnTo>
                    <a:pt x="177" y="320"/>
                  </a:lnTo>
                  <a:lnTo>
                    <a:pt x="162" y="302"/>
                  </a:lnTo>
                  <a:lnTo>
                    <a:pt x="168" y="231"/>
                  </a:lnTo>
                  <a:lnTo>
                    <a:pt x="186" y="222"/>
                  </a:lnTo>
                  <a:lnTo>
                    <a:pt x="212" y="234"/>
                  </a:lnTo>
                  <a:lnTo>
                    <a:pt x="224" y="231"/>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6" name="Freeform 190"/>
            <p:cNvSpPr>
              <a:spLocks/>
            </p:cNvSpPr>
            <p:nvPr/>
          </p:nvSpPr>
          <p:spPr bwMode="auto">
            <a:xfrm>
              <a:off x="3738811" y="3289325"/>
              <a:ext cx="334963" cy="568325"/>
            </a:xfrm>
            <a:custGeom>
              <a:avLst/>
              <a:gdLst>
                <a:gd name="T0" fmla="*/ 90 w 239"/>
                <a:gd name="T1" fmla="*/ 74 h 410"/>
                <a:gd name="T2" fmla="*/ 90 w 239"/>
                <a:gd name="T3" fmla="*/ 60 h 410"/>
                <a:gd name="T4" fmla="*/ 96 w 239"/>
                <a:gd name="T5" fmla="*/ 53 h 410"/>
                <a:gd name="T6" fmla="*/ 92 w 239"/>
                <a:gd name="T7" fmla="*/ 46 h 410"/>
                <a:gd name="T8" fmla="*/ 62 w 239"/>
                <a:gd name="T9" fmla="*/ 37 h 410"/>
                <a:gd name="T10" fmla="*/ 67 w 239"/>
                <a:gd name="T11" fmla="*/ 28 h 410"/>
                <a:gd name="T12" fmla="*/ 75 w 239"/>
                <a:gd name="T13" fmla="*/ 19 h 410"/>
                <a:gd name="T14" fmla="*/ 68 w 239"/>
                <a:gd name="T15" fmla="*/ 4 h 410"/>
                <a:gd name="T16" fmla="*/ 67 w 239"/>
                <a:gd name="T17" fmla="*/ 0 h 410"/>
                <a:gd name="T18" fmla="*/ 47 w 239"/>
                <a:gd name="T19" fmla="*/ 11 h 410"/>
                <a:gd name="T20" fmla="*/ 39 w 239"/>
                <a:gd name="T21" fmla="*/ 34 h 410"/>
                <a:gd name="T22" fmla="*/ 36 w 239"/>
                <a:gd name="T23" fmla="*/ 50 h 410"/>
                <a:gd name="T24" fmla="*/ 21 w 239"/>
                <a:gd name="T25" fmla="*/ 60 h 410"/>
                <a:gd name="T26" fmla="*/ 13 w 239"/>
                <a:gd name="T27" fmla="*/ 62 h 410"/>
                <a:gd name="T28" fmla="*/ 0 w 239"/>
                <a:gd name="T29" fmla="*/ 64 h 410"/>
                <a:gd name="T30" fmla="*/ 25 w 239"/>
                <a:gd name="T31" fmla="*/ 87 h 410"/>
                <a:gd name="T32" fmla="*/ 30 w 239"/>
                <a:gd name="T33" fmla="*/ 107 h 410"/>
                <a:gd name="T34" fmla="*/ 27 w 239"/>
                <a:gd name="T35" fmla="*/ 115 h 410"/>
                <a:gd name="T36" fmla="*/ 44 w 239"/>
                <a:gd name="T37" fmla="*/ 122 h 410"/>
                <a:gd name="T38" fmla="*/ 44 w 239"/>
                <a:gd name="T39" fmla="*/ 129 h 410"/>
                <a:gd name="T40" fmla="*/ 60 w 239"/>
                <a:gd name="T41" fmla="*/ 132 h 410"/>
                <a:gd name="T42" fmla="*/ 65 w 239"/>
                <a:gd name="T43" fmla="*/ 132 h 410"/>
                <a:gd name="T44" fmla="*/ 65 w 239"/>
                <a:gd name="T45" fmla="*/ 122 h 410"/>
                <a:gd name="T46" fmla="*/ 76 w 239"/>
                <a:gd name="T47" fmla="*/ 121 h 410"/>
                <a:gd name="T48" fmla="*/ 80 w 239"/>
                <a:gd name="T49" fmla="*/ 108 h 410"/>
                <a:gd name="T50" fmla="*/ 70 w 239"/>
                <a:gd name="T51" fmla="*/ 103 h 410"/>
                <a:gd name="T52" fmla="*/ 65 w 239"/>
                <a:gd name="T53" fmla="*/ 97 h 410"/>
                <a:gd name="T54" fmla="*/ 67 w 239"/>
                <a:gd name="T55" fmla="*/ 74 h 410"/>
                <a:gd name="T56" fmla="*/ 75 w 239"/>
                <a:gd name="T57" fmla="*/ 71 h 410"/>
                <a:gd name="T58" fmla="*/ 84 w 239"/>
                <a:gd name="T59" fmla="*/ 76 h 410"/>
                <a:gd name="T60" fmla="*/ 90 w 239"/>
                <a:gd name="T61" fmla="*/ 74 h 41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39" h="410">
                  <a:moveTo>
                    <a:pt x="224" y="231"/>
                  </a:moveTo>
                  <a:lnTo>
                    <a:pt x="224" y="186"/>
                  </a:lnTo>
                  <a:lnTo>
                    <a:pt x="239" y="165"/>
                  </a:lnTo>
                  <a:lnTo>
                    <a:pt x="233" y="144"/>
                  </a:lnTo>
                  <a:lnTo>
                    <a:pt x="159" y="117"/>
                  </a:lnTo>
                  <a:lnTo>
                    <a:pt x="165" y="87"/>
                  </a:lnTo>
                  <a:lnTo>
                    <a:pt x="189" y="57"/>
                  </a:lnTo>
                  <a:lnTo>
                    <a:pt x="174" y="6"/>
                  </a:lnTo>
                  <a:lnTo>
                    <a:pt x="168" y="0"/>
                  </a:lnTo>
                  <a:lnTo>
                    <a:pt x="120" y="33"/>
                  </a:lnTo>
                  <a:lnTo>
                    <a:pt x="96" y="105"/>
                  </a:lnTo>
                  <a:lnTo>
                    <a:pt x="90" y="156"/>
                  </a:lnTo>
                  <a:lnTo>
                    <a:pt x="51" y="186"/>
                  </a:lnTo>
                  <a:lnTo>
                    <a:pt x="30" y="195"/>
                  </a:lnTo>
                  <a:lnTo>
                    <a:pt x="0" y="201"/>
                  </a:lnTo>
                  <a:lnTo>
                    <a:pt x="63" y="275"/>
                  </a:lnTo>
                  <a:lnTo>
                    <a:pt x="75" y="332"/>
                  </a:lnTo>
                  <a:lnTo>
                    <a:pt x="69" y="359"/>
                  </a:lnTo>
                  <a:lnTo>
                    <a:pt x="111" y="383"/>
                  </a:lnTo>
                  <a:lnTo>
                    <a:pt x="111" y="401"/>
                  </a:lnTo>
                  <a:lnTo>
                    <a:pt x="150" y="410"/>
                  </a:lnTo>
                  <a:lnTo>
                    <a:pt x="162" y="410"/>
                  </a:lnTo>
                  <a:lnTo>
                    <a:pt x="162" y="377"/>
                  </a:lnTo>
                  <a:lnTo>
                    <a:pt x="192" y="374"/>
                  </a:lnTo>
                  <a:lnTo>
                    <a:pt x="198" y="335"/>
                  </a:lnTo>
                  <a:lnTo>
                    <a:pt x="177" y="320"/>
                  </a:lnTo>
                  <a:lnTo>
                    <a:pt x="162" y="302"/>
                  </a:lnTo>
                  <a:lnTo>
                    <a:pt x="168" y="231"/>
                  </a:lnTo>
                  <a:lnTo>
                    <a:pt x="186" y="222"/>
                  </a:lnTo>
                  <a:lnTo>
                    <a:pt x="212" y="234"/>
                  </a:lnTo>
                  <a:lnTo>
                    <a:pt x="224" y="231"/>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7" name="Freeform 191"/>
            <p:cNvSpPr>
              <a:spLocks/>
            </p:cNvSpPr>
            <p:nvPr/>
          </p:nvSpPr>
          <p:spPr bwMode="auto">
            <a:xfrm>
              <a:off x="2973636" y="1146200"/>
              <a:ext cx="2728913" cy="2430462"/>
            </a:xfrm>
            <a:custGeom>
              <a:avLst/>
              <a:gdLst>
                <a:gd name="T0" fmla="*/ 262 w 1944"/>
                <a:gd name="T1" fmla="*/ 555 h 1750"/>
                <a:gd name="T2" fmla="*/ 296 w 1944"/>
                <a:gd name="T3" fmla="*/ 506 h 1750"/>
                <a:gd name="T4" fmla="*/ 320 w 1944"/>
                <a:gd name="T5" fmla="*/ 552 h 1750"/>
                <a:gd name="T6" fmla="*/ 351 w 1944"/>
                <a:gd name="T7" fmla="*/ 562 h 1750"/>
                <a:gd name="T8" fmla="*/ 393 w 1944"/>
                <a:gd name="T9" fmla="*/ 513 h 1750"/>
                <a:gd name="T10" fmla="*/ 435 w 1944"/>
                <a:gd name="T11" fmla="*/ 496 h 1750"/>
                <a:gd name="T12" fmla="*/ 483 w 1944"/>
                <a:gd name="T13" fmla="*/ 466 h 1750"/>
                <a:gd name="T14" fmla="*/ 512 w 1944"/>
                <a:gd name="T15" fmla="*/ 436 h 1750"/>
                <a:gd name="T16" fmla="*/ 541 w 1944"/>
                <a:gd name="T17" fmla="*/ 402 h 1750"/>
                <a:gd name="T18" fmla="*/ 569 w 1944"/>
                <a:gd name="T19" fmla="*/ 403 h 1750"/>
                <a:gd name="T20" fmla="*/ 601 w 1944"/>
                <a:gd name="T21" fmla="*/ 396 h 1750"/>
                <a:gd name="T22" fmla="*/ 642 w 1944"/>
                <a:gd name="T23" fmla="*/ 392 h 1750"/>
                <a:gd name="T24" fmla="*/ 682 w 1944"/>
                <a:gd name="T25" fmla="*/ 403 h 1750"/>
                <a:gd name="T26" fmla="*/ 703 w 1944"/>
                <a:gd name="T27" fmla="*/ 392 h 1750"/>
                <a:gd name="T28" fmla="*/ 745 w 1944"/>
                <a:gd name="T29" fmla="*/ 361 h 1750"/>
                <a:gd name="T30" fmla="*/ 780 w 1944"/>
                <a:gd name="T31" fmla="*/ 346 h 1750"/>
                <a:gd name="T32" fmla="*/ 790 w 1944"/>
                <a:gd name="T33" fmla="*/ 320 h 1750"/>
                <a:gd name="T34" fmla="*/ 745 w 1944"/>
                <a:gd name="T35" fmla="*/ 300 h 1750"/>
                <a:gd name="T36" fmla="*/ 735 w 1944"/>
                <a:gd name="T37" fmla="*/ 262 h 1750"/>
                <a:gd name="T38" fmla="*/ 749 w 1944"/>
                <a:gd name="T39" fmla="*/ 250 h 1750"/>
                <a:gd name="T40" fmla="*/ 754 w 1944"/>
                <a:gd name="T41" fmla="*/ 220 h 1750"/>
                <a:gd name="T42" fmla="*/ 754 w 1944"/>
                <a:gd name="T43" fmla="*/ 213 h 1750"/>
                <a:gd name="T44" fmla="*/ 764 w 1944"/>
                <a:gd name="T45" fmla="*/ 157 h 1750"/>
                <a:gd name="T46" fmla="*/ 779 w 1944"/>
                <a:gd name="T47" fmla="*/ 162 h 1750"/>
                <a:gd name="T48" fmla="*/ 784 w 1944"/>
                <a:gd name="T49" fmla="*/ 90 h 1750"/>
                <a:gd name="T50" fmla="*/ 735 w 1944"/>
                <a:gd name="T51" fmla="*/ 58 h 1750"/>
                <a:gd name="T52" fmla="*/ 695 w 1944"/>
                <a:gd name="T53" fmla="*/ 39 h 1750"/>
                <a:gd name="T54" fmla="*/ 656 w 1944"/>
                <a:gd name="T55" fmla="*/ 30 h 1750"/>
                <a:gd name="T56" fmla="*/ 648 w 1944"/>
                <a:gd name="T57" fmla="*/ 0 h 1750"/>
                <a:gd name="T58" fmla="*/ 633 w 1944"/>
                <a:gd name="T59" fmla="*/ 30 h 1750"/>
                <a:gd name="T60" fmla="*/ 614 w 1944"/>
                <a:gd name="T61" fmla="*/ 107 h 1750"/>
                <a:gd name="T62" fmla="*/ 561 w 1944"/>
                <a:gd name="T63" fmla="*/ 139 h 1750"/>
                <a:gd name="T64" fmla="*/ 527 w 1944"/>
                <a:gd name="T65" fmla="*/ 196 h 1750"/>
                <a:gd name="T66" fmla="*/ 581 w 1944"/>
                <a:gd name="T67" fmla="*/ 206 h 1750"/>
                <a:gd name="T68" fmla="*/ 657 w 1944"/>
                <a:gd name="T69" fmla="*/ 225 h 1750"/>
                <a:gd name="T70" fmla="*/ 604 w 1944"/>
                <a:gd name="T71" fmla="*/ 243 h 1750"/>
                <a:gd name="T72" fmla="*/ 560 w 1944"/>
                <a:gd name="T73" fmla="*/ 267 h 1750"/>
                <a:gd name="T74" fmla="*/ 501 w 1944"/>
                <a:gd name="T75" fmla="*/ 309 h 1750"/>
                <a:gd name="T76" fmla="*/ 433 w 1944"/>
                <a:gd name="T77" fmla="*/ 317 h 1750"/>
                <a:gd name="T78" fmla="*/ 417 w 1944"/>
                <a:gd name="T79" fmla="*/ 370 h 1750"/>
                <a:gd name="T80" fmla="*/ 310 w 1944"/>
                <a:gd name="T81" fmla="*/ 404 h 1750"/>
                <a:gd name="T82" fmla="*/ 221 w 1944"/>
                <a:gd name="T83" fmla="*/ 427 h 1750"/>
                <a:gd name="T84" fmla="*/ 79 w 1944"/>
                <a:gd name="T85" fmla="*/ 402 h 1750"/>
                <a:gd name="T86" fmla="*/ 5 w 1944"/>
                <a:gd name="T87" fmla="*/ 420 h 1750"/>
                <a:gd name="T88" fmla="*/ 46 w 1944"/>
                <a:gd name="T89" fmla="*/ 459 h 1750"/>
                <a:gd name="T90" fmla="*/ 90 w 1944"/>
                <a:gd name="T91" fmla="*/ 474 h 1750"/>
                <a:gd name="T92" fmla="*/ 103 w 1944"/>
                <a:gd name="T93" fmla="*/ 505 h 1750"/>
                <a:gd name="T94" fmla="*/ 148 w 1944"/>
                <a:gd name="T95" fmla="*/ 525 h 1750"/>
                <a:gd name="T96" fmla="*/ 212 w 1944"/>
                <a:gd name="T97" fmla="*/ 520 h 1750"/>
                <a:gd name="T98" fmla="*/ 193 w 1944"/>
                <a:gd name="T99" fmla="*/ 548 h 17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44" h="1750">
                  <a:moveTo>
                    <a:pt x="545" y="1744"/>
                  </a:moveTo>
                  <a:lnTo>
                    <a:pt x="575" y="1738"/>
                  </a:lnTo>
                  <a:lnTo>
                    <a:pt x="596" y="1729"/>
                  </a:lnTo>
                  <a:lnTo>
                    <a:pt x="635" y="1699"/>
                  </a:lnTo>
                  <a:lnTo>
                    <a:pt x="641" y="1648"/>
                  </a:lnTo>
                  <a:lnTo>
                    <a:pt x="665" y="1576"/>
                  </a:lnTo>
                  <a:lnTo>
                    <a:pt x="713" y="1543"/>
                  </a:lnTo>
                  <a:lnTo>
                    <a:pt x="719" y="1549"/>
                  </a:lnTo>
                  <a:lnTo>
                    <a:pt x="734" y="1600"/>
                  </a:lnTo>
                  <a:lnTo>
                    <a:pt x="710" y="1630"/>
                  </a:lnTo>
                  <a:lnTo>
                    <a:pt x="704" y="1660"/>
                  </a:lnTo>
                  <a:lnTo>
                    <a:pt x="778" y="1687"/>
                  </a:lnTo>
                  <a:lnTo>
                    <a:pt x="784" y="1708"/>
                  </a:lnTo>
                  <a:lnTo>
                    <a:pt x="826" y="1705"/>
                  </a:lnTo>
                  <a:lnTo>
                    <a:pt x="847" y="1711"/>
                  </a:lnTo>
                  <a:lnTo>
                    <a:pt x="856" y="1717"/>
                  </a:lnTo>
                  <a:lnTo>
                    <a:pt x="931" y="1612"/>
                  </a:lnTo>
                  <a:lnTo>
                    <a:pt x="952" y="1603"/>
                  </a:lnTo>
                  <a:lnTo>
                    <a:pt x="955" y="1591"/>
                  </a:lnTo>
                  <a:lnTo>
                    <a:pt x="955" y="1570"/>
                  </a:lnTo>
                  <a:lnTo>
                    <a:pt x="979" y="1534"/>
                  </a:lnTo>
                  <a:lnTo>
                    <a:pt x="1027" y="1531"/>
                  </a:lnTo>
                  <a:lnTo>
                    <a:pt x="1045" y="1510"/>
                  </a:lnTo>
                  <a:lnTo>
                    <a:pt x="1057" y="1519"/>
                  </a:lnTo>
                  <a:lnTo>
                    <a:pt x="1084" y="1498"/>
                  </a:lnTo>
                  <a:lnTo>
                    <a:pt x="1099" y="1498"/>
                  </a:lnTo>
                  <a:lnTo>
                    <a:pt x="1150" y="1426"/>
                  </a:lnTo>
                  <a:lnTo>
                    <a:pt x="1174" y="1426"/>
                  </a:lnTo>
                  <a:lnTo>
                    <a:pt x="1207" y="1405"/>
                  </a:lnTo>
                  <a:lnTo>
                    <a:pt x="1216" y="1414"/>
                  </a:lnTo>
                  <a:lnTo>
                    <a:pt x="1276" y="1384"/>
                  </a:lnTo>
                  <a:lnTo>
                    <a:pt x="1246" y="1333"/>
                  </a:lnTo>
                  <a:lnTo>
                    <a:pt x="1255" y="1285"/>
                  </a:lnTo>
                  <a:lnTo>
                    <a:pt x="1279" y="1231"/>
                  </a:lnTo>
                  <a:lnTo>
                    <a:pt x="1300" y="1222"/>
                  </a:lnTo>
                  <a:lnTo>
                    <a:pt x="1315" y="1228"/>
                  </a:lnTo>
                  <a:lnTo>
                    <a:pt x="1315" y="1267"/>
                  </a:lnTo>
                  <a:lnTo>
                    <a:pt x="1330" y="1276"/>
                  </a:lnTo>
                  <a:lnTo>
                    <a:pt x="1366" y="1249"/>
                  </a:lnTo>
                  <a:lnTo>
                    <a:pt x="1381" y="1234"/>
                  </a:lnTo>
                  <a:lnTo>
                    <a:pt x="1399" y="1240"/>
                  </a:lnTo>
                  <a:lnTo>
                    <a:pt x="1417" y="1225"/>
                  </a:lnTo>
                  <a:lnTo>
                    <a:pt x="1456" y="1222"/>
                  </a:lnTo>
                  <a:lnTo>
                    <a:pt x="1462" y="1210"/>
                  </a:lnTo>
                  <a:lnTo>
                    <a:pt x="1453" y="1189"/>
                  </a:lnTo>
                  <a:lnTo>
                    <a:pt x="1480" y="1162"/>
                  </a:lnTo>
                  <a:lnTo>
                    <a:pt x="1512" y="1144"/>
                  </a:lnTo>
                  <a:lnTo>
                    <a:pt x="1560" y="1198"/>
                  </a:lnTo>
                  <a:lnTo>
                    <a:pt x="1557" y="1219"/>
                  </a:lnTo>
                  <a:lnTo>
                    <a:pt x="1584" y="1258"/>
                  </a:lnTo>
                  <a:lnTo>
                    <a:pt x="1641" y="1264"/>
                  </a:lnTo>
                  <a:lnTo>
                    <a:pt x="1656" y="1234"/>
                  </a:lnTo>
                  <a:lnTo>
                    <a:pt x="1641" y="1156"/>
                  </a:lnTo>
                  <a:lnTo>
                    <a:pt x="1653" y="1144"/>
                  </a:lnTo>
                  <a:lnTo>
                    <a:pt x="1680" y="1162"/>
                  </a:lnTo>
                  <a:lnTo>
                    <a:pt x="1707" y="1198"/>
                  </a:lnTo>
                  <a:lnTo>
                    <a:pt x="1746" y="1138"/>
                  </a:lnTo>
                  <a:lnTo>
                    <a:pt x="1764" y="1132"/>
                  </a:lnTo>
                  <a:lnTo>
                    <a:pt x="1791" y="1105"/>
                  </a:lnTo>
                  <a:lnTo>
                    <a:pt x="1806" y="1105"/>
                  </a:lnTo>
                  <a:lnTo>
                    <a:pt x="1830" y="1078"/>
                  </a:lnTo>
                  <a:lnTo>
                    <a:pt x="1845" y="1078"/>
                  </a:lnTo>
                  <a:lnTo>
                    <a:pt x="1857" y="1058"/>
                  </a:lnTo>
                  <a:lnTo>
                    <a:pt x="1893" y="1058"/>
                  </a:lnTo>
                  <a:lnTo>
                    <a:pt x="1926" y="1025"/>
                  </a:lnTo>
                  <a:lnTo>
                    <a:pt x="1944" y="1010"/>
                  </a:lnTo>
                  <a:lnTo>
                    <a:pt x="1944" y="992"/>
                  </a:lnTo>
                  <a:lnTo>
                    <a:pt x="1917" y="977"/>
                  </a:lnTo>
                  <a:lnTo>
                    <a:pt x="1917" y="944"/>
                  </a:lnTo>
                  <a:lnTo>
                    <a:pt x="1869" y="884"/>
                  </a:lnTo>
                  <a:lnTo>
                    <a:pt x="1824" y="929"/>
                  </a:lnTo>
                  <a:lnTo>
                    <a:pt x="1812" y="917"/>
                  </a:lnTo>
                  <a:lnTo>
                    <a:pt x="1809" y="893"/>
                  </a:lnTo>
                  <a:lnTo>
                    <a:pt x="1791" y="866"/>
                  </a:lnTo>
                  <a:lnTo>
                    <a:pt x="1785" y="836"/>
                  </a:lnTo>
                  <a:lnTo>
                    <a:pt x="1785" y="803"/>
                  </a:lnTo>
                  <a:lnTo>
                    <a:pt x="1755" y="779"/>
                  </a:lnTo>
                  <a:lnTo>
                    <a:pt x="1749" y="767"/>
                  </a:lnTo>
                  <a:lnTo>
                    <a:pt x="1758" y="749"/>
                  </a:lnTo>
                  <a:lnTo>
                    <a:pt x="1818" y="764"/>
                  </a:lnTo>
                  <a:lnTo>
                    <a:pt x="1818" y="737"/>
                  </a:lnTo>
                  <a:lnTo>
                    <a:pt x="1839" y="713"/>
                  </a:lnTo>
                  <a:lnTo>
                    <a:pt x="1827" y="698"/>
                  </a:lnTo>
                  <a:lnTo>
                    <a:pt x="1830" y="674"/>
                  </a:lnTo>
                  <a:lnTo>
                    <a:pt x="1857" y="659"/>
                  </a:lnTo>
                  <a:lnTo>
                    <a:pt x="1866" y="650"/>
                  </a:lnTo>
                  <a:lnTo>
                    <a:pt x="1860" y="641"/>
                  </a:lnTo>
                  <a:lnTo>
                    <a:pt x="1830" y="650"/>
                  </a:lnTo>
                  <a:lnTo>
                    <a:pt x="1773" y="611"/>
                  </a:lnTo>
                  <a:lnTo>
                    <a:pt x="1770" y="599"/>
                  </a:lnTo>
                  <a:lnTo>
                    <a:pt x="1797" y="563"/>
                  </a:lnTo>
                  <a:lnTo>
                    <a:pt x="1854" y="479"/>
                  </a:lnTo>
                  <a:lnTo>
                    <a:pt x="1857" y="470"/>
                  </a:lnTo>
                  <a:lnTo>
                    <a:pt x="1869" y="470"/>
                  </a:lnTo>
                  <a:lnTo>
                    <a:pt x="1887" y="494"/>
                  </a:lnTo>
                  <a:lnTo>
                    <a:pt x="1890" y="497"/>
                  </a:lnTo>
                  <a:lnTo>
                    <a:pt x="1893" y="392"/>
                  </a:lnTo>
                  <a:lnTo>
                    <a:pt x="1911" y="383"/>
                  </a:lnTo>
                  <a:lnTo>
                    <a:pt x="1911" y="341"/>
                  </a:lnTo>
                  <a:lnTo>
                    <a:pt x="1905" y="276"/>
                  </a:lnTo>
                  <a:lnTo>
                    <a:pt x="1929" y="183"/>
                  </a:lnTo>
                  <a:lnTo>
                    <a:pt x="1860" y="132"/>
                  </a:lnTo>
                  <a:lnTo>
                    <a:pt x="1809" y="177"/>
                  </a:lnTo>
                  <a:lnTo>
                    <a:pt x="1782" y="180"/>
                  </a:lnTo>
                  <a:lnTo>
                    <a:pt x="1767" y="195"/>
                  </a:lnTo>
                  <a:lnTo>
                    <a:pt x="1722" y="189"/>
                  </a:lnTo>
                  <a:lnTo>
                    <a:pt x="1698" y="162"/>
                  </a:lnTo>
                  <a:lnTo>
                    <a:pt x="1686" y="120"/>
                  </a:lnTo>
                  <a:lnTo>
                    <a:pt x="1689" y="105"/>
                  </a:lnTo>
                  <a:lnTo>
                    <a:pt x="1653" y="84"/>
                  </a:lnTo>
                  <a:lnTo>
                    <a:pt x="1632" y="117"/>
                  </a:lnTo>
                  <a:lnTo>
                    <a:pt x="1593" y="93"/>
                  </a:lnTo>
                  <a:lnTo>
                    <a:pt x="1584" y="84"/>
                  </a:lnTo>
                  <a:lnTo>
                    <a:pt x="1608" y="27"/>
                  </a:lnTo>
                  <a:lnTo>
                    <a:pt x="1590" y="0"/>
                  </a:lnTo>
                  <a:lnTo>
                    <a:pt x="1575" y="0"/>
                  </a:lnTo>
                  <a:lnTo>
                    <a:pt x="1533" y="30"/>
                  </a:lnTo>
                  <a:lnTo>
                    <a:pt x="1500" y="81"/>
                  </a:lnTo>
                  <a:lnTo>
                    <a:pt x="1512" y="90"/>
                  </a:lnTo>
                  <a:lnTo>
                    <a:pt x="1539" y="93"/>
                  </a:lnTo>
                  <a:lnTo>
                    <a:pt x="1557" y="144"/>
                  </a:lnTo>
                  <a:lnTo>
                    <a:pt x="1548" y="165"/>
                  </a:lnTo>
                  <a:lnTo>
                    <a:pt x="1527" y="195"/>
                  </a:lnTo>
                  <a:lnTo>
                    <a:pt x="1491" y="329"/>
                  </a:lnTo>
                  <a:lnTo>
                    <a:pt x="1503" y="353"/>
                  </a:lnTo>
                  <a:lnTo>
                    <a:pt x="1494" y="371"/>
                  </a:lnTo>
                  <a:lnTo>
                    <a:pt x="1408" y="434"/>
                  </a:lnTo>
                  <a:lnTo>
                    <a:pt x="1363" y="425"/>
                  </a:lnTo>
                  <a:lnTo>
                    <a:pt x="1339" y="416"/>
                  </a:lnTo>
                  <a:lnTo>
                    <a:pt x="1333" y="428"/>
                  </a:lnTo>
                  <a:lnTo>
                    <a:pt x="1297" y="578"/>
                  </a:lnTo>
                  <a:lnTo>
                    <a:pt x="1279" y="596"/>
                  </a:lnTo>
                  <a:lnTo>
                    <a:pt x="1288" y="623"/>
                  </a:lnTo>
                  <a:lnTo>
                    <a:pt x="1312" y="641"/>
                  </a:lnTo>
                  <a:lnTo>
                    <a:pt x="1351" y="620"/>
                  </a:lnTo>
                  <a:lnTo>
                    <a:pt x="1411" y="626"/>
                  </a:lnTo>
                  <a:lnTo>
                    <a:pt x="1429" y="596"/>
                  </a:lnTo>
                  <a:lnTo>
                    <a:pt x="1462" y="587"/>
                  </a:lnTo>
                  <a:lnTo>
                    <a:pt x="1521" y="611"/>
                  </a:lnTo>
                  <a:lnTo>
                    <a:pt x="1596" y="689"/>
                  </a:lnTo>
                  <a:lnTo>
                    <a:pt x="1596" y="704"/>
                  </a:lnTo>
                  <a:lnTo>
                    <a:pt x="1581" y="716"/>
                  </a:lnTo>
                  <a:lnTo>
                    <a:pt x="1494" y="722"/>
                  </a:lnTo>
                  <a:lnTo>
                    <a:pt x="1465" y="743"/>
                  </a:lnTo>
                  <a:lnTo>
                    <a:pt x="1444" y="740"/>
                  </a:lnTo>
                  <a:lnTo>
                    <a:pt x="1426" y="767"/>
                  </a:lnTo>
                  <a:lnTo>
                    <a:pt x="1387" y="776"/>
                  </a:lnTo>
                  <a:lnTo>
                    <a:pt x="1360" y="815"/>
                  </a:lnTo>
                  <a:lnTo>
                    <a:pt x="1354" y="845"/>
                  </a:lnTo>
                  <a:lnTo>
                    <a:pt x="1297" y="884"/>
                  </a:lnTo>
                  <a:lnTo>
                    <a:pt x="1258" y="890"/>
                  </a:lnTo>
                  <a:lnTo>
                    <a:pt x="1219" y="944"/>
                  </a:lnTo>
                  <a:lnTo>
                    <a:pt x="1180" y="965"/>
                  </a:lnTo>
                  <a:lnTo>
                    <a:pt x="1105" y="950"/>
                  </a:lnTo>
                  <a:lnTo>
                    <a:pt x="1081" y="938"/>
                  </a:lnTo>
                  <a:lnTo>
                    <a:pt x="1051" y="968"/>
                  </a:lnTo>
                  <a:lnTo>
                    <a:pt x="1036" y="1019"/>
                  </a:lnTo>
                  <a:lnTo>
                    <a:pt x="1078" y="1078"/>
                  </a:lnTo>
                  <a:lnTo>
                    <a:pt x="1051" y="1108"/>
                  </a:lnTo>
                  <a:lnTo>
                    <a:pt x="1012" y="1129"/>
                  </a:lnTo>
                  <a:lnTo>
                    <a:pt x="958" y="1198"/>
                  </a:lnTo>
                  <a:lnTo>
                    <a:pt x="889" y="1228"/>
                  </a:lnTo>
                  <a:lnTo>
                    <a:pt x="772" y="1240"/>
                  </a:lnTo>
                  <a:lnTo>
                    <a:pt x="754" y="1237"/>
                  </a:lnTo>
                  <a:lnTo>
                    <a:pt x="620" y="1294"/>
                  </a:lnTo>
                  <a:lnTo>
                    <a:pt x="560" y="1333"/>
                  </a:lnTo>
                  <a:lnTo>
                    <a:pt x="542" y="1324"/>
                  </a:lnTo>
                  <a:lnTo>
                    <a:pt x="536" y="1306"/>
                  </a:lnTo>
                  <a:lnTo>
                    <a:pt x="452" y="1303"/>
                  </a:lnTo>
                  <a:lnTo>
                    <a:pt x="359" y="1273"/>
                  </a:lnTo>
                  <a:lnTo>
                    <a:pt x="332" y="1243"/>
                  </a:lnTo>
                  <a:lnTo>
                    <a:pt x="194" y="1228"/>
                  </a:lnTo>
                  <a:lnTo>
                    <a:pt x="167" y="1237"/>
                  </a:lnTo>
                  <a:lnTo>
                    <a:pt x="0" y="1222"/>
                  </a:lnTo>
                  <a:lnTo>
                    <a:pt x="0" y="1246"/>
                  </a:lnTo>
                  <a:lnTo>
                    <a:pt x="8" y="1285"/>
                  </a:lnTo>
                  <a:lnTo>
                    <a:pt x="3" y="1348"/>
                  </a:lnTo>
                  <a:lnTo>
                    <a:pt x="50" y="1420"/>
                  </a:lnTo>
                  <a:lnTo>
                    <a:pt x="74" y="1435"/>
                  </a:lnTo>
                  <a:lnTo>
                    <a:pt x="113" y="1405"/>
                  </a:lnTo>
                  <a:lnTo>
                    <a:pt x="197" y="1405"/>
                  </a:lnTo>
                  <a:lnTo>
                    <a:pt x="215" y="1414"/>
                  </a:lnTo>
                  <a:lnTo>
                    <a:pt x="227" y="1432"/>
                  </a:lnTo>
                  <a:lnTo>
                    <a:pt x="218" y="1450"/>
                  </a:lnTo>
                  <a:lnTo>
                    <a:pt x="173" y="1489"/>
                  </a:lnTo>
                  <a:lnTo>
                    <a:pt x="179" y="1507"/>
                  </a:lnTo>
                  <a:lnTo>
                    <a:pt x="230" y="1546"/>
                  </a:lnTo>
                  <a:lnTo>
                    <a:pt x="251" y="1546"/>
                  </a:lnTo>
                  <a:lnTo>
                    <a:pt x="257" y="1555"/>
                  </a:lnTo>
                  <a:lnTo>
                    <a:pt x="251" y="1570"/>
                  </a:lnTo>
                  <a:lnTo>
                    <a:pt x="284" y="1594"/>
                  </a:lnTo>
                  <a:lnTo>
                    <a:pt x="359" y="1606"/>
                  </a:lnTo>
                  <a:lnTo>
                    <a:pt x="395" y="1597"/>
                  </a:lnTo>
                  <a:lnTo>
                    <a:pt x="440" y="1552"/>
                  </a:lnTo>
                  <a:lnTo>
                    <a:pt x="497" y="1558"/>
                  </a:lnTo>
                  <a:lnTo>
                    <a:pt x="518" y="1591"/>
                  </a:lnTo>
                  <a:lnTo>
                    <a:pt x="506" y="1621"/>
                  </a:lnTo>
                  <a:lnTo>
                    <a:pt x="509" y="1642"/>
                  </a:lnTo>
                  <a:lnTo>
                    <a:pt x="479" y="1660"/>
                  </a:lnTo>
                  <a:lnTo>
                    <a:pt x="467" y="1675"/>
                  </a:lnTo>
                  <a:lnTo>
                    <a:pt x="470" y="1714"/>
                  </a:lnTo>
                  <a:lnTo>
                    <a:pt x="524" y="1750"/>
                  </a:lnTo>
                  <a:lnTo>
                    <a:pt x="545" y="1744"/>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8" name="Freeform 192"/>
            <p:cNvSpPr>
              <a:spLocks/>
            </p:cNvSpPr>
            <p:nvPr/>
          </p:nvSpPr>
          <p:spPr bwMode="auto">
            <a:xfrm>
              <a:off x="2973636" y="1146200"/>
              <a:ext cx="2728913" cy="2430462"/>
            </a:xfrm>
            <a:custGeom>
              <a:avLst/>
              <a:gdLst>
                <a:gd name="T0" fmla="*/ 262 w 1944"/>
                <a:gd name="T1" fmla="*/ 555 h 1750"/>
                <a:gd name="T2" fmla="*/ 296 w 1944"/>
                <a:gd name="T3" fmla="*/ 506 h 1750"/>
                <a:gd name="T4" fmla="*/ 320 w 1944"/>
                <a:gd name="T5" fmla="*/ 552 h 1750"/>
                <a:gd name="T6" fmla="*/ 351 w 1944"/>
                <a:gd name="T7" fmla="*/ 562 h 1750"/>
                <a:gd name="T8" fmla="*/ 393 w 1944"/>
                <a:gd name="T9" fmla="*/ 513 h 1750"/>
                <a:gd name="T10" fmla="*/ 435 w 1944"/>
                <a:gd name="T11" fmla="*/ 496 h 1750"/>
                <a:gd name="T12" fmla="*/ 483 w 1944"/>
                <a:gd name="T13" fmla="*/ 466 h 1750"/>
                <a:gd name="T14" fmla="*/ 512 w 1944"/>
                <a:gd name="T15" fmla="*/ 436 h 1750"/>
                <a:gd name="T16" fmla="*/ 541 w 1944"/>
                <a:gd name="T17" fmla="*/ 402 h 1750"/>
                <a:gd name="T18" fmla="*/ 569 w 1944"/>
                <a:gd name="T19" fmla="*/ 403 h 1750"/>
                <a:gd name="T20" fmla="*/ 601 w 1944"/>
                <a:gd name="T21" fmla="*/ 396 h 1750"/>
                <a:gd name="T22" fmla="*/ 642 w 1944"/>
                <a:gd name="T23" fmla="*/ 392 h 1750"/>
                <a:gd name="T24" fmla="*/ 682 w 1944"/>
                <a:gd name="T25" fmla="*/ 403 h 1750"/>
                <a:gd name="T26" fmla="*/ 703 w 1944"/>
                <a:gd name="T27" fmla="*/ 392 h 1750"/>
                <a:gd name="T28" fmla="*/ 745 w 1944"/>
                <a:gd name="T29" fmla="*/ 361 h 1750"/>
                <a:gd name="T30" fmla="*/ 780 w 1944"/>
                <a:gd name="T31" fmla="*/ 346 h 1750"/>
                <a:gd name="T32" fmla="*/ 790 w 1944"/>
                <a:gd name="T33" fmla="*/ 320 h 1750"/>
                <a:gd name="T34" fmla="*/ 745 w 1944"/>
                <a:gd name="T35" fmla="*/ 300 h 1750"/>
                <a:gd name="T36" fmla="*/ 735 w 1944"/>
                <a:gd name="T37" fmla="*/ 262 h 1750"/>
                <a:gd name="T38" fmla="*/ 749 w 1944"/>
                <a:gd name="T39" fmla="*/ 250 h 1750"/>
                <a:gd name="T40" fmla="*/ 754 w 1944"/>
                <a:gd name="T41" fmla="*/ 220 h 1750"/>
                <a:gd name="T42" fmla="*/ 754 w 1944"/>
                <a:gd name="T43" fmla="*/ 213 h 1750"/>
                <a:gd name="T44" fmla="*/ 764 w 1944"/>
                <a:gd name="T45" fmla="*/ 157 h 1750"/>
                <a:gd name="T46" fmla="*/ 779 w 1944"/>
                <a:gd name="T47" fmla="*/ 162 h 1750"/>
                <a:gd name="T48" fmla="*/ 784 w 1944"/>
                <a:gd name="T49" fmla="*/ 90 h 1750"/>
                <a:gd name="T50" fmla="*/ 735 w 1944"/>
                <a:gd name="T51" fmla="*/ 58 h 1750"/>
                <a:gd name="T52" fmla="*/ 695 w 1944"/>
                <a:gd name="T53" fmla="*/ 39 h 1750"/>
                <a:gd name="T54" fmla="*/ 656 w 1944"/>
                <a:gd name="T55" fmla="*/ 30 h 1750"/>
                <a:gd name="T56" fmla="*/ 648 w 1944"/>
                <a:gd name="T57" fmla="*/ 0 h 1750"/>
                <a:gd name="T58" fmla="*/ 633 w 1944"/>
                <a:gd name="T59" fmla="*/ 30 h 1750"/>
                <a:gd name="T60" fmla="*/ 614 w 1944"/>
                <a:gd name="T61" fmla="*/ 107 h 1750"/>
                <a:gd name="T62" fmla="*/ 561 w 1944"/>
                <a:gd name="T63" fmla="*/ 139 h 1750"/>
                <a:gd name="T64" fmla="*/ 527 w 1944"/>
                <a:gd name="T65" fmla="*/ 196 h 1750"/>
                <a:gd name="T66" fmla="*/ 581 w 1944"/>
                <a:gd name="T67" fmla="*/ 206 h 1750"/>
                <a:gd name="T68" fmla="*/ 657 w 1944"/>
                <a:gd name="T69" fmla="*/ 225 h 1750"/>
                <a:gd name="T70" fmla="*/ 604 w 1944"/>
                <a:gd name="T71" fmla="*/ 243 h 1750"/>
                <a:gd name="T72" fmla="*/ 560 w 1944"/>
                <a:gd name="T73" fmla="*/ 267 h 1750"/>
                <a:gd name="T74" fmla="*/ 501 w 1944"/>
                <a:gd name="T75" fmla="*/ 309 h 1750"/>
                <a:gd name="T76" fmla="*/ 433 w 1944"/>
                <a:gd name="T77" fmla="*/ 317 h 1750"/>
                <a:gd name="T78" fmla="*/ 417 w 1944"/>
                <a:gd name="T79" fmla="*/ 370 h 1750"/>
                <a:gd name="T80" fmla="*/ 310 w 1944"/>
                <a:gd name="T81" fmla="*/ 404 h 1750"/>
                <a:gd name="T82" fmla="*/ 221 w 1944"/>
                <a:gd name="T83" fmla="*/ 427 h 1750"/>
                <a:gd name="T84" fmla="*/ 79 w 1944"/>
                <a:gd name="T85" fmla="*/ 402 h 1750"/>
                <a:gd name="T86" fmla="*/ 5 w 1944"/>
                <a:gd name="T87" fmla="*/ 420 h 1750"/>
                <a:gd name="T88" fmla="*/ 46 w 1944"/>
                <a:gd name="T89" fmla="*/ 459 h 1750"/>
                <a:gd name="T90" fmla="*/ 90 w 1944"/>
                <a:gd name="T91" fmla="*/ 474 h 1750"/>
                <a:gd name="T92" fmla="*/ 103 w 1944"/>
                <a:gd name="T93" fmla="*/ 505 h 1750"/>
                <a:gd name="T94" fmla="*/ 148 w 1944"/>
                <a:gd name="T95" fmla="*/ 525 h 1750"/>
                <a:gd name="T96" fmla="*/ 212 w 1944"/>
                <a:gd name="T97" fmla="*/ 520 h 1750"/>
                <a:gd name="T98" fmla="*/ 193 w 1944"/>
                <a:gd name="T99" fmla="*/ 548 h 17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44" h="1750">
                  <a:moveTo>
                    <a:pt x="545" y="1744"/>
                  </a:moveTo>
                  <a:lnTo>
                    <a:pt x="575" y="1738"/>
                  </a:lnTo>
                  <a:lnTo>
                    <a:pt x="596" y="1729"/>
                  </a:lnTo>
                  <a:lnTo>
                    <a:pt x="635" y="1699"/>
                  </a:lnTo>
                  <a:lnTo>
                    <a:pt x="641" y="1648"/>
                  </a:lnTo>
                  <a:lnTo>
                    <a:pt x="665" y="1576"/>
                  </a:lnTo>
                  <a:lnTo>
                    <a:pt x="713" y="1543"/>
                  </a:lnTo>
                  <a:lnTo>
                    <a:pt x="719" y="1549"/>
                  </a:lnTo>
                  <a:lnTo>
                    <a:pt x="734" y="1600"/>
                  </a:lnTo>
                  <a:lnTo>
                    <a:pt x="710" y="1630"/>
                  </a:lnTo>
                  <a:lnTo>
                    <a:pt x="704" y="1660"/>
                  </a:lnTo>
                  <a:lnTo>
                    <a:pt x="778" y="1687"/>
                  </a:lnTo>
                  <a:lnTo>
                    <a:pt x="784" y="1708"/>
                  </a:lnTo>
                  <a:lnTo>
                    <a:pt x="826" y="1705"/>
                  </a:lnTo>
                  <a:lnTo>
                    <a:pt x="847" y="1711"/>
                  </a:lnTo>
                  <a:lnTo>
                    <a:pt x="856" y="1717"/>
                  </a:lnTo>
                  <a:lnTo>
                    <a:pt x="931" y="1612"/>
                  </a:lnTo>
                  <a:lnTo>
                    <a:pt x="952" y="1603"/>
                  </a:lnTo>
                  <a:lnTo>
                    <a:pt x="955" y="1591"/>
                  </a:lnTo>
                  <a:lnTo>
                    <a:pt x="955" y="1570"/>
                  </a:lnTo>
                  <a:lnTo>
                    <a:pt x="979" y="1534"/>
                  </a:lnTo>
                  <a:lnTo>
                    <a:pt x="1027" y="1531"/>
                  </a:lnTo>
                  <a:lnTo>
                    <a:pt x="1045" y="1510"/>
                  </a:lnTo>
                  <a:lnTo>
                    <a:pt x="1057" y="1519"/>
                  </a:lnTo>
                  <a:lnTo>
                    <a:pt x="1084" y="1498"/>
                  </a:lnTo>
                  <a:lnTo>
                    <a:pt x="1099" y="1498"/>
                  </a:lnTo>
                  <a:lnTo>
                    <a:pt x="1150" y="1426"/>
                  </a:lnTo>
                  <a:lnTo>
                    <a:pt x="1174" y="1426"/>
                  </a:lnTo>
                  <a:lnTo>
                    <a:pt x="1207" y="1405"/>
                  </a:lnTo>
                  <a:lnTo>
                    <a:pt x="1216" y="1414"/>
                  </a:lnTo>
                  <a:lnTo>
                    <a:pt x="1276" y="1384"/>
                  </a:lnTo>
                  <a:lnTo>
                    <a:pt x="1246" y="1333"/>
                  </a:lnTo>
                  <a:lnTo>
                    <a:pt x="1255" y="1285"/>
                  </a:lnTo>
                  <a:lnTo>
                    <a:pt x="1279" y="1231"/>
                  </a:lnTo>
                  <a:lnTo>
                    <a:pt x="1300" y="1222"/>
                  </a:lnTo>
                  <a:lnTo>
                    <a:pt x="1315" y="1228"/>
                  </a:lnTo>
                  <a:lnTo>
                    <a:pt x="1315" y="1267"/>
                  </a:lnTo>
                  <a:lnTo>
                    <a:pt x="1330" y="1276"/>
                  </a:lnTo>
                  <a:lnTo>
                    <a:pt x="1366" y="1249"/>
                  </a:lnTo>
                  <a:lnTo>
                    <a:pt x="1381" y="1234"/>
                  </a:lnTo>
                  <a:lnTo>
                    <a:pt x="1399" y="1240"/>
                  </a:lnTo>
                  <a:lnTo>
                    <a:pt x="1417" y="1225"/>
                  </a:lnTo>
                  <a:lnTo>
                    <a:pt x="1456" y="1222"/>
                  </a:lnTo>
                  <a:lnTo>
                    <a:pt x="1462" y="1210"/>
                  </a:lnTo>
                  <a:lnTo>
                    <a:pt x="1453" y="1189"/>
                  </a:lnTo>
                  <a:lnTo>
                    <a:pt x="1480" y="1162"/>
                  </a:lnTo>
                  <a:lnTo>
                    <a:pt x="1512" y="1144"/>
                  </a:lnTo>
                  <a:lnTo>
                    <a:pt x="1560" y="1198"/>
                  </a:lnTo>
                  <a:lnTo>
                    <a:pt x="1557" y="1219"/>
                  </a:lnTo>
                  <a:lnTo>
                    <a:pt x="1584" y="1258"/>
                  </a:lnTo>
                  <a:lnTo>
                    <a:pt x="1641" y="1264"/>
                  </a:lnTo>
                  <a:lnTo>
                    <a:pt x="1656" y="1234"/>
                  </a:lnTo>
                  <a:lnTo>
                    <a:pt x="1641" y="1156"/>
                  </a:lnTo>
                  <a:lnTo>
                    <a:pt x="1653" y="1144"/>
                  </a:lnTo>
                  <a:lnTo>
                    <a:pt x="1680" y="1162"/>
                  </a:lnTo>
                  <a:lnTo>
                    <a:pt x="1707" y="1198"/>
                  </a:lnTo>
                  <a:lnTo>
                    <a:pt x="1746" y="1138"/>
                  </a:lnTo>
                  <a:lnTo>
                    <a:pt x="1764" y="1132"/>
                  </a:lnTo>
                  <a:lnTo>
                    <a:pt x="1791" y="1105"/>
                  </a:lnTo>
                  <a:lnTo>
                    <a:pt x="1806" y="1105"/>
                  </a:lnTo>
                  <a:lnTo>
                    <a:pt x="1830" y="1078"/>
                  </a:lnTo>
                  <a:lnTo>
                    <a:pt x="1845" y="1078"/>
                  </a:lnTo>
                  <a:lnTo>
                    <a:pt x="1857" y="1058"/>
                  </a:lnTo>
                  <a:lnTo>
                    <a:pt x="1893" y="1058"/>
                  </a:lnTo>
                  <a:lnTo>
                    <a:pt x="1926" y="1025"/>
                  </a:lnTo>
                  <a:lnTo>
                    <a:pt x="1944" y="1010"/>
                  </a:lnTo>
                  <a:lnTo>
                    <a:pt x="1944" y="992"/>
                  </a:lnTo>
                  <a:lnTo>
                    <a:pt x="1917" y="977"/>
                  </a:lnTo>
                  <a:lnTo>
                    <a:pt x="1917" y="944"/>
                  </a:lnTo>
                  <a:lnTo>
                    <a:pt x="1869" y="884"/>
                  </a:lnTo>
                  <a:lnTo>
                    <a:pt x="1824" y="929"/>
                  </a:lnTo>
                  <a:lnTo>
                    <a:pt x="1812" y="917"/>
                  </a:lnTo>
                  <a:lnTo>
                    <a:pt x="1809" y="893"/>
                  </a:lnTo>
                  <a:lnTo>
                    <a:pt x="1791" y="866"/>
                  </a:lnTo>
                  <a:lnTo>
                    <a:pt x="1785" y="836"/>
                  </a:lnTo>
                  <a:lnTo>
                    <a:pt x="1785" y="803"/>
                  </a:lnTo>
                  <a:lnTo>
                    <a:pt x="1755" y="779"/>
                  </a:lnTo>
                  <a:lnTo>
                    <a:pt x="1749" y="767"/>
                  </a:lnTo>
                  <a:lnTo>
                    <a:pt x="1758" y="749"/>
                  </a:lnTo>
                  <a:lnTo>
                    <a:pt x="1818" y="764"/>
                  </a:lnTo>
                  <a:lnTo>
                    <a:pt x="1818" y="737"/>
                  </a:lnTo>
                  <a:lnTo>
                    <a:pt x="1839" y="713"/>
                  </a:lnTo>
                  <a:lnTo>
                    <a:pt x="1827" y="698"/>
                  </a:lnTo>
                  <a:lnTo>
                    <a:pt x="1830" y="674"/>
                  </a:lnTo>
                  <a:lnTo>
                    <a:pt x="1857" y="659"/>
                  </a:lnTo>
                  <a:lnTo>
                    <a:pt x="1866" y="650"/>
                  </a:lnTo>
                  <a:lnTo>
                    <a:pt x="1860" y="641"/>
                  </a:lnTo>
                  <a:lnTo>
                    <a:pt x="1830" y="650"/>
                  </a:lnTo>
                  <a:lnTo>
                    <a:pt x="1773" y="611"/>
                  </a:lnTo>
                  <a:lnTo>
                    <a:pt x="1770" y="599"/>
                  </a:lnTo>
                  <a:lnTo>
                    <a:pt x="1797" y="563"/>
                  </a:lnTo>
                  <a:lnTo>
                    <a:pt x="1854" y="479"/>
                  </a:lnTo>
                  <a:lnTo>
                    <a:pt x="1857" y="470"/>
                  </a:lnTo>
                  <a:lnTo>
                    <a:pt x="1869" y="470"/>
                  </a:lnTo>
                  <a:lnTo>
                    <a:pt x="1887" y="494"/>
                  </a:lnTo>
                  <a:lnTo>
                    <a:pt x="1890" y="497"/>
                  </a:lnTo>
                  <a:lnTo>
                    <a:pt x="1893" y="392"/>
                  </a:lnTo>
                  <a:lnTo>
                    <a:pt x="1911" y="383"/>
                  </a:lnTo>
                  <a:lnTo>
                    <a:pt x="1911" y="341"/>
                  </a:lnTo>
                  <a:lnTo>
                    <a:pt x="1905" y="276"/>
                  </a:lnTo>
                  <a:lnTo>
                    <a:pt x="1929" y="183"/>
                  </a:lnTo>
                  <a:lnTo>
                    <a:pt x="1860" y="132"/>
                  </a:lnTo>
                  <a:lnTo>
                    <a:pt x="1809" y="177"/>
                  </a:lnTo>
                  <a:lnTo>
                    <a:pt x="1782" y="180"/>
                  </a:lnTo>
                  <a:lnTo>
                    <a:pt x="1767" y="195"/>
                  </a:lnTo>
                  <a:lnTo>
                    <a:pt x="1722" y="189"/>
                  </a:lnTo>
                  <a:lnTo>
                    <a:pt x="1698" y="162"/>
                  </a:lnTo>
                  <a:lnTo>
                    <a:pt x="1686" y="120"/>
                  </a:lnTo>
                  <a:lnTo>
                    <a:pt x="1689" y="105"/>
                  </a:lnTo>
                  <a:lnTo>
                    <a:pt x="1653" y="84"/>
                  </a:lnTo>
                  <a:lnTo>
                    <a:pt x="1632" y="117"/>
                  </a:lnTo>
                  <a:lnTo>
                    <a:pt x="1593" y="93"/>
                  </a:lnTo>
                  <a:lnTo>
                    <a:pt x="1584" y="84"/>
                  </a:lnTo>
                  <a:lnTo>
                    <a:pt x="1608" y="27"/>
                  </a:lnTo>
                  <a:lnTo>
                    <a:pt x="1590" y="0"/>
                  </a:lnTo>
                  <a:lnTo>
                    <a:pt x="1575" y="0"/>
                  </a:lnTo>
                  <a:lnTo>
                    <a:pt x="1533" y="30"/>
                  </a:lnTo>
                  <a:lnTo>
                    <a:pt x="1500" y="81"/>
                  </a:lnTo>
                  <a:lnTo>
                    <a:pt x="1512" y="90"/>
                  </a:lnTo>
                  <a:lnTo>
                    <a:pt x="1539" y="93"/>
                  </a:lnTo>
                  <a:lnTo>
                    <a:pt x="1557" y="144"/>
                  </a:lnTo>
                  <a:lnTo>
                    <a:pt x="1548" y="165"/>
                  </a:lnTo>
                  <a:lnTo>
                    <a:pt x="1527" y="195"/>
                  </a:lnTo>
                  <a:lnTo>
                    <a:pt x="1491" y="329"/>
                  </a:lnTo>
                  <a:lnTo>
                    <a:pt x="1503" y="353"/>
                  </a:lnTo>
                  <a:lnTo>
                    <a:pt x="1494" y="371"/>
                  </a:lnTo>
                  <a:lnTo>
                    <a:pt x="1408" y="434"/>
                  </a:lnTo>
                  <a:lnTo>
                    <a:pt x="1363" y="425"/>
                  </a:lnTo>
                  <a:lnTo>
                    <a:pt x="1339" y="416"/>
                  </a:lnTo>
                  <a:lnTo>
                    <a:pt x="1333" y="428"/>
                  </a:lnTo>
                  <a:lnTo>
                    <a:pt x="1297" y="578"/>
                  </a:lnTo>
                  <a:lnTo>
                    <a:pt x="1279" y="596"/>
                  </a:lnTo>
                  <a:lnTo>
                    <a:pt x="1288" y="623"/>
                  </a:lnTo>
                  <a:lnTo>
                    <a:pt x="1312" y="641"/>
                  </a:lnTo>
                  <a:lnTo>
                    <a:pt x="1351" y="620"/>
                  </a:lnTo>
                  <a:lnTo>
                    <a:pt x="1411" y="626"/>
                  </a:lnTo>
                  <a:lnTo>
                    <a:pt x="1429" y="596"/>
                  </a:lnTo>
                  <a:lnTo>
                    <a:pt x="1462" y="587"/>
                  </a:lnTo>
                  <a:lnTo>
                    <a:pt x="1521" y="611"/>
                  </a:lnTo>
                  <a:lnTo>
                    <a:pt x="1596" y="689"/>
                  </a:lnTo>
                  <a:lnTo>
                    <a:pt x="1596" y="704"/>
                  </a:lnTo>
                  <a:lnTo>
                    <a:pt x="1581" y="716"/>
                  </a:lnTo>
                  <a:lnTo>
                    <a:pt x="1494" y="722"/>
                  </a:lnTo>
                  <a:lnTo>
                    <a:pt x="1465" y="743"/>
                  </a:lnTo>
                  <a:lnTo>
                    <a:pt x="1444" y="740"/>
                  </a:lnTo>
                  <a:lnTo>
                    <a:pt x="1426" y="767"/>
                  </a:lnTo>
                  <a:lnTo>
                    <a:pt x="1387" y="776"/>
                  </a:lnTo>
                  <a:lnTo>
                    <a:pt x="1360" y="815"/>
                  </a:lnTo>
                  <a:lnTo>
                    <a:pt x="1354" y="845"/>
                  </a:lnTo>
                  <a:lnTo>
                    <a:pt x="1297" y="884"/>
                  </a:lnTo>
                  <a:lnTo>
                    <a:pt x="1258" y="890"/>
                  </a:lnTo>
                  <a:lnTo>
                    <a:pt x="1219" y="944"/>
                  </a:lnTo>
                  <a:lnTo>
                    <a:pt x="1180" y="965"/>
                  </a:lnTo>
                  <a:lnTo>
                    <a:pt x="1105" y="950"/>
                  </a:lnTo>
                  <a:lnTo>
                    <a:pt x="1081" y="938"/>
                  </a:lnTo>
                  <a:lnTo>
                    <a:pt x="1051" y="968"/>
                  </a:lnTo>
                  <a:lnTo>
                    <a:pt x="1036" y="1019"/>
                  </a:lnTo>
                  <a:lnTo>
                    <a:pt x="1078" y="1078"/>
                  </a:lnTo>
                  <a:lnTo>
                    <a:pt x="1051" y="1108"/>
                  </a:lnTo>
                  <a:lnTo>
                    <a:pt x="1012" y="1129"/>
                  </a:lnTo>
                  <a:lnTo>
                    <a:pt x="958" y="1198"/>
                  </a:lnTo>
                  <a:lnTo>
                    <a:pt x="889" y="1228"/>
                  </a:lnTo>
                  <a:lnTo>
                    <a:pt x="772" y="1240"/>
                  </a:lnTo>
                  <a:lnTo>
                    <a:pt x="754" y="1237"/>
                  </a:lnTo>
                  <a:lnTo>
                    <a:pt x="620" y="1294"/>
                  </a:lnTo>
                  <a:lnTo>
                    <a:pt x="560" y="1333"/>
                  </a:lnTo>
                  <a:lnTo>
                    <a:pt x="542" y="1324"/>
                  </a:lnTo>
                  <a:lnTo>
                    <a:pt x="536" y="1306"/>
                  </a:lnTo>
                  <a:lnTo>
                    <a:pt x="452" y="1303"/>
                  </a:lnTo>
                  <a:lnTo>
                    <a:pt x="359" y="1273"/>
                  </a:lnTo>
                  <a:lnTo>
                    <a:pt x="332" y="1243"/>
                  </a:lnTo>
                  <a:lnTo>
                    <a:pt x="194" y="1228"/>
                  </a:lnTo>
                  <a:lnTo>
                    <a:pt x="167" y="1237"/>
                  </a:lnTo>
                  <a:lnTo>
                    <a:pt x="0" y="1222"/>
                  </a:lnTo>
                  <a:lnTo>
                    <a:pt x="0" y="1246"/>
                  </a:lnTo>
                  <a:lnTo>
                    <a:pt x="8" y="1285"/>
                  </a:lnTo>
                  <a:lnTo>
                    <a:pt x="3" y="1348"/>
                  </a:lnTo>
                  <a:lnTo>
                    <a:pt x="50" y="1420"/>
                  </a:lnTo>
                  <a:lnTo>
                    <a:pt x="74" y="1435"/>
                  </a:lnTo>
                  <a:lnTo>
                    <a:pt x="113" y="1405"/>
                  </a:lnTo>
                  <a:lnTo>
                    <a:pt x="197" y="1405"/>
                  </a:lnTo>
                  <a:lnTo>
                    <a:pt x="215" y="1414"/>
                  </a:lnTo>
                  <a:lnTo>
                    <a:pt x="227" y="1432"/>
                  </a:lnTo>
                  <a:lnTo>
                    <a:pt x="218" y="1450"/>
                  </a:lnTo>
                  <a:lnTo>
                    <a:pt x="173" y="1489"/>
                  </a:lnTo>
                  <a:lnTo>
                    <a:pt x="179" y="1507"/>
                  </a:lnTo>
                  <a:lnTo>
                    <a:pt x="230" y="1546"/>
                  </a:lnTo>
                  <a:lnTo>
                    <a:pt x="251" y="1546"/>
                  </a:lnTo>
                  <a:lnTo>
                    <a:pt x="257" y="1555"/>
                  </a:lnTo>
                  <a:lnTo>
                    <a:pt x="251" y="1570"/>
                  </a:lnTo>
                  <a:lnTo>
                    <a:pt x="284" y="1594"/>
                  </a:lnTo>
                  <a:lnTo>
                    <a:pt x="359" y="1606"/>
                  </a:lnTo>
                  <a:lnTo>
                    <a:pt x="395" y="1597"/>
                  </a:lnTo>
                  <a:lnTo>
                    <a:pt x="440" y="1552"/>
                  </a:lnTo>
                  <a:lnTo>
                    <a:pt x="497" y="1558"/>
                  </a:lnTo>
                  <a:lnTo>
                    <a:pt x="518" y="1591"/>
                  </a:lnTo>
                  <a:lnTo>
                    <a:pt x="506" y="1621"/>
                  </a:lnTo>
                  <a:lnTo>
                    <a:pt x="509" y="1642"/>
                  </a:lnTo>
                  <a:lnTo>
                    <a:pt x="479" y="1660"/>
                  </a:lnTo>
                  <a:lnTo>
                    <a:pt x="467" y="1675"/>
                  </a:lnTo>
                  <a:lnTo>
                    <a:pt x="470" y="1714"/>
                  </a:lnTo>
                  <a:lnTo>
                    <a:pt x="524" y="1750"/>
                  </a:lnTo>
                  <a:lnTo>
                    <a:pt x="545" y="1744"/>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199" name="Freeform 193"/>
            <p:cNvSpPr>
              <a:spLocks/>
            </p:cNvSpPr>
            <p:nvPr/>
          </p:nvSpPr>
          <p:spPr bwMode="auto">
            <a:xfrm>
              <a:off x="5261224" y="2506687"/>
              <a:ext cx="714375" cy="681038"/>
            </a:xfrm>
            <a:custGeom>
              <a:avLst/>
              <a:gdLst>
                <a:gd name="T0" fmla="*/ 171 w 510"/>
                <a:gd name="T1" fmla="*/ 111 h 491"/>
                <a:gd name="T2" fmla="*/ 192 w 510"/>
                <a:gd name="T3" fmla="*/ 85 h 491"/>
                <a:gd name="T4" fmla="*/ 207 w 510"/>
                <a:gd name="T5" fmla="*/ 72 h 491"/>
                <a:gd name="T6" fmla="*/ 206 w 510"/>
                <a:gd name="T7" fmla="*/ 60 h 491"/>
                <a:gd name="T8" fmla="*/ 190 w 510"/>
                <a:gd name="T9" fmla="*/ 46 h 491"/>
                <a:gd name="T10" fmla="*/ 189 w 510"/>
                <a:gd name="T11" fmla="*/ 35 h 491"/>
                <a:gd name="T12" fmla="*/ 163 w 510"/>
                <a:gd name="T13" fmla="*/ 7 h 491"/>
                <a:gd name="T14" fmla="*/ 160 w 510"/>
                <a:gd name="T15" fmla="*/ 10 h 491"/>
                <a:gd name="T16" fmla="*/ 154 w 510"/>
                <a:gd name="T17" fmla="*/ 13 h 491"/>
                <a:gd name="T18" fmla="*/ 144 w 510"/>
                <a:gd name="T19" fmla="*/ 4 h 491"/>
                <a:gd name="T20" fmla="*/ 128 w 510"/>
                <a:gd name="T21" fmla="*/ 0 h 491"/>
                <a:gd name="T22" fmla="*/ 128 w 510"/>
                <a:gd name="T23" fmla="*/ 4 h 491"/>
                <a:gd name="T24" fmla="*/ 128 w 510"/>
                <a:gd name="T25" fmla="*/ 10 h 491"/>
                <a:gd name="T26" fmla="*/ 121 w 510"/>
                <a:gd name="T27" fmla="*/ 15 h 491"/>
                <a:gd name="T28" fmla="*/ 108 w 510"/>
                <a:gd name="T29" fmla="*/ 26 h 491"/>
                <a:gd name="T30" fmla="*/ 92 w 510"/>
                <a:gd name="T31" fmla="*/ 26 h 491"/>
                <a:gd name="T32" fmla="*/ 87 w 510"/>
                <a:gd name="T33" fmla="*/ 32 h 491"/>
                <a:gd name="T34" fmla="*/ 82 w 510"/>
                <a:gd name="T35" fmla="*/ 32 h 491"/>
                <a:gd name="T36" fmla="*/ 71 w 510"/>
                <a:gd name="T37" fmla="*/ 41 h 491"/>
                <a:gd name="T38" fmla="*/ 65 w 510"/>
                <a:gd name="T39" fmla="*/ 41 h 491"/>
                <a:gd name="T40" fmla="*/ 54 w 510"/>
                <a:gd name="T41" fmla="*/ 50 h 491"/>
                <a:gd name="T42" fmla="*/ 48 w 510"/>
                <a:gd name="T43" fmla="*/ 51 h 491"/>
                <a:gd name="T44" fmla="*/ 31 w 510"/>
                <a:gd name="T45" fmla="*/ 72 h 491"/>
                <a:gd name="T46" fmla="*/ 21 w 510"/>
                <a:gd name="T47" fmla="*/ 60 h 491"/>
                <a:gd name="T48" fmla="*/ 10 w 510"/>
                <a:gd name="T49" fmla="*/ 54 h 491"/>
                <a:gd name="T50" fmla="*/ 5 w 510"/>
                <a:gd name="T51" fmla="*/ 57 h 491"/>
                <a:gd name="T52" fmla="*/ 12 w 510"/>
                <a:gd name="T53" fmla="*/ 84 h 491"/>
                <a:gd name="T54" fmla="*/ 5 w 510"/>
                <a:gd name="T55" fmla="*/ 94 h 491"/>
                <a:gd name="T56" fmla="*/ 0 w 510"/>
                <a:gd name="T57" fmla="*/ 106 h 491"/>
                <a:gd name="T58" fmla="*/ 16 w 510"/>
                <a:gd name="T59" fmla="*/ 114 h 491"/>
                <a:gd name="T60" fmla="*/ 24 w 510"/>
                <a:gd name="T61" fmla="*/ 114 h 491"/>
                <a:gd name="T62" fmla="*/ 35 w 510"/>
                <a:gd name="T63" fmla="*/ 127 h 491"/>
                <a:gd name="T64" fmla="*/ 43 w 510"/>
                <a:gd name="T65" fmla="*/ 124 h 491"/>
                <a:gd name="T66" fmla="*/ 56 w 510"/>
                <a:gd name="T67" fmla="*/ 111 h 491"/>
                <a:gd name="T68" fmla="*/ 70 w 510"/>
                <a:gd name="T69" fmla="*/ 95 h 491"/>
                <a:gd name="T70" fmla="*/ 92 w 510"/>
                <a:gd name="T71" fmla="*/ 89 h 491"/>
                <a:gd name="T72" fmla="*/ 104 w 510"/>
                <a:gd name="T73" fmla="*/ 100 h 491"/>
                <a:gd name="T74" fmla="*/ 95 w 510"/>
                <a:gd name="T75" fmla="*/ 118 h 491"/>
                <a:gd name="T76" fmla="*/ 82 w 510"/>
                <a:gd name="T77" fmla="*/ 135 h 491"/>
                <a:gd name="T78" fmla="*/ 92 w 510"/>
                <a:gd name="T79" fmla="*/ 141 h 491"/>
                <a:gd name="T80" fmla="*/ 92 w 510"/>
                <a:gd name="T81" fmla="*/ 148 h 491"/>
                <a:gd name="T82" fmla="*/ 84 w 510"/>
                <a:gd name="T83" fmla="*/ 157 h 491"/>
                <a:gd name="T84" fmla="*/ 84 w 510"/>
                <a:gd name="T85" fmla="*/ 160 h 491"/>
                <a:gd name="T86" fmla="*/ 101 w 510"/>
                <a:gd name="T87" fmla="*/ 154 h 491"/>
                <a:gd name="T88" fmla="*/ 125 w 510"/>
                <a:gd name="T89" fmla="*/ 130 h 491"/>
                <a:gd name="T90" fmla="*/ 159 w 510"/>
                <a:gd name="T91" fmla="*/ 113 h 491"/>
                <a:gd name="T92" fmla="*/ 171 w 510"/>
                <a:gd name="T93" fmla="*/ 111 h 4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10" h="491">
                  <a:moveTo>
                    <a:pt x="420" y="341"/>
                  </a:moveTo>
                  <a:lnTo>
                    <a:pt x="474" y="260"/>
                  </a:lnTo>
                  <a:lnTo>
                    <a:pt x="510" y="221"/>
                  </a:lnTo>
                  <a:lnTo>
                    <a:pt x="504" y="182"/>
                  </a:lnTo>
                  <a:lnTo>
                    <a:pt x="468" y="143"/>
                  </a:lnTo>
                  <a:lnTo>
                    <a:pt x="462" y="107"/>
                  </a:lnTo>
                  <a:lnTo>
                    <a:pt x="399" y="21"/>
                  </a:lnTo>
                  <a:lnTo>
                    <a:pt x="396" y="30"/>
                  </a:lnTo>
                  <a:lnTo>
                    <a:pt x="381" y="42"/>
                  </a:lnTo>
                  <a:lnTo>
                    <a:pt x="354" y="12"/>
                  </a:lnTo>
                  <a:lnTo>
                    <a:pt x="315" y="0"/>
                  </a:lnTo>
                  <a:lnTo>
                    <a:pt x="315" y="12"/>
                  </a:lnTo>
                  <a:lnTo>
                    <a:pt x="315" y="30"/>
                  </a:lnTo>
                  <a:lnTo>
                    <a:pt x="297" y="45"/>
                  </a:lnTo>
                  <a:lnTo>
                    <a:pt x="264" y="78"/>
                  </a:lnTo>
                  <a:lnTo>
                    <a:pt x="228" y="78"/>
                  </a:lnTo>
                  <a:lnTo>
                    <a:pt x="216" y="98"/>
                  </a:lnTo>
                  <a:lnTo>
                    <a:pt x="201" y="98"/>
                  </a:lnTo>
                  <a:lnTo>
                    <a:pt x="177" y="125"/>
                  </a:lnTo>
                  <a:lnTo>
                    <a:pt x="162" y="125"/>
                  </a:lnTo>
                  <a:lnTo>
                    <a:pt x="135" y="152"/>
                  </a:lnTo>
                  <a:lnTo>
                    <a:pt x="117" y="158"/>
                  </a:lnTo>
                  <a:lnTo>
                    <a:pt x="78" y="218"/>
                  </a:lnTo>
                  <a:lnTo>
                    <a:pt x="51" y="182"/>
                  </a:lnTo>
                  <a:lnTo>
                    <a:pt x="24" y="164"/>
                  </a:lnTo>
                  <a:lnTo>
                    <a:pt x="12" y="176"/>
                  </a:lnTo>
                  <a:lnTo>
                    <a:pt x="27" y="254"/>
                  </a:lnTo>
                  <a:lnTo>
                    <a:pt x="12" y="284"/>
                  </a:lnTo>
                  <a:lnTo>
                    <a:pt x="0" y="323"/>
                  </a:lnTo>
                  <a:lnTo>
                    <a:pt x="39" y="350"/>
                  </a:lnTo>
                  <a:lnTo>
                    <a:pt x="60" y="350"/>
                  </a:lnTo>
                  <a:lnTo>
                    <a:pt x="87" y="389"/>
                  </a:lnTo>
                  <a:lnTo>
                    <a:pt x="105" y="380"/>
                  </a:lnTo>
                  <a:lnTo>
                    <a:pt x="138" y="341"/>
                  </a:lnTo>
                  <a:lnTo>
                    <a:pt x="171" y="287"/>
                  </a:lnTo>
                  <a:lnTo>
                    <a:pt x="225" y="275"/>
                  </a:lnTo>
                  <a:lnTo>
                    <a:pt x="258" y="308"/>
                  </a:lnTo>
                  <a:lnTo>
                    <a:pt x="234" y="362"/>
                  </a:lnTo>
                  <a:lnTo>
                    <a:pt x="201" y="413"/>
                  </a:lnTo>
                  <a:lnTo>
                    <a:pt x="231" y="434"/>
                  </a:lnTo>
                  <a:lnTo>
                    <a:pt x="228" y="458"/>
                  </a:lnTo>
                  <a:lnTo>
                    <a:pt x="207" y="482"/>
                  </a:lnTo>
                  <a:lnTo>
                    <a:pt x="210" y="491"/>
                  </a:lnTo>
                  <a:lnTo>
                    <a:pt x="249" y="470"/>
                  </a:lnTo>
                  <a:lnTo>
                    <a:pt x="306" y="395"/>
                  </a:lnTo>
                  <a:lnTo>
                    <a:pt x="393" y="347"/>
                  </a:lnTo>
                  <a:lnTo>
                    <a:pt x="420" y="341"/>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0" name="Freeform 194"/>
            <p:cNvSpPr>
              <a:spLocks/>
            </p:cNvSpPr>
            <p:nvPr/>
          </p:nvSpPr>
          <p:spPr bwMode="auto">
            <a:xfrm>
              <a:off x="5261224" y="2506687"/>
              <a:ext cx="714375" cy="681038"/>
            </a:xfrm>
            <a:custGeom>
              <a:avLst/>
              <a:gdLst>
                <a:gd name="T0" fmla="*/ 171 w 510"/>
                <a:gd name="T1" fmla="*/ 111 h 491"/>
                <a:gd name="T2" fmla="*/ 192 w 510"/>
                <a:gd name="T3" fmla="*/ 85 h 491"/>
                <a:gd name="T4" fmla="*/ 207 w 510"/>
                <a:gd name="T5" fmla="*/ 72 h 491"/>
                <a:gd name="T6" fmla="*/ 206 w 510"/>
                <a:gd name="T7" fmla="*/ 60 h 491"/>
                <a:gd name="T8" fmla="*/ 190 w 510"/>
                <a:gd name="T9" fmla="*/ 46 h 491"/>
                <a:gd name="T10" fmla="*/ 189 w 510"/>
                <a:gd name="T11" fmla="*/ 35 h 491"/>
                <a:gd name="T12" fmla="*/ 163 w 510"/>
                <a:gd name="T13" fmla="*/ 7 h 491"/>
                <a:gd name="T14" fmla="*/ 160 w 510"/>
                <a:gd name="T15" fmla="*/ 10 h 491"/>
                <a:gd name="T16" fmla="*/ 154 w 510"/>
                <a:gd name="T17" fmla="*/ 13 h 491"/>
                <a:gd name="T18" fmla="*/ 144 w 510"/>
                <a:gd name="T19" fmla="*/ 4 h 491"/>
                <a:gd name="T20" fmla="*/ 128 w 510"/>
                <a:gd name="T21" fmla="*/ 0 h 491"/>
                <a:gd name="T22" fmla="*/ 128 w 510"/>
                <a:gd name="T23" fmla="*/ 4 h 491"/>
                <a:gd name="T24" fmla="*/ 128 w 510"/>
                <a:gd name="T25" fmla="*/ 10 h 491"/>
                <a:gd name="T26" fmla="*/ 121 w 510"/>
                <a:gd name="T27" fmla="*/ 15 h 491"/>
                <a:gd name="T28" fmla="*/ 108 w 510"/>
                <a:gd name="T29" fmla="*/ 26 h 491"/>
                <a:gd name="T30" fmla="*/ 92 w 510"/>
                <a:gd name="T31" fmla="*/ 26 h 491"/>
                <a:gd name="T32" fmla="*/ 87 w 510"/>
                <a:gd name="T33" fmla="*/ 32 h 491"/>
                <a:gd name="T34" fmla="*/ 82 w 510"/>
                <a:gd name="T35" fmla="*/ 32 h 491"/>
                <a:gd name="T36" fmla="*/ 71 w 510"/>
                <a:gd name="T37" fmla="*/ 41 h 491"/>
                <a:gd name="T38" fmla="*/ 65 w 510"/>
                <a:gd name="T39" fmla="*/ 41 h 491"/>
                <a:gd name="T40" fmla="*/ 54 w 510"/>
                <a:gd name="T41" fmla="*/ 50 h 491"/>
                <a:gd name="T42" fmla="*/ 48 w 510"/>
                <a:gd name="T43" fmla="*/ 51 h 491"/>
                <a:gd name="T44" fmla="*/ 31 w 510"/>
                <a:gd name="T45" fmla="*/ 72 h 491"/>
                <a:gd name="T46" fmla="*/ 21 w 510"/>
                <a:gd name="T47" fmla="*/ 60 h 491"/>
                <a:gd name="T48" fmla="*/ 10 w 510"/>
                <a:gd name="T49" fmla="*/ 54 h 491"/>
                <a:gd name="T50" fmla="*/ 5 w 510"/>
                <a:gd name="T51" fmla="*/ 57 h 491"/>
                <a:gd name="T52" fmla="*/ 12 w 510"/>
                <a:gd name="T53" fmla="*/ 84 h 491"/>
                <a:gd name="T54" fmla="*/ 5 w 510"/>
                <a:gd name="T55" fmla="*/ 94 h 491"/>
                <a:gd name="T56" fmla="*/ 0 w 510"/>
                <a:gd name="T57" fmla="*/ 106 h 491"/>
                <a:gd name="T58" fmla="*/ 16 w 510"/>
                <a:gd name="T59" fmla="*/ 114 h 491"/>
                <a:gd name="T60" fmla="*/ 24 w 510"/>
                <a:gd name="T61" fmla="*/ 114 h 491"/>
                <a:gd name="T62" fmla="*/ 35 w 510"/>
                <a:gd name="T63" fmla="*/ 127 h 491"/>
                <a:gd name="T64" fmla="*/ 43 w 510"/>
                <a:gd name="T65" fmla="*/ 124 h 491"/>
                <a:gd name="T66" fmla="*/ 56 w 510"/>
                <a:gd name="T67" fmla="*/ 111 h 491"/>
                <a:gd name="T68" fmla="*/ 70 w 510"/>
                <a:gd name="T69" fmla="*/ 95 h 491"/>
                <a:gd name="T70" fmla="*/ 92 w 510"/>
                <a:gd name="T71" fmla="*/ 89 h 491"/>
                <a:gd name="T72" fmla="*/ 104 w 510"/>
                <a:gd name="T73" fmla="*/ 100 h 491"/>
                <a:gd name="T74" fmla="*/ 95 w 510"/>
                <a:gd name="T75" fmla="*/ 118 h 491"/>
                <a:gd name="T76" fmla="*/ 82 w 510"/>
                <a:gd name="T77" fmla="*/ 135 h 491"/>
                <a:gd name="T78" fmla="*/ 92 w 510"/>
                <a:gd name="T79" fmla="*/ 141 h 491"/>
                <a:gd name="T80" fmla="*/ 92 w 510"/>
                <a:gd name="T81" fmla="*/ 148 h 491"/>
                <a:gd name="T82" fmla="*/ 84 w 510"/>
                <a:gd name="T83" fmla="*/ 157 h 491"/>
                <a:gd name="T84" fmla="*/ 84 w 510"/>
                <a:gd name="T85" fmla="*/ 160 h 491"/>
                <a:gd name="T86" fmla="*/ 101 w 510"/>
                <a:gd name="T87" fmla="*/ 154 h 491"/>
                <a:gd name="T88" fmla="*/ 125 w 510"/>
                <a:gd name="T89" fmla="*/ 130 h 491"/>
                <a:gd name="T90" fmla="*/ 159 w 510"/>
                <a:gd name="T91" fmla="*/ 113 h 491"/>
                <a:gd name="T92" fmla="*/ 171 w 510"/>
                <a:gd name="T93" fmla="*/ 111 h 49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510" h="491">
                  <a:moveTo>
                    <a:pt x="420" y="341"/>
                  </a:moveTo>
                  <a:lnTo>
                    <a:pt x="474" y="260"/>
                  </a:lnTo>
                  <a:lnTo>
                    <a:pt x="510" y="221"/>
                  </a:lnTo>
                  <a:lnTo>
                    <a:pt x="504" y="182"/>
                  </a:lnTo>
                  <a:lnTo>
                    <a:pt x="468" y="143"/>
                  </a:lnTo>
                  <a:lnTo>
                    <a:pt x="462" y="107"/>
                  </a:lnTo>
                  <a:lnTo>
                    <a:pt x="399" y="21"/>
                  </a:lnTo>
                  <a:lnTo>
                    <a:pt x="396" y="30"/>
                  </a:lnTo>
                  <a:lnTo>
                    <a:pt x="381" y="42"/>
                  </a:lnTo>
                  <a:lnTo>
                    <a:pt x="354" y="12"/>
                  </a:lnTo>
                  <a:lnTo>
                    <a:pt x="315" y="0"/>
                  </a:lnTo>
                  <a:lnTo>
                    <a:pt x="315" y="12"/>
                  </a:lnTo>
                  <a:lnTo>
                    <a:pt x="315" y="30"/>
                  </a:lnTo>
                  <a:lnTo>
                    <a:pt x="297" y="45"/>
                  </a:lnTo>
                  <a:lnTo>
                    <a:pt x="264" y="78"/>
                  </a:lnTo>
                  <a:lnTo>
                    <a:pt x="228" y="78"/>
                  </a:lnTo>
                  <a:lnTo>
                    <a:pt x="216" y="98"/>
                  </a:lnTo>
                  <a:lnTo>
                    <a:pt x="201" y="98"/>
                  </a:lnTo>
                  <a:lnTo>
                    <a:pt x="177" y="125"/>
                  </a:lnTo>
                  <a:lnTo>
                    <a:pt x="162" y="125"/>
                  </a:lnTo>
                  <a:lnTo>
                    <a:pt x="135" y="152"/>
                  </a:lnTo>
                  <a:lnTo>
                    <a:pt x="117" y="158"/>
                  </a:lnTo>
                  <a:lnTo>
                    <a:pt x="78" y="218"/>
                  </a:lnTo>
                  <a:lnTo>
                    <a:pt x="51" y="182"/>
                  </a:lnTo>
                  <a:lnTo>
                    <a:pt x="24" y="164"/>
                  </a:lnTo>
                  <a:lnTo>
                    <a:pt x="12" y="176"/>
                  </a:lnTo>
                  <a:lnTo>
                    <a:pt x="27" y="254"/>
                  </a:lnTo>
                  <a:lnTo>
                    <a:pt x="12" y="284"/>
                  </a:lnTo>
                  <a:lnTo>
                    <a:pt x="0" y="323"/>
                  </a:lnTo>
                  <a:lnTo>
                    <a:pt x="39" y="350"/>
                  </a:lnTo>
                  <a:lnTo>
                    <a:pt x="60" y="350"/>
                  </a:lnTo>
                  <a:lnTo>
                    <a:pt x="87" y="389"/>
                  </a:lnTo>
                  <a:lnTo>
                    <a:pt x="105" y="380"/>
                  </a:lnTo>
                  <a:lnTo>
                    <a:pt x="138" y="341"/>
                  </a:lnTo>
                  <a:lnTo>
                    <a:pt x="171" y="287"/>
                  </a:lnTo>
                  <a:lnTo>
                    <a:pt x="225" y="275"/>
                  </a:lnTo>
                  <a:lnTo>
                    <a:pt x="258" y="308"/>
                  </a:lnTo>
                  <a:lnTo>
                    <a:pt x="234" y="362"/>
                  </a:lnTo>
                  <a:lnTo>
                    <a:pt x="201" y="413"/>
                  </a:lnTo>
                  <a:lnTo>
                    <a:pt x="231" y="434"/>
                  </a:lnTo>
                  <a:lnTo>
                    <a:pt x="228" y="458"/>
                  </a:lnTo>
                  <a:lnTo>
                    <a:pt x="207" y="482"/>
                  </a:lnTo>
                  <a:lnTo>
                    <a:pt x="210" y="491"/>
                  </a:lnTo>
                  <a:lnTo>
                    <a:pt x="249" y="470"/>
                  </a:lnTo>
                  <a:lnTo>
                    <a:pt x="306" y="395"/>
                  </a:lnTo>
                  <a:lnTo>
                    <a:pt x="393" y="347"/>
                  </a:lnTo>
                  <a:lnTo>
                    <a:pt x="420" y="341"/>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1" name="Freeform 195"/>
            <p:cNvSpPr>
              <a:spLocks/>
            </p:cNvSpPr>
            <p:nvPr/>
          </p:nvSpPr>
          <p:spPr bwMode="auto">
            <a:xfrm>
              <a:off x="5427911" y="2119337"/>
              <a:ext cx="1030288" cy="693738"/>
            </a:xfrm>
            <a:custGeom>
              <a:avLst/>
              <a:gdLst>
                <a:gd name="T0" fmla="*/ 294 w 734"/>
                <a:gd name="T1" fmla="*/ 46 h 500"/>
                <a:gd name="T2" fmla="*/ 270 w 734"/>
                <a:gd name="T3" fmla="*/ 41 h 500"/>
                <a:gd name="T4" fmla="*/ 262 w 734"/>
                <a:gd name="T5" fmla="*/ 40 h 500"/>
                <a:gd name="T6" fmla="*/ 240 w 734"/>
                <a:gd name="T7" fmla="*/ 50 h 500"/>
                <a:gd name="T8" fmla="*/ 232 w 734"/>
                <a:gd name="T9" fmla="*/ 55 h 500"/>
                <a:gd name="T10" fmla="*/ 212 w 734"/>
                <a:gd name="T11" fmla="*/ 45 h 500"/>
                <a:gd name="T12" fmla="*/ 195 w 734"/>
                <a:gd name="T13" fmla="*/ 33 h 500"/>
                <a:gd name="T14" fmla="*/ 194 w 734"/>
                <a:gd name="T15" fmla="*/ 48 h 500"/>
                <a:gd name="T16" fmla="*/ 178 w 734"/>
                <a:gd name="T17" fmla="*/ 33 h 500"/>
                <a:gd name="T18" fmla="*/ 163 w 734"/>
                <a:gd name="T19" fmla="*/ 21 h 500"/>
                <a:gd name="T20" fmla="*/ 132 w 734"/>
                <a:gd name="T21" fmla="*/ 21 h 500"/>
                <a:gd name="T22" fmla="*/ 114 w 734"/>
                <a:gd name="T23" fmla="*/ 13 h 500"/>
                <a:gd name="T24" fmla="*/ 94 w 734"/>
                <a:gd name="T25" fmla="*/ 19 h 500"/>
                <a:gd name="T26" fmla="*/ 70 w 734"/>
                <a:gd name="T27" fmla="*/ 13 h 500"/>
                <a:gd name="T28" fmla="*/ 38 w 734"/>
                <a:gd name="T29" fmla="*/ 4 h 500"/>
                <a:gd name="T30" fmla="*/ 29 w 734"/>
                <a:gd name="T31" fmla="*/ 21 h 500"/>
                <a:gd name="T32" fmla="*/ 0 w 734"/>
                <a:gd name="T33" fmla="*/ 21 h 500"/>
                <a:gd name="T34" fmla="*/ 15 w 734"/>
                <a:gd name="T35" fmla="*/ 33 h 500"/>
                <a:gd name="T36" fmla="*/ 17 w 734"/>
                <a:gd name="T37" fmla="*/ 54 h 500"/>
                <a:gd name="T38" fmla="*/ 27 w 734"/>
                <a:gd name="T39" fmla="*/ 72 h 500"/>
                <a:gd name="T40" fmla="*/ 49 w 734"/>
                <a:gd name="T41" fmla="*/ 60 h 500"/>
                <a:gd name="T42" fmla="*/ 70 w 734"/>
                <a:gd name="T43" fmla="*/ 90 h 500"/>
                <a:gd name="T44" fmla="*/ 80 w 734"/>
                <a:gd name="T45" fmla="*/ 91 h 500"/>
                <a:gd name="T46" fmla="*/ 108 w 734"/>
                <a:gd name="T47" fmla="*/ 105 h 500"/>
                <a:gd name="T48" fmla="*/ 114 w 734"/>
                <a:gd name="T49" fmla="*/ 98 h 500"/>
                <a:gd name="T50" fmla="*/ 144 w 734"/>
                <a:gd name="T51" fmla="*/ 138 h 500"/>
                <a:gd name="T52" fmla="*/ 162 w 734"/>
                <a:gd name="T53" fmla="*/ 164 h 500"/>
                <a:gd name="T54" fmla="*/ 186 w 734"/>
                <a:gd name="T55" fmla="*/ 130 h 500"/>
                <a:gd name="T56" fmla="*/ 204 w 734"/>
                <a:gd name="T57" fmla="*/ 133 h 500"/>
                <a:gd name="T58" fmla="*/ 233 w 734"/>
                <a:gd name="T59" fmla="*/ 125 h 500"/>
                <a:gd name="T60" fmla="*/ 226 w 734"/>
                <a:gd name="T61" fmla="*/ 111 h 500"/>
                <a:gd name="T62" fmla="*/ 254 w 734"/>
                <a:gd name="T63" fmla="*/ 94 h 500"/>
                <a:gd name="T64" fmla="*/ 266 w 734"/>
                <a:gd name="T65" fmla="*/ 78 h 500"/>
                <a:gd name="T66" fmla="*/ 274 w 734"/>
                <a:gd name="T67" fmla="*/ 67 h 500"/>
                <a:gd name="T68" fmla="*/ 286 w 734"/>
                <a:gd name="T69" fmla="*/ 75 h 500"/>
                <a:gd name="T70" fmla="*/ 303 w 734"/>
                <a:gd name="T71" fmla="*/ 50 h 5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34" h="500">
                  <a:moveTo>
                    <a:pt x="728" y="141"/>
                  </a:moveTo>
                  <a:lnTo>
                    <a:pt x="710" y="141"/>
                  </a:lnTo>
                  <a:lnTo>
                    <a:pt x="689" y="141"/>
                  </a:lnTo>
                  <a:lnTo>
                    <a:pt x="653" y="129"/>
                  </a:lnTo>
                  <a:lnTo>
                    <a:pt x="644" y="108"/>
                  </a:lnTo>
                  <a:lnTo>
                    <a:pt x="632" y="123"/>
                  </a:lnTo>
                  <a:lnTo>
                    <a:pt x="614" y="114"/>
                  </a:lnTo>
                  <a:lnTo>
                    <a:pt x="578" y="153"/>
                  </a:lnTo>
                  <a:lnTo>
                    <a:pt x="572" y="165"/>
                  </a:lnTo>
                  <a:lnTo>
                    <a:pt x="557" y="168"/>
                  </a:lnTo>
                  <a:lnTo>
                    <a:pt x="533" y="141"/>
                  </a:lnTo>
                  <a:lnTo>
                    <a:pt x="512" y="135"/>
                  </a:lnTo>
                  <a:lnTo>
                    <a:pt x="491" y="87"/>
                  </a:lnTo>
                  <a:lnTo>
                    <a:pt x="474" y="99"/>
                  </a:lnTo>
                  <a:lnTo>
                    <a:pt x="480" y="141"/>
                  </a:lnTo>
                  <a:lnTo>
                    <a:pt x="468" y="147"/>
                  </a:lnTo>
                  <a:lnTo>
                    <a:pt x="438" y="114"/>
                  </a:lnTo>
                  <a:lnTo>
                    <a:pt x="429" y="99"/>
                  </a:lnTo>
                  <a:lnTo>
                    <a:pt x="405" y="99"/>
                  </a:lnTo>
                  <a:lnTo>
                    <a:pt x="393" y="66"/>
                  </a:lnTo>
                  <a:lnTo>
                    <a:pt x="360" y="48"/>
                  </a:lnTo>
                  <a:lnTo>
                    <a:pt x="318" y="66"/>
                  </a:lnTo>
                  <a:lnTo>
                    <a:pt x="303" y="63"/>
                  </a:lnTo>
                  <a:lnTo>
                    <a:pt x="279" y="39"/>
                  </a:lnTo>
                  <a:lnTo>
                    <a:pt x="243" y="57"/>
                  </a:lnTo>
                  <a:lnTo>
                    <a:pt x="225" y="57"/>
                  </a:lnTo>
                  <a:lnTo>
                    <a:pt x="201" y="66"/>
                  </a:lnTo>
                  <a:lnTo>
                    <a:pt x="168" y="42"/>
                  </a:lnTo>
                  <a:lnTo>
                    <a:pt x="144" y="0"/>
                  </a:lnTo>
                  <a:lnTo>
                    <a:pt x="90" y="12"/>
                  </a:lnTo>
                  <a:lnTo>
                    <a:pt x="69" y="36"/>
                  </a:lnTo>
                  <a:lnTo>
                    <a:pt x="69" y="63"/>
                  </a:lnTo>
                  <a:lnTo>
                    <a:pt x="9" y="48"/>
                  </a:lnTo>
                  <a:lnTo>
                    <a:pt x="0" y="66"/>
                  </a:lnTo>
                  <a:lnTo>
                    <a:pt x="6" y="78"/>
                  </a:lnTo>
                  <a:lnTo>
                    <a:pt x="36" y="102"/>
                  </a:lnTo>
                  <a:lnTo>
                    <a:pt x="36" y="135"/>
                  </a:lnTo>
                  <a:lnTo>
                    <a:pt x="42" y="165"/>
                  </a:lnTo>
                  <a:lnTo>
                    <a:pt x="60" y="192"/>
                  </a:lnTo>
                  <a:lnTo>
                    <a:pt x="63" y="216"/>
                  </a:lnTo>
                  <a:lnTo>
                    <a:pt x="75" y="228"/>
                  </a:lnTo>
                  <a:lnTo>
                    <a:pt x="120" y="183"/>
                  </a:lnTo>
                  <a:lnTo>
                    <a:pt x="168" y="243"/>
                  </a:lnTo>
                  <a:lnTo>
                    <a:pt x="168" y="276"/>
                  </a:lnTo>
                  <a:lnTo>
                    <a:pt x="195" y="291"/>
                  </a:lnTo>
                  <a:lnTo>
                    <a:pt x="195" y="279"/>
                  </a:lnTo>
                  <a:lnTo>
                    <a:pt x="234" y="291"/>
                  </a:lnTo>
                  <a:lnTo>
                    <a:pt x="261" y="321"/>
                  </a:lnTo>
                  <a:lnTo>
                    <a:pt x="276" y="309"/>
                  </a:lnTo>
                  <a:lnTo>
                    <a:pt x="279" y="300"/>
                  </a:lnTo>
                  <a:lnTo>
                    <a:pt x="342" y="386"/>
                  </a:lnTo>
                  <a:lnTo>
                    <a:pt x="348" y="422"/>
                  </a:lnTo>
                  <a:lnTo>
                    <a:pt x="384" y="461"/>
                  </a:lnTo>
                  <a:lnTo>
                    <a:pt x="390" y="500"/>
                  </a:lnTo>
                  <a:lnTo>
                    <a:pt x="420" y="479"/>
                  </a:lnTo>
                  <a:lnTo>
                    <a:pt x="450" y="395"/>
                  </a:lnTo>
                  <a:lnTo>
                    <a:pt x="465" y="392"/>
                  </a:lnTo>
                  <a:lnTo>
                    <a:pt x="494" y="410"/>
                  </a:lnTo>
                  <a:lnTo>
                    <a:pt x="548" y="404"/>
                  </a:lnTo>
                  <a:lnTo>
                    <a:pt x="566" y="386"/>
                  </a:lnTo>
                  <a:lnTo>
                    <a:pt x="539" y="351"/>
                  </a:lnTo>
                  <a:lnTo>
                    <a:pt x="548" y="339"/>
                  </a:lnTo>
                  <a:lnTo>
                    <a:pt x="596" y="324"/>
                  </a:lnTo>
                  <a:lnTo>
                    <a:pt x="614" y="285"/>
                  </a:lnTo>
                  <a:lnTo>
                    <a:pt x="641" y="273"/>
                  </a:lnTo>
                  <a:lnTo>
                    <a:pt x="644" y="237"/>
                  </a:lnTo>
                  <a:lnTo>
                    <a:pt x="650" y="210"/>
                  </a:lnTo>
                  <a:lnTo>
                    <a:pt x="662" y="207"/>
                  </a:lnTo>
                  <a:lnTo>
                    <a:pt x="677" y="219"/>
                  </a:lnTo>
                  <a:lnTo>
                    <a:pt x="689" y="231"/>
                  </a:lnTo>
                  <a:lnTo>
                    <a:pt x="725" y="186"/>
                  </a:lnTo>
                  <a:lnTo>
                    <a:pt x="734" y="153"/>
                  </a:lnTo>
                  <a:lnTo>
                    <a:pt x="728" y="141"/>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2" name="Freeform 196"/>
            <p:cNvSpPr>
              <a:spLocks/>
            </p:cNvSpPr>
            <p:nvPr/>
          </p:nvSpPr>
          <p:spPr bwMode="auto">
            <a:xfrm>
              <a:off x="5427911" y="2119337"/>
              <a:ext cx="1030288" cy="693738"/>
            </a:xfrm>
            <a:custGeom>
              <a:avLst/>
              <a:gdLst>
                <a:gd name="T0" fmla="*/ 294 w 734"/>
                <a:gd name="T1" fmla="*/ 46 h 500"/>
                <a:gd name="T2" fmla="*/ 270 w 734"/>
                <a:gd name="T3" fmla="*/ 41 h 500"/>
                <a:gd name="T4" fmla="*/ 262 w 734"/>
                <a:gd name="T5" fmla="*/ 40 h 500"/>
                <a:gd name="T6" fmla="*/ 240 w 734"/>
                <a:gd name="T7" fmla="*/ 50 h 500"/>
                <a:gd name="T8" fmla="*/ 232 w 734"/>
                <a:gd name="T9" fmla="*/ 55 h 500"/>
                <a:gd name="T10" fmla="*/ 212 w 734"/>
                <a:gd name="T11" fmla="*/ 45 h 500"/>
                <a:gd name="T12" fmla="*/ 195 w 734"/>
                <a:gd name="T13" fmla="*/ 33 h 500"/>
                <a:gd name="T14" fmla="*/ 194 w 734"/>
                <a:gd name="T15" fmla="*/ 48 h 500"/>
                <a:gd name="T16" fmla="*/ 178 w 734"/>
                <a:gd name="T17" fmla="*/ 33 h 500"/>
                <a:gd name="T18" fmla="*/ 163 w 734"/>
                <a:gd name="T19" fmla="*/ 21 h 500"/>
                <a:gd name="T20" fmla="*/ 132 w 734"/>
                <a:gd name="T21" fmla="*/ 21 h 500"/>
                <a:gd name="T22" fmla="*/ 114 w 734"/>
                <a:gd name="T23" fmla="*/ 13 h 500"/>
                <a:gd name="T24" fmla="*/ 94 w 734"/>
                <a:gd name="T25" fmla="*/ 19 h 500"/>
                <a:gd name="T26" fmla="*/ 70 w 734"/>
                <a:gd name="T27" fmla="*/ 13 h 500"/>
                <a:gd name="T28" fmla="*/ 38 w 734"/>
                <a:gd name="T29" fmla="*/ 4 h 500"/>
                <a:gd name="T30" fmla="*/ 29 w 734"/>
                <a:gd name="T31" fmla="*/ 21 h 500"/>
                <a:gd name="T32" fmla="*/ 0 w 734"/>
                <a:gd name="T33" fmla="*/ 21 h 500"/>
                <a:gd name="T34" fmla="*/ 15 w 734"/>
                <a:gd name="T35" fmla="*/ 33 h 500"/>
                <a:gd name="T36" fmla="*/ 17 w 734"/>
                <a:gd name="T37" fmla="*/ 54 h 500"/>
                <a:gd name="T38" fmla="*/ 27 w 734"/>
                <a:gd name="T39" fmla="*/ 72 h 500"/>
                <a:gd name="T40" fmla="*/ 49 w 734"/>
                <a:gd name="T41" fmla="*/ 60 h 500"/>
                <a:gd name="T42" fmla="*/ 70 w 734"/>
                <a:gd name="T43" fmla="*/ 90 h 500"/>
                <a:gd name="T44" fmla="*/ 80 w 734"/>
                <a:gd name="T45" fmla="*/ 91 h 500"/>
                <a:gd name="T46" fmla="*/ 108 w 734"/>
                <a:gd name="T47" fmla="*/ 105 h 500"/>
                <a:gd name="T48" fmla="*/ 114 w 734"/>
                <a:gd name="T49" fmla="*/ 98 h 500"/>
                <a:gd name="T50" fmla="*/ 144 w 734"/>
                <a:gd name="T51" fmla="*/ 138 h 500"/>
                <a:gd name="T52" fmla="*/ 162 w 734"/>
                <a:gd name="T53" fmla="*/ 164 h 500"/>
                <a:gd name="T54" fmla="*/ 186 w 734"/>
                <a:gd name="T55" fmla="*/ 130 h 500"/>
                <a:gd name="T56" fmla="*/ 204 w 734"/>
                <a:gd name="T57" fmla="*/ 133 h 500"/>
                <a:gd name="T58" fmla="*/ 233 w 734"/>
                <a:gd name="T59" fmla="*/ 125 h 500"/>
                <a:gd name="T60" fmla="*/ 226 w 734"/>
                <a:gd name="T61" fmla="*/ 111 h 500"/>
                <a:gd name="T62" fmla="*/ 254 w 734"/>
                <a:gd name="T63" fmla="*/ 94 h 500"/>
                <a:gd name="T64" fmla="*/ 266 w 734"/>
                <a:gd name="T65" fmla="*/ 78 h 500"/>
                <a:gd name="T66" fmla="*/ 274 w 734"/>
                <a:gd name="T67" fmla="*/ 67 h 500"/>
                <a:gd name="T68" fmla="*/ 286 w 734"/>
                <a:gd name="T69" fmla="*/ 75 h 500"/>
                <a:gd name="T70" fmla="*/ 303 w 734"/>
                <a:gd name="T71" fmla="*/ 50 h 5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34" h="500">
                  <a:moveTo>
                    <a:pt x="728" y="141"/>
                  </a:moveTo>
                  <a:lnTo>
                    <a:pt x="710" y="141"/>
                  </a:lnTo>
                  <a:lnTo>
                    <a:pt x="689" y="141"/>
                  </a:lnTo>
                  <a:lnTo>
                    <a:pt x="653" y="129"/>
                  </a:lnTo>
                  <a:lnTo>
                    <a:pt x="644" y="108"/>
                  </a:lnTo>
                  <a:lnTo>
                    <a:pt x="632" y="123"/>
                  </a:lnTo>
                  <a:lnTo>
                    <a:pt x="614" y="114"/>
                  </a:lnTo>
                  <a:lnTo>
                    <a:pt x="578" y="153"/>
                  </a:lnTo>
                  <a:lnTo>
                    <a:pt x="572" y="165"/>
                  </a:lnTo>
                  <a:lnTo>
                    <a:pt x="557" y="168"/>
                  </a:lnTo>
                  <a:lnTo>
                    <a:pt x="533" y="141"/>
                  </a:lnTo>
                  <a:lnTo>
                    <a:pt x="512" y="135"/>
                  </a:lnTo>
                  <a:lnTo>
                    <a:pt x="491" y="87"/>
                  </a:lnTo>
                  <a:lnTo>
                    <a:pt x="474" y="99"/>
                  </a:lnTo>
                  <a:lnTo>
                    <a:pt x="480" y="141"/>
                  </a:lnTo>
                  <a:lnTo>
                    <a:pt x="468" y="147"/>
                  </a:lnTo>
                  <a:lnTo>
                    <a:pt x="438" y="114"/>
                  </a:lnTo>
                  <a:lnTo>
                    <a:pt x="429" y="99"/>
                  </a:lnTo>
                  <a:lnTo>
                    <a:pt x="405" y="99"/>
                  </a:lnTo>
                  <a:lnTo>
                    <a:pt x="393" y="66"/>
                  </a:lnTo>
                  <a:lnTo>
                    <a:pt x="360" y="48"/>
                  </a:lnTo>
                  <a:lnTo>
                    <a:pt x="318" y="66"/>
                  </a:lnTo>
                  <a:lnTo>
                    <a:pt x="303" y="63"/>
                  </a:lnTo>
                  <a:lnTo>
                    <a:pt x="279" y="39"/>
                  </a:lnTo>
                  <a:lnTo>
                    <a:pt x="243" y="57"/>
                  </a:lnTo>
                  <a:lnTo>
                    <a:pt x="225" y="57"/>
                  </a:lnTo>
                  <a:lnTo>
                    <a:pt x="201" y="66"/>
                  </a:lnTo>
                  <a:lnTo>
                    <a:pt x="168" y="42"/>
                  </a:lnTo>
                  <a:lnTo>
                    <a:pt x="144" y="0"/>
                  </a:lnTo>
                  <a:lnTo>
                    <a:pt x="90" y="12"/>
                  </a:lnTo>
                  <a:lnTo>
                    <a:pt x="69" y="36"/>
                  </a:lnTo>
                  <a:lnTo>
                    <a:pt x="69" y="63"/>
                  </a:lnTo>
                  <a:lnTo>
                    <a:pt x="9" y="48"/>
                  </a:lnTo>
                  <a:lnTo>
                    <a:pt x="0" y="66"/>
                  </a:lnTo>
                  <a:lnTo>
                    <a:pt x="6" y="78"/>
                  </a:lnTo>
                  <a:lnTo>
                    <a:pt x="36" y="102"/>
                  </a:lnTo>
                  <a:lnTo>
                    <a:pt x="36" y="135"/>
                  </a:lnTo>
                  <a:lnTo>
                    <a:pt x="42" y="165"/>
                  </a:lnTo>
                  <a:lnTo>
                    <a:pt x="60" y="192"/>
                  </a:lnTo>
                  <a:lnTo>
                    <a:pt x="63" y="216"/>
                  </a:lnTo>
                  <a:lnTo>
                    <a:pt x="75" y="228"/>
                  </a:lnTo>
                  <a:lnTo>
                    <a:pt x="120" y="183"/>
                  </a:lnTo>
                  <a:lnTo>
                    <a:pt x="168" y="243"/>
                  </a:lnTo>
                  <a:lnTo>
                    <a:pt x="168" y="276"/>
                  </a:lnTo>
                  <a:lnTo>
                    <a:pt x="195" y="291"/>
                  </a:lnTo>
                  <a:lnTo>
                    <a:pt x="195" y="279"/>
                  </a:lnTo>
                  <a:lnTo>
                    <a:pt x="234" y="291"/>
                  </a:lnTo>
                  <a:lnTo>
                    <a:pt x="261" y="321"/>
                  </a:lnTo>
                  <a:lnTo>
                    <a:pt x="276" y="309"/>
                  </a:lnTo>
                  <a:lnTo>
                    <a:pt x="279" y="300"/>
                  </a:lnTo>
                  <a:lnTo>
                    <a:pt x="342" y="386"/>
                  </a:lnTo>
                  <a:lnTo>
                    <a:pt x="348" y="422"/>
                  </a:lnTo>
                  <a:lnTo>
                    <a:pt x="384" y="461"/>
                  </a:lnTo>
                  <a:lnTo>
                    <a:pt x="390" y="500"/>
                  </a:lnTo>
                  <a:lnTo>
                    <a:pt x="420" y="479"/>
                  </a:lnTo>
                  <a:lnTo>
                    <a:pt x="450" y="395"/>
                  </a:lnTo>
                  <a:lnTo>
                    <a:pt x="465" y="392"/>
                  </a:lnTo>
                  <a:lnTo>
                    <a:pt x="494" y="410"/>
                  </a:lnTo>
                  <a:lnTo>
                    <a:pt x="548" y="404"/>
                  </a:lnTo>
                  <a:lnTo>
                    <a:pt x="566" y="386"/>
                  </a:lnTo>
                  <a:lnTo>
                    <a:pt x="539" y="351"/>
                  </a:lnTo>
                  <a:lnTo>
                    <a:pt x="548" y="339"/>
                  </a:lnTo>
                  <a:lnTo>
                    <a:pt x="596" y="324"/>
                  </a:lnTo>
                  <a:lnTo>
                    <a:pt x="614" y="285"/>
                  </a:lnTo>
                  <a:lnTo>
                    <a:pt x="641" y="273"/>
                  </a:lnTo>
                  <a:lnTo>
                    <a:pt x="644" y="237"/>
                  </a:lnTo>
                  <a:lnTo>
                    <a:pt x="650" y="210"/>
                  </a:lnTo>
                  <a:lnTo>
                    <a:pt x="662" y="207"/>
                  </a:lnTo>
                  <a:lnTo>
                    <a:pt x="677" y="219"/>
                  </a:lnTo>
                  <a:lnTo>
                    <a:pt x="689" y="231"/>
                  </a:lnTo>
                  <a:lnTo>
                    <a:pt x="725" y="186"/>
                  </a:lnTo>
                  <a:lnTo>
                    <a:pt x="734" y="153"/>
                  </a:lnTo>
                  <a:lnTo>
                    <a:pt x="728" y="141"/>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3" name="Freeform 197"/>
            <p:cNvSpPr>
              <a:spLocks/>
            </p:cNvSpPr>
            <p:nvPr/>
          </p:nvSpPr>
          <p:spPr bwMode="auto">
            <a:xfrm>
              <a:off x="5196136" y="1084287"/>
              <a:ext cx="1414463" cy="1268413"/>
            </a:xfrm>
            <a:custGeom>
              <a:avLst/>
              <a:gdLst>
                <a:gd name="T0" fmla="*/ 128 w 1007"/>
                <a:gd name="T1" fmla="*/ 243 h 914"/>
                <a:gd name="T2" fmla="*/ 151 w 1007"/>
                <a:gd name="T3" fmla="*/ 265 h 914"/>
                <a:gd name="T4" fmla="*/ 169 w 1007"/>
                <a:gd name="T5" fmla="*/ 261 h 914"/>
                <a:gd name="T6" fmla="*/ 194 w 1007"/>
                <a:gd name="T7" fmla="*/ 263 h 914"/>
                <a:gd name="T8" fmla="*/ 217 w 1007"/>
                <a:gd name="T9" fmla="*/ 259 h 914"/>
                <a:gd name="T10" fmla="*/ 236 w 1007"/>
                <a:gd name="T11" fmla="*/ 274 h 914"/>
                <a:gd name="T12" fmla="*/ 249 w 1007"/>
                <a:gd name="T13" fmla="*/ 280 h 914"/>
                <a:gd name="T14" fmla="*/ 267 w 1007"/>
                <a:gd name="T15" fmla="*/ 290 h 914"/>
                <a:gd name="T16" fmla="*/ 271 w 1007"/>
                <a:gd name="T17" fmla="*/ 272 h 914"/>
                <a:gd name="T18" fmla="*/ 289 w 1007"/>
                <a:gd name="T19" fmla="*/ 290 h 914"/>
                <a:gd name="T20" fmla="*/ 304 w 1007"/>
                <a:gd name="T21" fmla="*/ 298 h 914"/>
                <a:gd name="T22" fmla="*/ 323 w 1007"/>
                <a:gd name="T23" fmla="*/ 280 h 914"/>
                <a:gd name="T24" fmla="*/ 335 w 1007"/>
                <a:gd name="T25" fmla="*/ 278 h 914"/>
                <a:gd name="T26" fmla="*/ 353 w 1007"/>
                <a:gd name="T27" fmla="*/ 290 h 914"/>
                <a:gd name="T28" fmla="*/ 370 w 1007"/>
                <a:gd name="T29" fmla="*/ 290 h 914"/>
                <a:gd name="T30" fmla="*/ 363 w 1007"/>
                <a:gd name="T31" fmla="*/ 266 h 914"/>
                <a:gd name="T32" fmla="*/ 355 w 1007"/>
                <a:gd name="T33" fmla="*/ 238 h 914"/>
                <a:gd name="T34" fmla="*/ 396 w 1007"/>
                <a:gd name="T35" fmla="*/ 225 h 914"/>
                <a:gd name="T36" fmla="*/ 401 w 1007"/>
                <a:gd name="T37" fmla="*/ 211 h 914"/>
                <a:gd name="T38" fmla="*/ 405 w 1007"/>
                <a:gd name="T39" fmla="*/ 196 h 914"/>
                <a:gd name="T40" fmla="*/ 407 w 1007"/>
                <a:gd name="T41" fmla="*/ 141 h 914"/>
                <a:gd name="T42" fmla="*/ 406 w 1007"/>
                <a:gd name="T43" fmla="*/ 117 h 914"/>
                <a:gd name="T44" fmla="*/ 404 w 1007"/>
                <a:gd name="T45" fmla="*/ 105 h 914"/>
                <a:gd name="T46" fmla="*/ 377 w 1007"/>
                <a:gd name="T47" fmla="*/ 122 h 914"/>
                <a:gd name="T48" fmla="*/ 348 w 1007"/>
                <a:gd name="T49" fmla="*/ 142 h 914"/>
                <a:gd name="T50" fmla="*/ 296 w 1007"/>
                <a:gd name="T51" fmla="*/ 142 h 914"/>
                <a:gd name="T52" fmla="*/ 292 w 1007"/>
                <a:gd name="T53" fmla="*/ 127 h 914"/>
                <a:gd name="T54" fmla="*/ 274 w 1007"/>
                <a:gd name="T55" fmla="*/ 117 h 914"/>
                <a:gd name="T56" fmla="*/ 241 w 1007"/>
                <a:gd name="T57" fmla="*/ 111 h 914"/>
                <a:gd name="T58" fmla="*/ 213 w 1007"/>
                <a:gd name="T59" fmla="*/ 109 h 914"/>
                <a:gd name="T60" fmla="*/ 191 w 1007"/>
                <a:gd name="T61" fmla="*/ 94 h 914"/>
                <a:gd name="T62" fmla="*/ 179 w 1007"/>
                <a:gd name="T63" fmla="*/ 80 h 914"/>
                <a:gd name="T64" fmla="*/ 164 w 1007"/>
                <a:gd name="T65" fmla="*/ 63 h 914"/>
                <a:gd name="T66" fmla="*/ 143 w 1007"/>
                <a:gd name="T67" fmla="*/ 37 h 914"/>
                <a:gd name="T68" fmla="*/ 121 w 1007"/>
                <a:gd name="T69" fmla="*/ 12 h 914"/>
                <a:gd name="T70" fmla="*/ 86 w 1007"/>
                <a:gd name="T71" fmla="*/ 7 h 914"/>
                <a:gd name="T72" fmla="*/ 46 w 1007"/>
                <a:gd name="T73" fmla="*/ 0 h 914"/>
                <a:gd name="T74" fmla="*/ 5 w 1007"/>
                <a:gd name="T75" fmla="*/ 15 h 914"/>
                <a:gd name="T76" fmla="*/ 0 w 1007"/>
                <a:gd name="T77" fmla="*/ 41 h 914"/>
                <a:gd name="T78" fmla="*/ 20 w 1007"/>
                <a:gd name="T79" fmla="*/ 53 h 914"/>
                <a:gd name="T80" fmla="*/ 44 w 1007"/>
                <a:gd name="T81" fmla="*/ 49 h 914"/>
                <a:gd name="T82" fmla="*/ 47 w 1007"/>
                <a:gd name="T83" fmla="*/ 67 h 914"/>
                <a:gd name="T84" fmla="*/ 76 w 1007"/>
                <a:gd name="T85" fmla="*/ 79 h 914"/>
                <a:gd name="T86" fmla="*/ 94 w 1007"/>
                <a:gd name="T87" fmla="*/ 72 h 914"/>
                <a:gd name="T88" fmla="*/ 143 w 1007"/>
                <a:gd name="T89" fmla="*/ 75 h 914"/>
                <a:gd name="T90" fmla="*/ 136 w 1007"/>
                <a:gd name="T91" fmla="*/ 125 h 914"/>
                <a:gd name="T92" fmla="*/ 128 w 1007"/>
                <a:gd name="T93" fmla="*/ 142 h 914"/>
                <a:gd name="T94" fmla="*/ 125 w 1007"/>
                <a:gd name="T95" fmla="*/ 175 h 914"/>
                <a:gd name="T96" fmla="*/ 114 w 1007"/>
                <a:gd name="T97" fmla="*/ 167 h 914"/>
                <a:gd name="T98" fmla="*/ 87 w 1007"/>
                <a:gd name="T99" fmla="*/ 198 h 914"/>
                <a:gd name="T100" fmla="*/ 79 w 1007"/>
                <a:gd name="T101" fmla="*/ 214 h 914"/>
                <a:gd name="T102" fmla="*/ 114 w 1007"/>
                <a:gd name="T103" fmla="*/ 223 h 914"/>
                <a:gd name="T104" fmla="*/ 114 w 1007"/>
                <a:gd name="T105" fmla="*/ 229 h 914"/>
                <a:gd name="T106" fmla="*/ 101 w 1007"/>
                <a:gd name="T107" fmla="*/ 243 h 9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07" h="914">
                  <a:moveTo>
                    <a:pt x="255" y="758"/>
                  </a:moveTo>
                  <a:lnTo>
                    <a:pt x="309" y="746"/>
                  </a:lnTo>
                  <a:lnTo>
                    <a:pt x="333" y="788"/>
                  </a:lnTo>
                  <a:lnTo>
                    <a:pt x="366" y="812"/>
                  </a:lnTo>
                  <a:lnTo>
                    <a:pt x="390" y="803"/>
                  </a:lnTo>
                  <a:lnTo>
                    <a:pt x="408" y="803"/>
                  </a:lnTo>
                  <a:lnTo>
                    <a:pt x="444" y="785"/>
                  </a:lnTo>
                  <a:lnTo>
                    <a:pt x="468" y="809"/>
                  </a:lnTo>
                  <a:lnTo>
                    <a:pt x="483" y="812"/>
                  </a:lnTo>
                  <a:lnTo>
                    <a:pt x="525" y="794"/>
                  </a:lnTo>
                  <a:lnTo>
                    <a:pt x="558" y="812"/>
                  </a:lnTo>
                  <a:lnTo>
                    <a:pt x="570" y="845"/>
                  </a:lnTo>
                  <a:lnTo>
                    <a:pt x="594" y="845"/>
                  </a:lnTo>
                  <a:lnTo>
                    <a:pt x="603" y="860"/>
                  </a:lnTo>
                  <a:lnTo>
                    <a:pt x="633" y="893"/>
                  </a:lnTo>
                  <a:lnTo>
                    <a:pt x="645" y="887"/>
                  </a:lnTo>
                  <a:lnTo>
                    <a:pt x="639" y="845"/>
                  </a:lnTo>
                  <a:lnTo>
                    <a:pt x="656" y="833"/>
                  </a:lnTo>
                  <a:lnTo>
                    <a:pt x="677" y="881"/>
                  </a:lnTo>
                  <a:lnTo>
                    <a:pt x="698" y="887"/>
                  </a:lnTo>
                  <a:lnTo>
                    <a:pt x="722" y="914"/>
                  </a:lnTo>
                  <a:lnTo>
                    <a:pt x="737" y="911"/>
                  </a:lnTo>
                  <a:lnTo>
                    <a:pt x="743" y="899"/>
                  </a:lnTo>
                  <a:lnTo>
                    <a:pt x="779" y="860"/>
                  </a:lnTo>
                  <a:lnTo>
                    <a:pt x="797" y="869"/>
                  </a:lnTo>
                  <a:lnTo>
                    <a:pt x="809" y="854"/>
                  </a:lnTo>
                  <a:lnTo>
                    <a:pt x="818" y="875"/>
                  </a:lnTo>
                  <a:lnTo>
                    <a:pt x="854" y="887"/>
                  </a:lnTo>
                  <a:lnTo>
                    <a:pt x="875" y="887"/>
                  </a:lnTo>
                  <a:lnTo>
                    <a:pt x="893" y="887"/>
                  </a:lnTo>
                  <a:lnTo>
                    <a:pt x="881" y="869"/>
                  </a:lnTo>
                  <a:lnTo>
                    <a:pt x="878" y="815"/>
                  </a:lnTo>
                  <a:lnTo>
                    <a:pt x="836" y="752"/>
                  </a:lnTo>
                  <a:lnTo>
                    <a:pt x="860" y="728"/>
                  </a:lnTo>
                  <a:lnTo>
                    <a:pt x="881" y="689"/>
                  </a:lnTo>
                  <a:lnTo>
                    <a:pt x="956" y="689"/>
                  </a:lnTo>
                  <a:lnTo>
                    <a:pt x="971" y="677"/>
                  </a:lnTo>
                  <a:lnTo>
                    <a:pt x="968" y="647"/>
                  </a:lnTo>
                  <a:lnTo>
                    <a:pt x="983" y="617"/>
                  </a:lnTo>
                  <a:lnTo>
                    <a:pt x="977" y="602"/>
                  </a:lnTo>
                  <a:lnTo>
                    <a:pt x="986" y="575"/>
                  </a:lnTo>
                  <a:lnTo>
                    <a:pt x="983" y="434"/>
                  </a:lnTo>
                  <a:lnTo>
                    <a:pt x="1007" y="389"/>
                  </a:lnTo>
                  <a:lnTo>
                    <a:pt x="980" y="360"/>
                  </a:lnTo>
                  <a:lnTo>
                    <a:pt x="986" y="342"/>
                  </a:lnTo>
                  <a:lnTo>
                    <a:pt x="974" y="327"/>
                  </a:lnTo>
                  <a:lnTo>
                    <a:pt x="944" y="336"/>
                  </a:lnTo>
                  <a:lnTo>
                    <a:pt x="911" y="374"/>
                  </a:lnTo>
                  <a:lnTo>
                    <a:pt x="875" y="392"/>
                  </a:lnTo>
                  <a:lnTo>
                    <a:pt x="842" y="437"/>
                  </a:lnTo>
                  <a:lnTo>
                    <a:pt x="758" y="467"/>
                  </a:lnTo>
                  <a:lnTo>
                    <a:pt x="719" y="437"/>
                  </a:lnTo>
                  <a:lnTo>
                    <a:pt x="722" y="419"/>
                  </a:lnTo>
                  <a:lnTo>
                    <a:pt x="704" y="392"/>
                  </a:lnTo>
                  <a:lnTo>
                    <a:pt x="695" y="362"/>
                  </a:lnTo>
                  <a:lnTo>
                    <a:pt x="662" y="360"/>
                  </a:lnTo>
                  <a:lnTo>
                    <a:pt x="606" y="330"/>
                  </a:lnTo>
                  <a:lnTo>
                    <a:pt x="582" y="339"/>
                  </a:lnTo>
                  <a:lnTo>
                    <a:pt x="558" y="327"/>
                  </a:lnTo>
                  <a:lnTo>
                    <a:pt x="519" y="333"/>
                  </a:lnTo>
                  <a:lnTo>
                    <a:pt x="483" y="321"/>
                  </a:lnTo>
                  <a:lnTo>
                    <a:pt x="462" y="291"/>
                  </a:lnTo>
                  <a:lnTo>
                    <a:pt x="444" y="270"/>
                  </a:lnTo>
                  <a:lnTo>
                    <a:pt x="435" y="246"/>
                  </a:lnTo>
                  <a:lnTo>
                    <a:pt x="408" y="219"/>
                  </a:lnTo>
                  <a:lnTo>
                    <a:pt x="393" y="195"/>
                  </a:lnTo>
                  <a:lnTo>
                    <a:pt x="357" y="144"/>
                  </a:lnTo>
                  <a:lnTo>
                    <a:pt x="345" y="114"/>
                  </a:lnTo>
                  <a:lnTo>
                    <a:pt x="303" y="63"/>
                  </a:lnTo>
                  <a:lnTo>
                    <a:pt x="291" y="36"/>
                  </a:lnTo>
                  <a:lnTo>
                    <a:pt x="240" y="9"/>
                  </a:lnTo>
                  <a:lnTo>
                    <a:pt x="207" y="21"/>
                  </a:lnTo>
                  <a:lnTo>
                    <a:pt x="177" y="15"/>
                  </a:lnTo>
                  <a:lnTo>
                    <a:pt x="111" y="0"/>
                  </a:lnTo>
                  <a:lnTo>
                    <a:pt x="21" y="33"/>
                  </a:lnTo>
                  <a:lnTo>
                    <a:pt x="6" y="45"/>
                  </a:lnTo>
                  <a:lnTo>
                    <a:pt x="24" y="72"/>
                  </a:lnTo>
                  <a:lnTo>
                    <a:pt x="0" y="129"/>
                  </a:lnTo>
                  <a:lnTo>
                    <a:pt x="9" y="138"/>
                  </a:lnTo>
                  <a:lnTo>
                    <a:pt x="48" y="162"/>
                  </a:lnTo>
                  <a:lnTo>
                    <a:pt x="69" y="129"/>
                  </a:lnTo>
                  <a:lnTo>
                    <a:pt x="105" y="150"/>
                  </a:lnTo>
                  <a:lnTo>
                    <a:pt x="102" y="165"/>
                  </a:lnTo>
                  <a:lnTo>
                    <a:pt x="114" y="207"/>
                  </a:lnTo>
                  <a:lnTo>
                    <a:pt x="138" y="234"/>
                  </a:lnTo>
                  <a:lnTo>
                    <a:pt x="183" y="240"/>
                  </a:lnTo>
                  <a:lnTo>
                    <a:pt x="198" y="225"/>
                  </a:lnTo>
                  <a:lnTo>
                    <a:pt x="225" y="222"/>
                  </a:lnTo>
                  <a:lnTo>
                    <a:pt x="276" y="177"/>
                  </a:lnTo>
                  <a:lnTo>
                    <a:pt x="345" y="228"/>
                  </a:lnTo>
                  <a:lnTo>
                    <a:pt x="321" y="321"/>
                  </a:lnTo>
                  <a:lnTo>
                    <a:pt x="327" y="386"/>
                  </a:lnTo>
                  <a:lnTo>
                    <a:pt x="327" y="428"/>
                  </a:lnTo>
                  <a:lnTo>
                    <a:pt x="309" y="437"/>
                  </a:lnTo>
                  <a:lnTo>
                    <a:pt x="306" y="542"/>
                  </a:lnTo>
                  <a:lnTo>
                    <a:pt x="303" y="539"/>
                  </a:lnTo>
                  <a:lnTo>
                    <a:pt x="285" y="515"/>
                  </a:lnTo>
                  <a:lnTo>
                    <a:pt x="273" y="515"/>
                  </a:lnTo>
                  <a:lnTo>
                    <a:pt x="270" y="524"/>
                  </a:lnTo>
                  <a:lnTo>
                    <a:pt x="213" y="608"/>
                  </a:lnTo>
                  <a:lnTo>
                    <a:pt x="186" y="644"/>
                  </a:lnTo>
                  <a:lnTo>
                    <a:pt x="189" y="656"/>
                  </a:lnTo>
                  <a:lnTo>
                    <a:pt x="246" y="695"/>
                  </a:lnTo>
                  <a:lnTo>
                    <a:pt x="276" y="686"/>
                  </a:lnTo>
                  <a:lnTo>
                    <a:pt x="282" y="695"/>
                  </a:lnTo>
                  <a:lnTo>
                    <a:pt x="273" y="704"/>
                  </a:lnTo>
                  <a:lnTo>
                    <a:pt x="246" y="719"/>
                  </a:lnTo>
                  <a:lnTo>
                    <a:pt x="243" y="743"/>
                  </a:lnTo>
                  <a:lnTo>
                    <a:pt x="255" y="758"/>
                  </a:lnTo>
                  <a:close/>
                </a:path>
              </a:pathLst>
            </a:custGeom>
            <a:solidFill>
              <a:srgbClr val="CCECFF"/>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4" name="Freeform 198"/>
            <p:cNvSpPr>
              <a:spLocks/>
            </p:cNvSpPr>
            <p:nvPr/>
          </p:nvSpPr>
          <p:spPr bwMode="auto">
            <a:xfrm>
              <a:off x="5196136" y="1084287"/>
              <a:ext cx="1414463" cy="1268413"/>
            </a:xfrm>
            <a:custGeom>
              <a:avLst/>
              <a:gdLst>
                <a:gd name="T0" fmla="*/ 128 w 1007"/>
                <a:gd name="T1" fmla="*/ 243 h 914"/>
                <a:gd name="T2" fmla="*/ 151 w 1007"/>
                <a:gd name="T3" fmla="*/ 265 h 914"/>
                <a:gd name="T4" fmla="*/ 169 w 1007"/>
                <a:gd name="T5" fmla="*/ 261 h 914"/>
                <a:gd name="T6" fmla="*/ 194 w 1007"/>
                <a:gd name="T7" fmla="*/ 263 h 914"/>
                <a:gd name="T8" fmla="*/ 217 w 1007"/>
                <a:gd name="T9" fmla="*/ 259 h 914"/>
                <a:gd name="T10" fmla="*/ 236 w 1007"/>
                <a:gd name="T11" fmla="*/ 274 h 914"/>
                <a:gd name="T12" fmla="*/ 249 w 1007"/>
                <a:gd name="T13" fmla="*/ 280 h 914"/>
                <a:gd name="T14" fmla="*/ 267 w 1007"/>
                <a:gd name="T15" fmla="*/ 290 h 914"/>
                <a:gd name="T16" fmla="*/ 271 w 1007"/>
                <a:gd name="T17" fmla="*/ 272 h 914"/>
                <a:gd name="T18" fmla="*/ 289 w 1007"/>
                <a:gd name="T19" fmla="*/ 290 h 914"/>
                <a:gd name="T20" fmla="*/ 304 w 1007"/>
                <a:gd name="T21" fmla="*/ 298 h 914"/>
                <a:gd name="T22" fmla="*/ 323 w 1007"/>
                <a:gd name="T23" fmla="*/ 280 h 914"/>
                <a:gd name="T24" fmla="*/ 335 w 1007"/>
                <a:gd name="T25" fmla="*/ 278 h 914"/>
                <a:gd name="T26" fmla="*/ 353 w 1007"/>
                <a:gd name="T27" fmla="*/ 290 h 914"/>
                <a:gd name="T28" fmla="*/ 370 w 1007"/>
                <a:gd name="T29" fmla="*/ 290 h 914"/>
                <a:gd name="T30" fmla="*/ 363 w 1007"/>
                <a:gd name="T31" fmla="*/ 266 h 914"/>
                <a:gd name="T32" fmla="*/ 355 w 1007"/>
                <a:gd name="T33" fmla="*/ 238 h 914"/>
                <a:gd name="T34" fmla="*/ 396 w 1007"/>
                <a:gd name="T35" fmla="*/ 225 h 914"/>
                <a:gd name="T36" fmla="*/ 401 w 1007"/>
                <a:gd name="T37" fmla="*/ 211 h 914"/>
                <a:gd name="T38" fmla="*/ 405 w 1007"/>
                <a:gd name="T39" fmla="*/ 196 h 914"/>
                <a:gd name="T40" fmla="*/ 407 w 1007"/>
                <a:gd name="T41" fmla="*/ 141 h 914"/>
                <a:gd name="T42" fmla="*/ 406 w 1007"/>
                <a:gd name="T43" fmla="*/ 117 h 914"/>
                <a:gd name="T44" fmla="*/ 404 w 1007"/>
                <a:gd name="T45" fmla="*/ 105 h 914"/>
                <a:gd name="T46" fmla="*/ 377 w 1007"/>
                <a:gd name="T47" fmla="*/ 122 h 914"/>
                <a:gd name="T48" fmla="*/ 348 w 1007"/>
                <a:gd name="T49" fmla="*/ 142 h 914"/>
                <a:gd name="T50" fmla="*/ 296 w 1007"/>
                <a:gd name="T51" fmla="*/ 142 h 914"/>
                <a:gd name="T52" fmla="*/ 292 w 1007"/>
                <a:gd name="T53" fmla="*/ 127 h 914"/>
                <a:gd name="T54" fmla="*/ 274 w 1007"/>
                <a:gd name="T55" fmla="*/ 117 h 914"/>
                <a:gd name="T56" fmla="*/ 241 w 1007"/>
                <a:gd name="T57" fmla="*/ 111 h 914"/>
                <a:gd name="T58" fmla="*/ 213 w 1007"/>
                <a:gd name="T59" fmla="*/ 109 h 914"/>
                <a:gd name="T60" fmla="*/ 191 w 1007"/>
                <a:gd name="T61" fmla="*/ 94 h 914"/>
                <a:gd name="T62" fmla="*/ 179 w 1007"/>
                <a:gd name="T63" fmla="*/ 80 h 914"/>
                <a:gd name="T64" fmla="*/ 164 w 1007"/>
                <a:gd name="T65" fmla="*/ 63 h 914"/>
                <a:gd name="T66" fmla="*/ 143 w 1007"/>
                <a:gd name="T67" fmla="*/ 37 h 914"/>
                <a:gd name="T68" fmla="*/ 121 w 1007"/>
                <a:gd name="T69" fmla="*/ 12 h 914"/>
                <a:gd name="T70" fmla="*/ 86 w 1007"/>
                <a:gd name="T71" fmla="*/ 7 h 914"/>
                <a:gd name="T72" fmla="*/ 46 w 1007"/>
                <a:gd name="T73" fmla="*/ 0 h 914"/>
                <a:gd name="T74" fmla="*/ 5 w 1007"/>
                <a:gd name="T75" fmla="*/ 15 h 914"/>
                <a:gd name="T76" fmla="*/ 0 w 1007"/>
                <a:gd name="T77" fmla="*/ 41 h 914"/>
                <a:gd name="T78" fmla="*/ 20 w 1007"/>
                <a:gd name="T79" fmla="*/ 53 h 914"/>
                <a:gd name="T80" fmla="*/ 44 w 1007"/>
                <a:gd name="T81" fmla="*/ 49 h 914"/>
                <a:gd name="T82" fmla="*/ 47 w 1007"/>
                <a:gd name="T83" fmla="*/ 67 h 914"/>
                <a:gd name="T84" fmla="*/ 76 w 1007"/>
                <a:gd name="T85" fmla="*/ 79 h 914"/>
                <a:gd name="T86" fmla="*/ 94 w 1007"/>
                <a:gd name="T87" fmla="*/ 72 h 914"/>
                <a:gd name="T88" fmla="*/ 143 w 1007"/>
                <a:gd name="T89" fmla="*/ 75 h 914"/>
                <a:gd name="T90" fmla="*/ 136 w 1007"/>
                <a:gd name="T91" fmla="*/ 125 h 914"/>
                <a:gd name="T92" fmla="*/ 128 w 1007"/>
                <a:gd name="T93" fmla="*/ 142 h 914"/>
                <a:gd name="T94" fmla="*/ 125 w 1007"/>
                <a:gd name="T95" fmla="*/ 175 h 914"/>
                <a:gd name="T96" fmla="*/ 114 w 1007"/>
                <a:gd name="T97" fmla="*/ 167 h 914"/>
                <a:gd name="T98" fmla="*/ 87 w 1007"/>
                <a:gd name="T99" fmla="*/ 198 h 914"/>
                <a:gd name="T100" fmla="*/ 79 w 1007"/>
                <a:gd name="T101" fmla="*/ 214 h 914"/>
                <a:gd name="T102" fmla="*/ 114 w 1007"/>
                <a:gd name="T103" fmla="*/ 223 h 914"/>
                <a:gd name="T104" fmla="*/ 114 w 1007"/>
                <a:gd name="T105" fmla="*/ 229 h 914"/>
                <a:gd name="T106" fmla="*/ 101 w 1007"/>
                <a:gd name="T107" fmla="*/ 243 h 9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07" h="914">
                  <a:moveTo>
                    <a:pt x="255" y="758"/>
                  </a:moveTo>
                  <a:lnTo>
                    <a:pt x="309" y="746"/>
                  </a:lnTo>
                  <a:lnTo>
                    <a:pt x="333" y="788"/>
                  </a:lnTo>
                  <a:lnTo>
                    <a:pt x="366" y="812"/>
                  </a:lnTo>
                  <a:lnTo>
                    <a:pt x="390" y="803"/>
                  </a:lnTo>
                  <a:lnTo>
                    <a:pt x="408" y="803"/>
                  </a:lnTo>
                  <a:lnTo>
                    <a:pt x="444" y="785"/>
                  </a:lnTo>
                  <a:lnTo>
                    <a:pt x="468" y="809"/>
                  </a:lnTo>
                  <a:lnTo>
                    <a:pt x="483" y="812"/>
                  </a:lnTo>
                  <a:lnTo>
                    <a:pt x="525" y="794"/>
                  </a:lnTo>
                  <a:lnTo>
                    <a:pt x="558" y="812"/>
                  </a:lnTo>
                  <a:lnTo>
                    <a:pt x="570" y="845"/>
                  </a:lnTo>
                  <a:lnTo>
                    <a:pt x="594" y="845"/>
                  </a:lnTo>
                  <a:lnTo>
                    <a:pt x="603" y="860"/>
                  </a:lnTo>
                  <a:lnTo>
                    <a:pt x="633" y="893"/>
                  </a:lnTo>
                  <a:lnTo>
                    <a:pt x="645" y="887"/>
                  </a:lnTo>
                  <a:lnTo>
                    <a:pt x="639" y="845"/>
                  </a:lnTo>
                  <a:lnTo>
                    <a:pt x="656" y="833"/>
                  </a:lnTo>
                  <a:lnTo>
                    <a:pt x="677" y="881"/>
                  </a:lnTo>
                  <a:lnTo>
                    <a:pt x="698" y="887"/>
                  </a:lnTo>
                  <a:lnTo>
                    <a:pt x="722" y="914"/>
                  </a:lnTo>
                  <a:lnTo>
                    <a:pt x="737" y="911"/>
                  </a:lnTo>
                  <a:lnTo>
                    <a:pt x="743" y="899"/>
                  </a:lnTo>
                  <a:lnTo>
                    <a:pt x="779" y="860"/>
                  </a:lnTo>
                  <a:lnTo>
                    <a:pt x="797" y="869"/>
                  </a:lnTo>
                  <a:lnTo>
                    <a:pt x="809" y="854"/>
                  </a:lnTo>
                  <a:lnTo>
                    <a:pt x="818" y="875"/>
                  </a:lnTo>
                  <a:lnTo>
                    <a:pt x="854" y="887"/>
                  </a:lnTo>
                  <a:lnTo>
                    <a:pt x="875" y="887"/>
                  </a:lnTo>
                  <a:lnTo>
                    <a:pt x="893" y="887"/>
                  </a:lnTo>
                  <a:lnTo>
                    <a:pt x="881" y="869"/>
                  </a:lnTo>
                  <a:lnTo>
                    <a:pt x="878" y="815"/>
                  </a:lnTo>
                  <a:lnTo>
                    <a:pt x="836" y="752"/>
                  </a:lnTo>
                  <a:lnTo>
                    <a:pt x="860" y="728"/>
                  </a:lnTo>
                  <a:lnTo>
                    <a:pt x="881" y="689"/>
                  </a:lnTo>
                  <a:lnTo>
                    <a:pt x="956" y="689"/>
                  </a:lnTo>
                  <a:lnTo>
                    <a:pt x="971" y="677"/>
                  </a:lnTo>
                  <a:lnTo>
                    <a:pt x="968" y="647"/>
                  </a:lnTo>
                  <a:lnTo>
                    <a:pt x="983" y="617"/>
                  </a:lnTo>
                  <a:lnTo>
                    <a:pt x="977" y="602"/>
                  </a:lnTo>
                  <a:lnTo>
                    <a:pt x="986" y="575"/>
                  </a:lnTo>
                  <a:lnTo>
                    <a:pt x="983" y="434"/>
                  </a:lnTo>
                  <a:lnTo>
                    <a:pt x="1007" y="389"/>
                  </a:lnTo>
                  <a:lnTo>
                    <a:pt x="980" y="360"/>
                  </a:lnTo>
                  <a:lnTo>
                    <a:pt x="986" y="342"/>
                  </a:lnTo>
                  <a:lnTo>
                    <a:pt x="974" y="327"/>
                  </a:lnTo>
                  <a:lnTo>
                    <a:pt x="944" y="336"/>
                  </a:lnTo>
                  <a:lnTo>
                    <a:pt x="911" y="374"/>
                  </a:lnTo>
                  <a:lnTo>
                    <a:pt x="875" y="392"/>
                  </a:lnTo>
                  <a:lnTo>
                    <a:pt x="842" y="437"/>
                  </a:lnTo>
                  <a:lnTo>
                    <a:pt x="758" y="467"/>
                  </a:lnTo>
                  <a:lnTo>
                    <a:pt x="719" y="437"/>
                  </a:lnTo>
                  <a:lnTo>
                    <a:pt x="722" y="419"/>
                  </a:lnTo>
                  <a:lnTo>
                    <a:pt x="704" y="392"/>
                  </a:lnTo>
                  <a:lnTo>
                    <a:pt x="695" y="362"/>
                  </a:lnTo>
                  <a:lnTo>
                    <a:pt x="662" y="360"/>
                  </a:lnTo>
                  <a:lnTo>
                    <a:pt x="606" y="330"/>
                  </a:lnTo>
                  <a:lnTo>
                    <a:pt x="582" y="339"/>
                  </a:lnTo>
                  <a:lnTo>
                    <a:pt x="558" y="327"/>
                  </a:lnTo>
                  <a:lnTo>
                    <a:pt x="519" y="333"/>
                  </a:lnTo>
                  <a:lnTo>
                    <a:pt x="483" y="321"/>
                  </a:lnTo>
                  <a:lnTo>
                    <a:pt x="462" y="291"/>
                  </a:lnTo>
                  <a:lnTo>
                    <a:pt x="444" y="270"/>
                  </a:lnTo>
                  <a:lnTo>
                    <a:pt x="435" y="246"/>
                  </a:lnTo>
                  <a:lnTo>
                    <a:pt x="408" y="219"/>
                  </a:lnTo>
                  <a:lnTo>
                    <a:pt x="393" y="195"/>
                  </a:lnTo>
                  <a:lnTo>
                    <a:pt x="357" y="144"/>
                  </a:lnTo>
                  <a:lnTo>
                    <a:pt x="345" y="114"/>
                  </a:lnTo>
                  <a:lnTo>
                    <a:pt x="303" y="63"/>
                  </a:lnTo>
                  <a:lnTo>
                    <a:pt x="291" y="36"/>
                  </a:lnTo>
                  <a:lnTo>
                    <a:pt x="240" y="9"/>
                  </a:lnTo>
                  <a:lnTo>
                    <a:pt x="207" y="21"/>
                  </a:lnTo>
                  <a:lnTo>
                    <a:pt x="177" y="15"/>
                  </a:lnTo>
                  <a:lnTo>
                    <a:pt x="111" y="0"/>
                  </a:lnTo>
                  <a:lnTo>
                    <a:pt x="21" y="33"/>
                  </a:lnTo>
                  <a:lnTo>
                    <a:pt x="6" y="45"/>
                  </a:lnTo>
                  <a:lnTo>
                    <a:pt x="24" y="72"/>
                  </a:lnTo>
                  <a:lnTo>
                    <a:pt x="0" y="129"/>
                  </a:lnTo>
                  <a:lnTo>
                    <a:pt x="9" y="138"/>
                  </a:lnTo>
                  <a:lnTo>
                    <a:pt x="48" y="162"/>
                  </a:lnTo>
                  <a:lnTo>
                    <a:pt x="69" y="129"/>
                  </a:lnTo>
                  <a:lnTo>
                    <a:pt x="105" y="150"/>
                  </a:lnTo>
                  <a:lnTo>
                    <a:pt x="102" y="165"/>
                  </a:lnTo>
                  <a:lnTo>
                    <a:pt x="114" y="207"/>
                  </a:lnTo>
                  <a:lnTo>
                    <a:pt x="138" y="234"/>
                  </a:lnTo>
                  <a:lnTo>
                    <a:pt x="183" y="240"/>
                  </a:lnTo>
                  <a:lnTo>
                    <a:pt x="198" y="225"/>
                  </a:lnTo>
                  <a:lnTo>
                    <a:pt x="225" y="222"/>
                  </a:lnTo>
                  <a:lnTo>
                    <a:pt x="276" y="177"/>
                  </a:lnTo>
                  <a:lnTo>
                    <a:pt x="345" y="228"/>
                  </a:lnTo>
                  <a:lnTo>
                    <a:pt x="321" y="321"/>
                  </a:lnTo>
                  <a:lnTo>
                    <a:pt x="327" y="386"/>
                  </a:lnTo>
                  <a:lnTo>
                    <a:pt x="327" y="428"/>
                  </a:lnTo>
                  <a:lnTo>
                    <a:pt x="309" y="437"/>
                  </a:lnTo>
                  <a:lnTo>
                    <a:pt x="306" y="542"/>
                  </a:lnTo>
                  <a:lnTo>
                    <a:pt x="303" y="539"/>
                  </a:lnTo>
                  <a:lnTo>
                    <a:pt x="285" y="515"/>
                  </a:lnTo>
                  <a:lnTo>
                    <a:pt x="273" y="515"/>
                  </a:lnTo>
                  <a:lnTo>
                    <a:pt x="270" y="524"/>
                  </a:lnTo>
                  <a:lnTo>
                    <a:pt x="213" y="608"/>
                  </a:lnTo>
                  <a:lnTo>
                    <a:pt x="186" y="644"/>
                  </a:lnTo>
                  <a:lnTo>
                    <a:pt x="189" y="656"/>
                  </a:lnTo>
                  <a:lnTo>
                    <a:pt x="246" y="695"/>
                  </a:lnTo>
                  <a:lnTo>
                    <a:pt x="276" y="686"/>
                  </a:lnTo>
                  <a:lnTo>
                    <a:pt x="282" y="695"/>
                  </a:lnTo>
                  <a:lnTo>
                    <a:pt x="273" y="704"/>
                  </a:lnTo>
                  <a:lnTo>
                    <a:pt x="246" y="719"/>
                  </a:lnTo>
                  <a:lnTo>
                    <a:pt x="243" y="743"/>
                  </a:lnTo>
                  <a:lnTo>
                    <a:pt x="255" y="758"/>
                  </a:lnTo>
                </a:path>
              </a:pathLst>
            </a:custGeom>
            <a:solidFill>
              <a:srgbClr val="F1F0F1"/>
            </a:solidFill>
            <a:ln w="9525">
              <a:solidFill>
                <a:schemeClr val="bg1"/>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5" name="Freeform 199"/>
            <p:cNvSpPr>
              <a:spLocks/>
            </p:cNvSpPr>
            <p:nvPr/>
          </p:nvSpPr>
          <p:spPr bwMode="auto">
            <a:xfrm>
              <a:off x="5054849" y="3084537"/>
              <a:ext cx="57150" cy="74613"/>
            </a:xfrm>
            <a:custGeom>
              <a:avLst/>
              <a:gdLst>
                <a:gd name="T0" fmla="*/ 14 w 41"/>
                <a:gd name="T1" fmla="*/ 0 h 54"/>
                <a:gd name="T2" fmla="*/ 13 w 41"/>
                <a:gd name="T3" fmla="*/ 10 h 54"/>
                <a:gd name="T4" fmla="*/ 14 w 41"/>
                <a:gd name="T5" fmla="*/ 12 h 54"/>
                <a:gd name="T6" fmla="*/ 5 w 41"/>
                <a:gd name="T7" fmla="*/ 17 h 54"/>
                <a:gd name="T8" fmla="*/ 5 w 41"/>
                <a:gd name="T9" fmla="*/ 10 h 54"/>
                <a:gd name="T10" fmla="*/ 0 w 41"/>
                <a:gd name="T11" fmla="*/ 5 h 54"/>
                <a:gd name="T12" fmla="*/ 14 w 41"/>
                <a:gd name="T13" fmla="*/ 0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54">
                  <a:moveTo>
                    <a:pt x="41" y="0"/>
                  </a:moveTo>
                  <a:lnTo>
                    <a:pt x="35" y="30"/>
                  </a:lnTo>
                  <a:lnTo>
                    <a:pt x="38" y="42"/>
                  </a:lnTo>
                  <a:lnTo>
                    <a:pt x="11" y="54"/>
                  </a:lnTo>
                  <a:lnTo>
                    <a:pt x="8" y="33"/>
                  </a:lnTo>
                  <a:lnTo>
                    <a:pt x="0" y="18"/>
                  </a:lnTo>
                  <a:lnTo>
                    <a:pt x="41" y="0"/>
                  </a:lnTo>
                  <a:close/>
                </a:path>
              </a:pathLst>
            </a:custGeom>
            <a:solidFill>
              <a:schemeClr val="bg1">
                <a:lumMod val="75000"/>
              </a:schemeClr>
            </a:solidFill>
            <a:ln w="0">
              <a:solidFill>
                <a:schemeClr val="bg1">
                  <a:lumMod val="65000"/>
                </a:schemeClr>
              </a:solidFill>
              <a:prstDash val="solid"/>
              <a:round/>
              <a:headEnd/>
              <a:tailEnd/>
            </a:ln>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6" name="Freeform 200"/>
            <p:cNvSpPr>
              <a:spLocks/>
            </p:cNvSpPr>
            <p:nvPr/>
          </p:nvSpPr>
          <p:spPr bwMode="auto">
            <a:xfrm>
              <a:off x="5054849" y="3084537"/>
              <a:ext cx="57150" cy="74613"/>
            </a:xfrm>
            <a:custGeom>
              <a:avLst/>
              <a:gdLst>
                <a:gd name="T0" fmla="*/ 14 w 41"/>
                <a:gd name="T1" fmla="*/ 0 h 54"/>
                <a:gd name="T2" fmla="*/ 13 w 41"/>
                <a:gd name="T3" fmla="*/ 10 h 54"/>
                <a:gd name="T4" fmla="*/ 14 w 41"/>
                <a:gd name="T5" fmla="*/ 12 h 54"/>
                <a:gd name="T6" fmla="*/ 5 w 41"/>
                <a:gd name="T7" fmla="*/ 17 h 54"/>
                <a:gd name="T8" fmla="*/ 5 w 41"/>
                <a:gd name="T9" fmla="*/ 10 h 54"/>
                <a:gd name="T10" fmla="*/ 0 w 41"/>
                <a:gd name="T11" fmla="*/ 5 h 54"/>
                <a:gd name="T12" fmla="*/ 14 w 41"/>
                <a:gd name="T13" fmla="*/ 0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54">
                  <a:moveTo>
                    <a:pt x="41" y="0"/>
                  </a:moveTo>
                  <a:lnTo>
                    <a:pt x="35" y="30"/>
                  </a:lnTo>
                  <a:lnTo>
                    <a:pt x="38" y="42"/>
                  </a:lnTo>
                  <a:lnTo>
                    <a:pt x="11" y="54"/>
                  </a:lnTo>
                  <a:lnTo>
                    <a:pt x="8" y="33"/>
                  </a:lnTo>
                  <a:lnTo>
                    <a:pt x="0" y="18"/>
                  </a:lnTo>
                  <a:lnTo>
                    <a:pt x="41" y="0"/>
                  </a:lnTo>
                </a:path>
              </a:pathLst>
            </a:custGeom>
            <a:solidFill>
              <a:schemeClr val="bg1">
                <a:lumMod val="75000"/>
              </a:schemeClr>
            </a:solidFill>
            <a:ln w="9525">
              <a:solidFill>
                <a:schemeClr val="bg1">
                  <a:lumMod val="65000"/>
                </a:schemeClr>
              </a:solidFill>
              <a:prstDash val="solid"/>
              <a:round/>
              <a:headEnd/>
              <a:tailEnd/>
            </a:ln>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7" name="Freeform 201"/>
            <p:cNvSpPr>
              <a:spLocks/>
            </p:cNvSpPr>
            <p:nvPr/>
          </p:nvSpPr>
          <p:spPr bwMode="auto">
            <a:xfrm>
              <a:off x="3832474" y="4284687"/>
              <a:ext cx="376237" cy="534988"/>
            </a:xfrm>
            <a:custGeom>
              <a:avLst/>
              <a:gdLst>
                <a:gd name="T0" fmla="*/ 195 w 246"/>
                <a:gd name="T1" fmla="*/ 0 h 306"/>
                <a:gd name="T2" fmla="*/ 231 w 246"/>
                <a:gd name="T3" fmla="*/ 69 h 306"/>
                <a:gd name="T4" fmla="*/ 222 w 246"/>
                <a:gd name="T5" fmla="*/ 188 h 306"/>
                <a:gd name="T6" fmla="*/ 201 w 246"/>
                <a:gd name="T7" fmla="*/ 328 h 306"/>
                <a:gd name="T8" fmla="*/ 156 w 246"/>
                <a:gd name="T9" fmla="*/ 389 h 306"/>
                <a:gd name="T10" fmla="*/ 159 w 246"/>
                <a:gd name="T11" fmla="*/ 469 h 306"/>
                <a:gd name="T12" fmla="*/ 141 w 246"/>
                <a:gd name="T13" fmla="*/ 598 h 306"/>
                <a:gd name="T14" fmla="*/ 123 w 246"/>
                <a:gd name="T15" fmla="*/ 598 h 306"/>
                <a:gd name="T16" fmla="*/ 55 w 246"/>
                <a:gd name="T17" fmla="*/ 516 h 306"/>
                <a:gd name="T18" fmla="*/ 31 w 246"/>
                <a:gd name="T19" fmla="*/ 577 h 306"/>
                <a:gd name="T20" fmla="*/ 40 w 246"/>
                <a:gd name="T21" fmla="*/ 671 h 306"/>
                <a:gd name="T22" fmla="*/ 13 w 246"/>
                <a:gd name="T23" fmla="*/ 745 h 306"/>
                <a:gd name="T24" fmla="*/ 4 w 246"/>
                <a:gd name="T25" fmla="*/ 816 h 306"/>
                <a:gd name="T26" fmla="*/ 37 w 246"/>
                <a:gd name="T27" fmla="*/ 876 h 306"/>
                <a:gd name="T28" fmla="*/ 52 w 246"/>
                <a:gd name="T29" fmla="*/ 1016 h 30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6" h="306">
                  <a:moveTo>
                    <a:pt x="205" y="0"/>
                  </a:moveTo>
                  <a:cubicBezTo>
                    <a:pt x="220" y="5"/>
                    <a:pt x="236" y="11"/>
                    <a:pt x="241" y="21"/>
                  </a:cubicBezTo>
                  <a:cubicBezTo>
                    <a:pt x="246" y="31"/>
                    <a:pt x="237" y="44"/>
                    <a:pt x="232" y="57"/>
                  </a:cubicBezTo>
                  <a:cubicBezTo>
                    <a:pt x="227" y="70"/>
                    <a:pt x="222" y="89"/>
                    <a:pt x="211" y="99"/>
                  </a:cubicBezTo>
                  <a:cubicBezTo>
                    <a:pt x="200" y="109"/>
                    <a:pt x="173" y="110"/>
                    <a:pt x="166" y="117"/>
                  </a:cubicBezTo>
                  <a:cubicBezTo>
                    <a:pt x="159" y="124"/>
                    <a:pt x="171" y="131"/>
                    <a:pt x="169" y="141"/>
                  </a:cubicBezTo>
                  <a:cubicBezTo>
                    <a:pt x="167" y="151"/>
                    <a:pt x="158" y="174"/>
                    <a:pt x="151" y="180"/>
                  </a:cubicBezTo>
                  <a:cubicBezTo>
                    <a:pt x="144" y="186"/>
                    <a:pt x="140" y="184"/>
                    <a:pt x="124" y="180"/>
                  </a:cubicBezTo>
                  <a:cubicBezTo>
                    <a:pt x="108" y="176"/>
                    <a:pt x="70" y="157"/>
                    <a:pt x="55" y="156"/>
                  </a:cubicBezTo>
                  <a:cubicBezTo>
                    <a:pt x="40" y="155"/>
                    <a:pt x="33" y="167"/>
                    <a:pt x="31" y="174"/>
                  </a:cubicBezTo>
                  <a:cubicBezTo>
                    <a:pt x="29" y="181"/>
                    <a:pt x="43" y="193"/>
                    <a:pt x="40" y="201"/>
                  </a:cubicBezTo>
                  <a:cubicBezTo>
                    <a:pt x="37" y="209"/>
                    <a:pt x="19" y="218"/>
                    <a:pt x="13" y="225"/>
                  </a:cubicBezTo>
                  <a:cubicBezTo>
                    <a:pt x="7" y="232"/>
                    <a:pt x="0" y="239"/>
                    <a:pt x="4" y="246"/>
                  </a:cubicBezTo>
                  <a:cubicBezTo>
                    <a:pt x="8" y="253"/>
                    <a:pt x="29" y="254"/>
                    <a:pt x="37" y="264"/>
                  </a:cubicBezTo>
                  <a:cubicBezTo>
                    <a:pt x="45" y="274"/>
                    <a:pt x="49" y="298"/>
                    <a:pt x="52" y="306"/>
                  </a:cubicBezTo>
                </a:path>
              </a:pathLst>
            </a:custGeom>
            <a:solidFill>
              <a:srgbClr val="F1F0F1"/>
            </a:solidFill>
            <a:ln w="9525" cap="flat" cmpd="sng">
              <a:solidFill>
                <a:schemeClr val="bg1"/>
              </a:solidFill>
              <a:prstDash val="solid"/>
              <a:round/>
              <a:headEnd type="none" w="med" len="med"/>
              <a:tailEnd type="none" w="med" len="med"/>
            </a:ln>
            <a:effectLst/>
            <a:extLst/>
          </p:spPr>
          <p:txBody>
            <a:bodyPr/>
            <a:lstStyle/>
            <a:p>
              <a:pPr>
                <a:defRPr/>
              </a:pPr>
              <a:endParaRPr lang="en-US" sz="800" kern="0" dirty="0">
                <a:solidFill>
                  <a:prstClr val="black"/>
                </a:solidFill>
                <a:ea typeface="宋体" pitchFamily="2" charset="-122"/>
                <a:cs typeface="Arial" pitchFamily="34" charset="0"/>
                <a:sym typeface="HelveticaNeueLT Com 65 Md" pitchFamily="34" charset="0"/>
              </a:endParaRPr>
            </a:p>
          </p:txBody>
        </p:sp>
        <p:sp>
          <p:nvSpPr>
            <p:cNvPr id="208" name="Text Box 31"/>
            <p:cNvSpPr txBox="1">
              <a:spLocks noChangeArrowheads="1"/>
            </p:cNvSpPr>
            <p:nvPr/>
          </p:nvSpPr>
          <p:spPr bwMode="auto">
            <a:xfrm>
              <a:off x="4818311" y="2973183"/>
              <a:ext cx="466550" cy="268517"/>
            </a:xfrm>
            <a:prstGeom prst="rect">
              <a:avLst/>
            </a:prstGeom>
            <a:no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Tianjin</a:t>
              </a:r>
            </a:p>
          </p:txBody>
        </p:sp>
        <p:sp>
          <p:nvSpPr>
            <p:cNvPr id="209" name="Text Box 31"/>
            <p:cNvSpPr txBox="1">
              <a:spLocks noChangeArrowheads="1"/>
            </p:cNvSpPr>
            <p:nvPr/>
          </p:nvSpPr>
          <p:spPr bwMode="auto">
            <a:xfrm>
              <a:off x="5213599" y="3463950"/>
              <a:ext cx="410444" cy="268517"/>
            </a:xfrm>
            <a:prstGeom prst="rect">
              <a:avLst/>
            </a:prstGeom>
            <a:no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Jinan</a:t>
              </a:r>
            </a:p>
          </p:txBody>
        </p:sp>
        <p:sp>
          <p:nvSpPr>
            <p:cNvPr id="210" name="Text Box 29"/>
            <p:cNvSpPr txBox="1">
              <a:spLocks noChangeArrowheads="1"/>
            </p:cNvSpPr>
            <p:nvPr/>
          </p:nvSpPr>
          <p:spPr bwMode="auto">
            <a:xfrm>
              <a:off x="5837486" y="4440262"/>
              <a:ext cx="535479" cy="268517"/>
            </a:xfrm>
            <a:prstGeom prst="rect">
              <a:avLst/>
            </a:prstGeom>
            <a:no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Wenling</a:t>
              </a:r>
            </a:p>
          </p:txBody>
        </p:sp>
        <p:sp>
          <p:nvSpPr>
            <p:cNvPr id="211" name="Text Box 30"/>
            <p:cNvSpPr txBox="1">
              <a:spLocks noChangeArrowheads="1"/>
            </p:cNvSpPr>
            <p:nvPr/>
          </p:nvSpPr>
          <p:spPr bwMode="auto">
            <a:xfrm>
              <a:off x="4607174" y="5424512"/>
              <a:ext cx="641277" cy="268517"/>
            </a:xfrm>
            <a:prstGeom prst="rect">
              <a:avLst/>
            </a:prstGeom>
            <a:solidFill>
              <a:srgbClr val="F1F0F1"/>
            </a:solid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Dongguan</a:t>
              </a:r>
            </a:p>
          </p:txBody>
        </p:sp>
        <p:sp>
          <p:nvSpPr>
            <p:cNvPr id="212" name="Text Box 34"/>
            <p:cNvSpPr txBox="1">
              <a:spLocks noChangeArrowheads="1"/>
            </p:cNvSpPr>
            <p:nvPr/>
          </p:nvSpPr>
          <p:spPr bwMode="auto">
            <a:xfrm>
              <a:off x="3730874" y="4495825"/>
              <a:ext cx="663719" cy="268517"/>
            </a:xfrm>
            <a:prstGeom prst="rect">
              <a:avLst/>
            </a:prstGeom>
            <a:no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Chongqing</a:t>
              </a:r>
            </a:p>
          </p:txBody>
        </p:sp>
        <p:sp>
          <p:nvSpPr>
            <p:cNvPr id="213" name="Text Box 32"/>
            <p:cNvSpPr txBox="1">
              <a:spLocks noChangeArrowheads="1"/>
            </p:cNvSpPr>
            <p:nvPr/>
          </p:nvSpPr>
          <p:spPr bwMode="auto">
            <a:xfrm>
              <a:off x="4137951" y="3607965"/>
              <a:ext cx="392812" cy="268517"/>
            </a:xfrm>
            <a:prstGeom prst="rect">
              <a:avLst/>
            </a:prstGeom>
            <a:no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Xi’an</a:t>
              </a:r>
            </a:p>
          </p:txBody>
        </p:sp>
        <p:sp>
          <p:nvSpPr>
            <p:cNvPr id="215" name="Text Box 33"/>
            <p:cNvSpPr txBox="1">
              <a:spLocks noChangeArrowheads="1"/>
            </p:cNvSpPr>
            <p:nvPr/>
          </p:nvSpPr>
          <p:spPr bwMode="auto">
            <a:xfrm>
              <a:off x="3405489" y="3982569"/>
              <a:ext cx="634865" cy="268517"/>
            </a:xfrm>
            <a:prstGeom prst="rect">
              <a:avLst/>
            </a:prstGeom>
            <a:no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Hanzhong</a:t>
              </a:r>
            </a:p>
          </p:txBody>
        </p:sp>
        <p:sp>
          <p:nvSpPr>
            <p:cNvPr id="216" name="Text Box 34"/>
            <p:cNvSpPr txBox="1">
              <a:spLocks noChangeArrowheads="1"/>
            </p:cNvSpPr>
            <p:nvPr/>
          </p:nvSpPr>
          <p:spPr bwMode="auto">
            <a:xfrm>
              <a:off x="3254461" y="4406925"/>
              <a:ext cx="583569" cy="268517"/>
            </a:xfrm>
            <a:prstGeom prst="rect">
              <a:avLst/>
            </a:prstGeom>
            <a:no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Chengdu</a:t>
              </a:r>
            </a:p>
          </p:txBody>
        </p:sp>
        <p:sp>
          <p:nvSpPr>
            <p:cNvPr id="217" name="Text Box 29"/>
            <p:cNvSpPr txBox="1">
              <a:spLocks noChangeArrowheads="1"/>
            </p:cNvSpPr>
            <p:nvPr/>
          </p:nvSpPr>
          <p:spPr bwMode="auto">
            <a:xfrm>
              <a:off x="5256171" y="3957098"/>
              <a:ext cx="514640" cy="268517"/>
            </a:xfrm>
            <a:prstGeom prst="rect">
              <a:avLst/>
            </a:prstGeom>
            <a:no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Suzhou</a:t>
              </a:r>
            </a:p>
          </p:txBody>
        </p:sp>
        <p:sp>
          <p:nvSpPr>
            <p:cNvPr id="219" name="Text Box 171"/>
            <p:cNvSpPr txBox="1">
              <a:spLocks noChangeArrowheads="1"/>
            </p:cNvSpPr>
            <p:nvPr/>
          </p:nvSpPr>
          <p:spPr bwMode="auto">
            <a:xfrm>
              <a:off x="1360736" y="2797200"/>
              <a:ext cx="757238" cy="215900"/>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Xinjiang</a:t>
              </a:r>
            </a:p>
          </p:txBody>
        </p:sp>
        <p:sp>
          <p:nvSpPr>
            <p:cNvPr id="220" name="Text Box 174"/>
            <p:cNvSpPr txBox="1">
              <a:spLocks noChangeArrowheads="1"/>
            </p:cNvSpPr>
            <p:nvPr/>
          </p:nvSpPr>
          <p:spPr bwMode="auto">
            <a:xfrm>
              <a:off x="4268242" y="5988075"/>
              <a:ext cx="588963" cy="214312"/>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Hainan</a:t>
              </a:r>
            </a:p>
          </p:txBody>
        </p:sp>
        <p:sp>
          <p:nvSpPr>
            <p:cNvPr id="221" name="Text Box 177"/>
            <p:cNvSpPr txBox="1">
              <a:spLocks noChangeArrowheads="1"/>
            </p:cNvSpPr>
            <p:nvPr/>
          </p:nvSpPr>
          <p:spPr bwMode="auto">
            <a:xfrm>
              <a:off x="5494586" y="4237062"/>
              <a:ext cx="720725" cy="214313"/>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Shanghai</a:t>
              </a:r>
            </a:p>
          </p:txBody>
        </p:sp>
        <p:sp>
          <p:nvSpPr>
            <p:cNvPr id="222" name="Text Box 178"/>
            <p:cNvSpPr txBox="1">
              <a:spLocks noChangeArrowheads="1"/>
            </p:cNvSpPr>
            <p:nvPr/>
          </p:nvSpPr>
          <p:spPr bwMode="auto">
            <a:xfrm>
              <a:off x="4581774" y="3786460"/>
              <a:ext cx="554037" cy="214312"/>
            </a:xfrm>
            <a:prstGeom prst="rect">
              <a:avLst/>
            </a:prstGeom>
            <a:noFill/>
            <a:ln w="9525">
              <a:noFill/>
              <a:miter lim="800000"/>
              <a:headEnd/>
              <a:tailEnd/>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Henan</a:t>
              </a:r>
            </a:p>
          </p:txBody>
        </p:sp>
        <p:sp>
          <p:nvSpPr>
            <p:cNvPr id="223" name="Text Box 179"/>
            <p:cNvSpPr txBox="1">
              <a:spLocks noChangeArrowheads="1"/>
            </p:cNvSpPr>
            <p:nvPr/>
          </p:nvSpPr>
          <p:spPr bwMode="auto">
            <a:xfrm>
              <a:off x="3483224" y="3049612"/>
              <a:ext cx="1063625" cy="21431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Inner Mongolia</a:t>
              </a:r>
            </a:p>
          </p:txBody>
        </p:sp>
        <p:sp>
          <p:nvSpPr>
            <p:cNvPr id="224" name="Text Box 193"/>
            <p:cNvSpPr txBox="1">
              <a:spLocks noChangeArrowheads="1"/>
            </p:cNvSpPr>
            <p:nvPr/>
          </p:nvSpPr>
          <p:spPr bwMode="auto">
            <a:xfrm>
              <a:off x="5562849" y="1801837"/>
              <a:ext cx="914400" cy="21431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Heilongjiang</a:t>
              </a:r>
            </a:p>
          </p:txBody>
        </p:sp>
        <p:sp>
          <p:nvSpPr>
            <p:cNvPr id="225" name="Text Box 194"/>
            <p:cNvSpPr txBox="1">
              <a:spLocks noChangeArrowheads="1"/>
            </p:cNvSpPr>
            <p:nvPr/>
          </p:nvSpPr>
          <p:spPr bwMode="auto">
            <a:xfrm>
              <a:off x="5232306" y="2239047"/>
              <a:ext cx="779463" cy="215444"/>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Changchun</a:t>
              </a:r>
            </a:p>
          </p:txBody>
        </p:sp>
        <p:sp>
          <p:nvSpPr>
            <p:cNvPr id="226" name="Text Box 195"/>
            <p:cNvSpPr txBox="1">
              <a:spLocks noChangeArrowheads="1"/>
            </p:cNvSpPr>
            <p:nvPr/>
          </p:nvSpPr>
          <p:spPr bwMode="auto">
            <a:xfrm>
              <a:off x="5369174" y="2627337"/>
              <a:ext cx="679450" cy="21431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Liaoning</a:t>
              </a:r>
            </a:p>
          </p:txBody>
        </p:sp>
        <p:sp>
          <p:nvSpPr>
            <p:cNvPr id="227" name="Text Box 202"/>
            <p:cNvSpPr txBox="1">
              <a:spLocks noChangeArrowheads="1"/>
            </p:cNvSpPr>
            <p:nvPr/>
          </p:nvSpPr>
          <p:spPr bwMode="auto">
            <a:xfrm>
              <a:off x="4951661" y="4722564"/>
              <a:ext cx="595313" cy="214312"/>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Jiangxi</a:t>
              </a:r>
            </a:p>
          </p:txBody>
        </p:sp>
        <p:sp>
          <p:nvSpPr>
            <p:cNvPr id="228" name="Text Box 203"/>
            <p:cNvSpPr txBox="1">
              <a:spLocks noChangeArrowheads="1"/>
            </p:cNvSpPr>
            <p:nvPr/>
          </p:nvSpPr>
          <p:spPr bwMode="auto">
            <a:xfrm>
              <a:off x="5334249" y="4902225"/>
              <a:ext cx="542925" cy="214312"/>
            </a:xfrm>
            <a:prstGeom prst="rect">
              <a:avLst/>
            </a:prstGeom>
            <a:noFill/>
            <a:ln w="9525">
              <a:noFill/>
              <a:miter lim="800000"/>
              <a:headEnd/>
              <a:tailEnd/>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Fujian</a:t>
              </a:r>
            </a:p>
          </p:txBody>
        </p:sp>
        <p:sp>
          <p:nvSpPr>
            <p:cNvPr id="229" name="Text Box 171"/>
            <p:cNvSpPr txBox="1">
              <a:spLocks noChangeArrowheads="1"/>
            </p:cNvSpPr>
            <p:nvPr/>
          </p:nvSpPr>
          <p:spPr bwMode="auto">
            <a:xfrm>
              <a:off x="2387849" y="3570312"/>
              <a:ext cx="757237" cy="215900"/>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Qinghai</a:t>
              </a:r>
            </a:p>
          </p:txBody>
        </p:sp>
        <p:sp>
          <p:nvSpPr>
            <p:cNvPr id="230" name="Text Box 171"/>
            <p:cNvSpPr txBox="1">
              <a:spLocks noChangeArrowheads="1"/>
            </p:cNvSpPr>
            <p:nvPr/>
          </p:nvSpPr>
          <p:spPr bwMode="auto">
            <a:xfrm>
              <a:off x="1357561" y="4137050"/>
              <a:ext cx="757238" cy="215900"/>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Xizang</a:t>
              </a:r>
            </a:p>
          </p:txBody>
        </p:sp>
        <p:sp>
          <p:nvSpPr>
            <p:cNvPr id="274" name="Text Box 177"/>
            <p:cNvSpPr txBox="1">
              <a:spLocks noChangeArrowheads="1"/>
            </p:cNvSpPr>
            <p:nvPr/>
          </p:nvSpPr>
          <p:spPr bwMode="auto">
            <a:xfrm>
              <a:off x="4735687" y="4491682"/>
              <a:ext cx="569912" cy="215444"/>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Wuhan</a:t>
              </a:r>
            </a:p>
          </p:txBody>
        </p:sp>
        <p:sp>
          <p:nvSpPr>
            <p:cNvPr id="275" name="Text Box 177"/>
            <p:cNvSpPr txBox="1">
              <a:spLocks noChangeArrowheads="1"/>
            </p:cNvSpPr>
            <p:nvPr/>
          </p:nvSpPr>
          <p:spPr bwMode="auto">
            <a:xfrm>
              <a:off x="4370638" y="4067132"/>
              <a:ext cx="569912" cy="215444"/>
            </a:xfrm>
            <a:prstGeom prst="rect">
              <a:avLst/>
            </a:prstGeom>
            <a:noFill/>
            <a:ln>
              <a:noFill/>
            </a:ln>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Shiyan</a:t>
              </a:r>
            </a:p>
          </p:txBody>
        </p:sp>
        <p:sp>
          <p:nvSpPr>
            <p:cNvPr id="277" name="Freeform 276"/>
            <p:cNvSpPr/>
            <p:nvPr/>
          </p:nvSpPr>
          <p:spPr bwMode="auto">
            <a:xfrm>
              <a:off x="5650335" y="5011762"/>
              <a:ext cx="185738" cy="315581"/>
            </a:xfrm>
            <a:custGeom>
              <a:avLst/>
              <a:gdLst>
                <a:gd name="connsiteX0" fmla="*/ 114300 w 185738"/>
                <a:gd name="connsiteY0" fmla="*/ 0 h 315581"/>
                <a:gd name="connsiteX1" fmla="*/ 114300 w 185738"/>
                <a:gd name="connsiteY1" fmla="*/ 0 h 315581"/>
                <a:gd name="connsiteX2" fmla="*/ 42863 w 185738"/>
                <a:gd name="connsiteY2" fmla="*/ 100013 h 315581"/>
                <a:gd name="connsiteX3" fmla="*/ 0 w 185738"/>
                <a:gd name="connsiteY3" fmla="*/ 228600 h 315581"/>
                <a:gd name="connsiteX4" fmla="*/ 57150 w 185738"/>
                <a:gd name="connsiteY4" fmla="*/ 285750 h 315581"/>
                <a:gd name="connsiteX5" fmla="*/ 100013 w 185738"/>
                <a:gd name="connsiteY5" fmla="*/ 271463 h 315581"/>
                <a:gd name="connsiteX6" fmla="*/ 171450 w 185738"/>
                <a:gd name="connsiteY6" fmla="*/ 142875 h 315581"/>
                <a:gd name="connsiteX7" fmla="*/ 185738 w 185738"/>
                <a:gd name="connsiteY7" fmla="*/ 100013 h 315581"/>
                <a:gd name="connsiteX8" fmla="*/ 142875 w 185738"/>
                <a:gd name="connsiteY8" fmla="*/ 14288 h 315581"/>
                <a:gd name="connsiteX9" fmla="*/ 114300 w 185738"/>
                <a:gd name="connsiteY9" fmla="*/ 0 h 31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5738" h="315581">
                  <a:moveTo>
                    <a:pt x="114300" y="0"/>
                  </a:moveTo>
                  <a:lnTo>
                    <a:pt x="114300" y="0"/>
                  </a:lnTo>
                  <a:cubicBezTo>
                    <a:pt x="90488" y="33338"/>
                    <a:pt x="60031" y="62815"/>
                    <a:pt x="42863" y="100013"/>
                  </a:cubicBezTo>
                  <a:cubicBezTo>
                    <a:pt x="-72628" y="350243"/>
                    <a:pt x="102958" y="74165"/>
                    <a:pt x="0" y="228600"/>
                  </a:cubicBezTo>
                  <a:cubicBezTo>
                    <a:pt x="20008" y="348645"/>
                    <a:pt x="-11533" y="320091"/>
                    <a:pt x="57150" y="285750"/>
                  </a:cubicBezTo>
                  <a:cubicBezTo>
                    <a:pt x="70621" y="279015"/>
                    <a:pt x="85725" y="276225"/>
                    <a:pt x="100013" y="271463"/>
                  </a:cubicBezTo>
                  <a:cubicBezTo>
                    <a:pt x="164174" y="207301"/>
                    <a:pt x="136485" y="247770"/>
                    <a:pt x="171450" y="142875"/>
                  </a:cubicBezTo>
                  <a:lnTo>
                    <a:pt x="185738" y="100013"/>
                  </a:lnTo>
                  <a:cubicBezTo>
                    <a:pt x="178166" y="77298"/>
                    <a:pt x="165956" y="28136"/>
                    <a:pt x="142875" y="14288"/>
                  </a:cubicBezTo>
                  <a:cubicBezTo>
                    <a:pt x="130624" y="6937"/>
                    <a:pt x="119062" y="2381"/>
                    <a:pt x="114300" y="0"/>
                  </a:cubicBezTo>
                  <a:close/>
                </a:path>
              </a:pathLst>
            </a:custGeom>
            <a:solidFill>
              <a:srgbClr val="F1F0F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72000" tIns="36000" rIns="36000" bIns="36000" numCol="1" rtlCol="0" anchor="ctr" anchorCtr="0" compatLnSpc="1">
              <a:prstTxWarp prst="textNoShape">
                <a:avLst/>
              </a:prstTxWarp>
            </a:bodyPr>
            <a:lstStyle/>
            <a:p>
              <a:pPr fontAlgn="base">
                <a:spcBef>
                  <a:spcPct val="0"/>
                </a:spcBef>
                <a:spcAft>
                  <a:spcPct val="0"/>
                </a:spcAft>
              </a:pPr>
              <a:endParaRPr lang="en-US" dirty="0" smtClean="0">
                <a:solidFill>
                  <a:prstClr val="black"/>
                </a:solidFill>
                <a:latin typeface="HelveticaNeueLT Com 45 Lt" pitchFamily="34" charset="0"/>
              </a:endParaRPr>
            </a:p>
          </p:txBody>
        </p:sp>
        <p:sp>
          <p:nvSpPr>
            <p:cNvPr id="278" name="Text Box 31"/>
            <p:cNvSpPr txBox="1">
              <a:spLocks noChangeArrowheads="1"/>
            </p:cNvSpPr>
            <p:nvPr/>
          </p:nvSpPr>
          <p:spPr bwMode="auto">
            <a:xfrm>
              <a:off x="4420929" y="2847206"/>
              <a:ext cx="472962" cy="268517"/>
            </a:xfrm>
            <a:prstGeom prst="rect">
              <a:avLst/>
            </a:prstGeom>
            <a:noFill/>
            <a:ln>
              <a:noFill/>
            </a:ln>
            <a:extLst/>
          </p:spPr>
          <p:txBody>
            <a:bodyPr wrap="none" lIns="90000" tIns="72000" rIns="72000" bIns="72000">
              <a:spAutoFit/>
            </a:bodyPr>
            <a:lstStyle>
              <a:lvl1pPr eaLnBrk="0" hangingPunct="0">
                <a:defRPr sz="1400">
                  <a:solidFill>
                    <a:schemeClr val="tx1"/>
                  </a:solidFill>
                  <a:latin typeface="Arial" pitchFamily="34" charset="0"/>
                  <a:ea typeface="SimSun" pitchFamily="2" charset="-122"/>
                </a:defRPr>
              </a:lvl1pPr>
              <a:lvl2pPr marL="742950" indent="-285750" eaLnBrk="0" hangingPunct="0">
                <a:defRPr sz="1400">
                  <a:solidFill>
                    <a:schemeClr val="tx1"/>
                  </a:solidFill>
                  <a:latin typeface="Arial" pitchFamily="34" charset="0"/>
                  <a:ea typeface="SimSun" pitchFamily="2" charset="-122"/>
                </a:defRPr>
              </a:lvl2pPr>
              <a:lvl3pPr marL="1143000" indent="-228600" eaLnBrk="0" hangingPunct="0">
                <a:defRPr sz="1400">
                  <a:solidFill>
                    <a:schemeClr val="tx1"/>
                  </a:solidFill>
                  <a:latin typeface="Arial" pitchFamily="34" charset="0"/>
                  <a:ea typeface="SimSun" pitchFamily="2" charset="-122"/>
                </a:defRPr>
              </a:lvl3pPr>
              <a:lvl4pPr marL="1600200" indent="-228600" eaLnBrk="0" hangingPunct="0">
                <a:defRPr sz="1400">
                  <a:solidFill>
                    <a:schemeClr val="tx1"/>
                  </a:solidFill>
                  <a:latin typeface="Arial" pitchFamily="34" charset="0"/>
                  <a:ea typeface="SimSun" pitchFamily="2" charset="-122"/>
                </a:defRPr>
              </a:lvl4pPr>
              <a:lvl5pPr marL="2057400" indent="-228600" eaLnBrk="0" hangingPunct="0">
                <a:defRPr sz="1400">
                  <a:solidFill>
                    <a:schemeClr val="tx1"/>
                  </a:solidFill>
                  <a:latin typeface="Arial" pitchFamily="34" charset="0"/>
                  <a:ea typeface="SimSun" pitchFamily="2" charset="-122"/>
                </a:defRPr>
              </a:lvl5pPr>
              <a:lvl6pPr marL="2514600" indent="-228600" eaLnBrk="0" fontAlgn="base" hangingPunct="0">
                <a:spcBef>
                  <a:spcPct val="0"/>
                </a:spcBef>
                <a:spcAft>
                  <a:spcPct val="0"/>
                </a:spcAft>
                <a:defRPr sz="1400">
                  <a:solidFill>
                    <a:schemeClr val="tx1"/>
                  </a:solidFill>
                  <a:latin typeface="Arial" pitchFamily="34" charset="0"/>
                  <a:ea typeface="SimSun" pitchFamily="2" charset="-122"/>
                </a:defRPr>
              </a:lvl6pPr>
              <a:lvl7pPr marL="2971800" indent="-228600" eaLnBrk="0" fontAlgn="base" hangingPunct="0">
                <a:spcBef>
                  <a:spcPct val="0"/>
                </a:spcBef>
                <a:spcAft>
                  <a:spcPct val="0"/>
                </a:spcAft>
                <a:defRPr sz="1400">
                  <a:solidFill>
                    <a:schemeClr val="tx1"/>
                  </a:solidFill>
                  <a:latin typeface="Arial" pitchFamily="34" charset="0"/>
                  <a:ea typeface="SimSun" pitchFamily="2" charset="-122"/>
                </a:defRPr>
              </a:lvl7pPr>
              <a:lvl8pPr marL="3429000" indent="-228600" eaLnBrk="0" fontAlgn="base" hangingPunct="0">
                <a:spcBef>
                  <a:spcPct val="0"/>
                </a:spcBef>
                <a:spcAft>
                  <a:spcPct val="0"/>
                </a:spcAft>
                <a:defRPr sz="1400">
                  <a:solidFill>
                    <a:schemeClr val="tx1"/>
                  </a:solidFill>
                  <a:latin typeface="Arial" pitchFamily="34" charset="0"/>
                  <a:ea typeface="SimSun" pitchFamily="2" charset="-122"/>
                </a:defRPr>
              </a:lvl8pPr>
              <a:lvl9pPr marL="3886200" indent="-228600" eaLnBrk="0" fontAlgn="base" hangingPunct="0">
                <a:spcBef>
                  <a:spcPct val="0"/>
                </a:spcBef>
                <a:spcAft>
                  <a:spcPct val="0"/>
                </a:spcAft>
                <a:defRPr sz="1400">
                  <a:solidFill>
                    <a:schemeClr val="tx1"/>
                  </a:solidFill>
                  <a:latin typeface="Arial" pitchFamily="34" charset="0"/>
                  <a:ea typeface="SimSun" pitchFamily="2" charset="-122"/>
                </a:defRPr>
              </a:lvl9pPr>
            </a:lstStyle>
            <a:p>
              <a:pPr eaLnBrk="1" hangingPunct="1">
                <a:defRPr/>
              </a:pPr>
              <a:r>
                <a:rPr lang="en-US" altLang="zh-CN" sz="800" kern="0" dirty="0" smtClean="0">
                  <a:solidFill>
                    <a:prstClr val="black"/>
                  </a:solidFill>
                  <a:cs typeface="Arial" pitchFamily="34" charset="0"/>
                </a:rPr>
                <a:t>Beijing</a:t>
              </a:r>
            </a:p>
          </p:txBody>
        </p:sp>
        <p:sp>
          <p:nvSpPr>
            <p:cNvPr id="279" name="5-Point Star 278"/>
            <p:cNvSpPr/>
            <p:nvPr/>
          </p:nvSpPr>
          <p:spPr>
            <a:xfrm>
              <a:off x="4677003" y="3051033"/>
              <a:ext cx="110332" cy="129380"/>
            </a:xfrm>
            <a:prstGeom prst="star5">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zh-CN" altLang="en-US" b="1" smtClean="0">
                <a:solidFill>
                  <a:prstClr val="black"/>
                </a:solidFill>
              </a:endParaRPr>
            </a:p>
          </p:txBody>
        </p:sp>
        <p:sp>
          <p:nvSpPr>
            <p:cNvPr id="280" name="Text Box 174"/>
            <p:cNvSpPr txBox="1">
              <a:spLocks noChangeArrowheads="1"/>
            </p:cNvSpPr>
            <p:nvPr/>
          </p:nvSpPr>
          <p:spPr bwMode="auto">
            <a:xfrm>
              <a:off x="5509885" y="5113031"/>
              <a:ext cx="588963" cy="214312"/>
            </a:xfrm>
            <a:prstGeom prst="rect">
              <a:avLst/>
            </a:prstGeom>
            <a:noFill/>
            <a:ln>
              <a:noFill/>
            </a:ln>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altLang="zh-CN" sz="800" dirty="0" smtClean="0">
                  <a:solidFill>
                    <a:prstClr val="black"/>
                  </a:solidFill>
                  <a:ea typeface="宋体" pitchFamily="2" charset="-122"/>
                </a:rPr>
                <a:t>Taiwan</a:t>
              </a:r>
            </a:p>
          </p:txBody>
        </p:sp>
        <p:sp>
          <p:nvSpPr>
            <p:cNvPr id="618" name="5-Point Star 617"/>
            <p:cNvSpPr/>
            <p:nvPr/>
          </p:nvSpPr>
          <p:spPr>
            <a:xfrm>
              <a:off x="869008" y="5804180"/>
              <a:ext cx="110332" cy="129380"/>
            </a:xfrm>
            <a:prstGeom prst="star5">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zh-CN" altLang="en-US" b="1" smtClean="0">
                <a:solidFill>
                  <a:prstClr val="black"/>
                </a:solidFill>
              </a:endParaRPr>
            </a:p>
          </p:txBody>
        </p:sp>
      </p:grpSp>
      <p:sp>
        <p:nvSpPr>
          <p:cNvPr id="5" name="Oval 4"/>
          <p:cNvSpPr/>
          <p:nvPr/>
        </p:nvSpPr>
        <p:spPr>
          <a:xfrm>
            <a:off x="6914926" y="1196752"/>
            <a:ext cx="149274" cy="149274"/>
          </a:xfrm>
          <a:prstGeom prst="ellipse">
            <a:avLst/>
          </a:prstGeom>
          <a:solidFill>
            <a:srgbClr val="707F8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75" name="Oval 574"/>
          <p:cNvSpPr/>
          <p:nvPr/>
        </p:nvSpPr>
        <p:spPr>
          <a:xfrm>
            <a:off x="6915837" y="1428086"/>
            <a:ext cx="149274" cy="149274"/>
          </a:xfrm>
          <a:prstGeom prst="ellipse">
            <a:avLst/>
          </a:prstGeom>
          <a:solidFill>
            <a:srgbClr val="A70240">
              <a:alpha val="5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77" name="Oval 576"/>
          <p:cNvSpPr/>
          <p:nvPr/>
        </p:nvSpPr>
        <p:spPr>
          <a:xfrm>
            <a:off x="6916748" y="1659420"/>
            <a:ext cx="149274" cy="149274"/>
          </a:xfrm>
          <a:prstGeom prst="ellipse">
            <a:avLst/>
          </a:pr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srgbClr val="EB0000"/>
              </a:solidFill>
            </a:endParaRPr>
          </a:p>
        </p:txBody>
      </p:sp>
      <p:sp>
        <p:nvSpPr>
          <p:cNvPr id="578" name="Oval 577"/>
          <p:cNvSpPr/>
          <p:nvPr/>
        </p:nvSpPr>
        <p:spPr>
          <a:xfrm>
            <a:off x="6917659" y="1885791"/>
            <a:ext cx="149274" cy="149274"/>
          </a:xfrm>
          <a:prstGeom prst="ellipse">
            <a:avLst/>
          </a:prstGeom>
          <a:solidFill>
            <a:srgbClr val="99CC33">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81" name="Oval 580"/>
          <p:cNvSpPr/>
          <p:nvPr/>
        </p:nvSpPr>
        <p:spPr>
          <a:xfrm>
            <a:off x="6916748" y="2338533"/>
            <a:ext cx="149274" cy="149274"/>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srgbClr val="FF99FF"/>
              </a:solidFill>
            </a:endParaRPr>
          </a:p>
        </p:txBody>
      </p:sp>
      <p:sp>
        <p:nvSpPr>
          <p:cNvPr id="586" name="Oval 585"/>
          <p:cNvSpPr/>
          <p:nvPr/>
        </p:nvSpPr>
        <p:spPr>
          <a:xfrm>
            <a:off x="5790878" y="2204864"/>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91" name="Oval 590"/>
          <p:cNvSpPr/>
          <p:nvPr/>
        </p:nvSpPr>
        <p:spPr>
          <a:xfrm>
            <a:off x="5030441" y="3516313"/>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92" name="Oval 591"/>
          <p:cNvSpPr/>
          <p:nvPr/>
        </p:nvSpPr>
        <p:spPr>
          <a:xfrm>
            <a:off x="3962150" y="3659956"/>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93" name="Oval 592"/>
          <p:cNvSpPr/>
          <p:nvPr/>
        </p:nvSpPr>
        <p:spPr>
          <a:xfrm>
            <a:off x="3212754" y="4036988"/>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94" name="Oval 593"/>
          <p:cNvSpPr/>
          <p:nvPr/>
        </p:nvSpPr>
        <p:spPr>
          <a:xfrm>
            <a:off x="3079241" y="4426958"/>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95" name="Oval 594"/>
          <p:cNvSpPr/>
          <p:nvPr/>
        </p:nvSpPr>
        <p:spPr>
          <a:xfrm>
            <a:off x="5630195" y="4509449"/>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96" name="Oval 595"/>
          <p:cNvSpPr/>
          <p:nvPr/>
        </p:nvSpPr>
        <p:spPr>
          <a:xfrm>
            <a:off x="4589042" y="5345162"/>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598" name="Oval 597"/>
          <p:cNvSpPr/>
          <p:nvPr/>
        </p:nvSpPr>
        <p:spPr>
          <a:xfrm>
            <a:off x="3738550" y="4426958"/>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601" name="Oval 600"/>
          <p:cNvSpPr/>
          <p:nvPr/>
        </p:nvSpPr>
        <p:spPr>
          <a:xfrm>
            <a:off x="4257776" y="3972995"/>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602" name="Oval 601"/>
          <p:cNvSpPr/>
          <p:nvPr/>
        </p:nvSpPr>
        <p:spPr>
          <a:xfrm>
            <a:off x="5201545" y="3855790"/>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603" name="Oval 602"/>
          <p:cNvSpPr/>
          <p:nvPr/>
        </p:nvSpPr>
        <p:spPr>
          <a:xfrm>
            <a:off x="4743079" y="5354638"/>
            <a:ext cx="149274" cy="149274"/>
          </a:xfrm>
          <a:prstGeom prst="ellipse">
            <a:avLst/>
          </a:prstGeom>
          <a:solidFill>
            <a:srgbClr val="A70240">
              <a:alpha val="57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604" name="Oval 603"/>
          <p:cNvSpPr/>
          <p:nvPr/>
        </p:nvSpPr>
        <p:spPr>
          <a:xfrm>
            <a:off x="4409171" y="3972995"/>
            <a:ext cx="149274" cy="149274"/>
          </a:xfrm>
          <a:prstGeom prst="ellipse">
            <a:avLst/>
          </a:prstGeom>
          <a:solidFill>
            <a:srgbClr val="A70240">
              <a:alpha val="57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607" name="Oval 606"/>
          <p:cNvSpPr/>
          <p:nvPr/>
        </p:nvSpPr>
        <p:spPr>
          <a:xfrm>
            <a:off x="5360650" y="3855790"/>
            <a:ext cx="149274" cy="149274"/>
          </a:xfrm>
          <a:prstGeom prst="ellipse">
            <a:avLst/>
          </a:prstGeom>
          <a:solidFill>
            <a:srgbClr val="A70240">
              <a:alpha val="57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608" name="Oval 607"/>
          <p:cNvSpPr/>
          <p:nvPr/>
        </p:nvSpPr>
        <p:spPr>
          <a:xfrm>
            <a:off x="3900618" y="4426958"/>
            <a:ext cx="149274" cy="149274"/>
          </a:xfrm>
          <a:prstGeom prst="ellipse">
            <a:avLst/>
          </a:prstGeom>
          <a:solidFill>
            <a:srgbClr val="A70240">
              <a:alpha val="57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617" name="Oval 616"/>
          <p:cNvSpPr/>
          <p:nvPr/>
        </p:nvSpPr>
        <p:spPr>
          <a:xfrm>
            <a:off x="4686752" y="4359846"/>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619" name="TextBox 618"/>
          <p:cNvSpPr txBox="1"/>
          <p:nvPr/>
        </p:nvSpPr>
        <p:spPr>
          <a:xfrm>
            <a:off x="973386" y="5804180"/>
            <a:ext cx="1510382" cy="183895"/>
          </a:xfrm>
          <a:prstGeom prst="rect">
            <a:avLst/>
          </a:prstGeom>
          <a:noFill/>
        </p:spPr>
        <p:txBody>
          <a:bodyPr wrap="square" lIns="0" tIns="0" rIns="0" bIns="0" rtlCol="0">
            <a:noAutofit/>
          </a:bodyPr>
          <a:lstStyle/>
          <a:p>
            <a:pPr>
              <a:spcBef>
                <a:spcPts val="300"/>
              </a:spcBef>
              <a:spcAft>
                <a:spcPts val="300"/>
              </a:spcAft>
              <a:buClr>
                <a:srgbClr val="EB0000"/>
              </a:buClr>
            </a:pPr>
            <a:r>
              <a:rPr lang="en-US" sz="900" dirty="0" smtClean="0">
                <a:solidFill>
                  <a:prstClr val="black"/>
                </a:solidFill>
              </a:rPr>
              <a:t>Capital of China</a:t>
            </a:r>
          </a:p>
        </p:txBody>
      </p:sp>
      <p:sp>
        <p:nvSpPr>
          <p:cNvPr id="273" name="Oval 272"/>
          <p:cNvSpPr/>
          <p:nvPr/>
        </p:nvSpPr>
        <p:spPr>
          <a:xfrm>
            <a:off x="4998790" y="3140968"/>
            <a:ext cx="149274" cy="149274"/>
          </a:xfrm>
          <a:prstGeom prst="ellipse">
            <a:avLst/>
          </a:prstGeom>
          <a:solidFill>
            <a:srgbClr val="707F85"/>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76" name="Oval 275"/>
          <p:cNvSpPr/>
          <p:nvPr/>
        </p:nvSpPr>
        <p:spPr>
          <a:xfrm>
            <a:off x="5142806" y="3140968"/>
            <a:ext cx="149274" cy="149274"/>
          </a:xfrm>
          <a:prstGeom prst="ellipse">
            <a:avLst/>
          </a:prstGeom>
          <a:solidFill>
            <a:srgbClr val="A70240">
              <a:alpha val="57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72" name="Oval 271"/>
          <p:cNvSpPr/>
          <p:nvPr/>
        </p:nvSpPr>
        <p:spPr>
          <a:xfrm>
            <a:off x="4572000" y="3972995"/>
            <a:ext cx="149274" cy="149274"/>
          </a:xfrm>
          <a:prstGeom prst="ellipse">
            <a:avLst/>
          </a:pr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81" name="Oval 280"/>
          <p:cNvSpPr/>
          <p:nvPr/>
        </p:nvSpPr>
        <p:spPr>
          <a:xfrm>
            <a:off x="4062686" y="4426958"/>
            <a:ext cx="149274" cy="149274"/>
          </a:xfrm>
          <a:prstGeom prst="ellipse">
            <a:avLst/>
          </a:prstGeom>
          <a:solidFill>
            <a:srgbClr val="99CC33">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82" name="Oval 281"/>
          <p:cNvSpPr/>
          <p:nvPr/>
        </p:nvSpPr>
        <p:spPr>
          <a:xfrm>
            <a:off x="5519755" y="3855790"/>
            <a:ext cx="149274" cy="149274"/>
          </a:xfrm>
          <a:prstGeom prst="ellipse">
            <a:avLst/>
          </a:prstGeom>
          <a:solidFill>
            <a:srgbClr val="99CC33">
              <a:alpha val="6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83" name="Oval 282"/>
          <p:cNvSpPr/>
          <p:nvPr/>
        </p:nvSpPr>
        <p:spPr>
          <a:xfrm>
            <a:off x="5678860" y="3855790"/>
            <a:ext cx="149274" cy="149274"/>
          </a:xfrm>
          <a:prstGeom prst="ellipse">
            <a:avLst/>
          </a:pr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87" name="Oval 286"/>
          <p:cNvSpPr/>
          <p:nvPr/>
        </p:nvSpPr>
        <p:spPr>
          <a:xfrm>
            <a:off x="6920392" y="2112162"/>
            <a:ext cx="149274" cy="149274"/>
          </a:xfrm>
          <a:prstGeom prst="ellipse">
            <a:avLst/>
          </a:prstGeom>
          <a:solidFill>
            <a:srgbClr val="0000FF">
              <a:alpha val="6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88" name="Oval 287"/>
          <p:cNvSpPr/>
          <p:nvPr/>
        </p:nvSpPr>
        <p:spPr>
          <a:xfrm>
            <a:off x="5837965" y="3855790"/>
            <a:ext cx="149274" cy="149274"/>
          </a:xfrm>
          <a:prstGeom prst="ellipse">
            <a:avLst/>
          </a:prstGeom>
          <a:solidFill>
            <a:srgbClr val="0000FF">
              <a:alpha val="6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92" name="TextBox 291"/>
          <p:cNvSpPr txBox="1"/>
          <p:nvPr/>
        </p:nvSpPr>
        <p:spPr>
          <a:xfrm>
            <a:off x="6214570" y="5282139"/>
            <a:ext cx="2647042" cy="1523494"/>
          </a:xfrm>
          <a:prstGeom prst="rect">
            <a:avLst/>
          </a:prstGeom>
          <a:noFill/>
        </p:spPr>
        <p:txBody>
          <a:bodyPr wrap="square" lIns="0" tIns="0" rIns="0" bIns="0" rtlCol="0">
            <a:spAutoFit/>
          </a:bodyPr>
          <a:lstStyle/>
          <a:p>
            <a:pPr>
              <a:spcBef>
                <a:spcPts val="300"/>
              </a:spcBef>
              <a:spcAft>
                <a:spcPts val="300"/>
              </a:spcAft>
              <a:buClr>
                <a:srgbClr val="EB0000"/>
              </a:buClr>
            </a:pPr>
            <a:r>
              <a:rPr lang="en-US" altLang="zh-CN" sz="1400" dirty="0" smtClean="0">
                <a:solidFill>
                  <a:prstClr val="black"/>
                </a:solidFill>
                <a:cs typeface="Arial" pitchFamily="34" charset="0"/>
              </a:rPr>
              <a:t>12 coating centers in China</a:t>
            </a:r>
          </a:p>
          <a:p>
            <a:pPr>
              <a:spcBef>
                <a:spcPts val="300"/>
              </a:spcBef>
              <a:spcAft>
                <a:spcPts val="300"/>
              </a:spcAft>
              <a:buClr>
                <a:srgbClr val="EB0000"/>
              </a:buClr>
            </a:pPr>
            <a:r>
              <a:rPr lang="en-US" altLang="zh-CN" sz="1400" dirty="0">
                <a:solidFill>
                  <a:prstClr val="black"/>
                </a:solidFill>
              </a:rPr>
              <a:t>As of </a:t>
            </a:r>
            <a:r>
              <a:rPr lang="en-US" altLang="zh-CN" sz="1400" dirty="0" smtClean="0">
                <a:solidFill>
                  <a:prstClr val="black"/>
                </a:solidFill>
              </a:rPr>
              <a:t>Oct. 2016, number</a:t>
            </a:r>
            <a:r>
              <a:rPr lang="en-US" altLang="zh-CN" sz="1400" dirty="0" smtClean="0">
                <a:solidFill>
                  <a:prstClr val="black"/>
                </a:solidFill>
                <a:cs typeface="Arial" pitchFamily="34" charset="0"/>
              </a:rPr>
              <a:t> of employees: 420</a:t>
            </a:r>
          </a:p>
          <a:p>
            <a:pPr>
              <a:spcBef>
                <a:spcPts val="300"/>
              </a:spcBef>
              <a:spcAft>
                <a:spcPts val="300"/>
              </a:spcAft>
              <a:buClr>
                <a:srgbClr val="EB0000"/>
              </a:buClr>
            </a:pPr>
            <a:r>
              <a:rPr lang="zh-CN" altLang="en-US" sz="1400" dirty="0" smtClean="0">
                <a:solidFill>
                  <a:prstClr val="black"/>
                </a:solidFill>
                <a:latin typeface="微软雅黑" panose="020B0503020204020204" pitchFamily="34" charset="-122"/>
                <a:ea typeface="微软雅黑" panose="020B0503020204020204" pitchFamily="34" charset="-122"/>
              </a:rPr>
              <a:t>截止到</a:t>
            </a:r>
            <a:r>
              <a:rPr lang="en-US" altLang="zh-CN" sz="1400" dirty="0" smtClean="0">
                <a:solidFill>
                  <a:prstClr val="black"/>
                </a:solidFill>
                <a:latin typeface="微软雅黑" panose="020B0503020204020204" pitchFamily="34" charset="-122"/>
                <a:ea typeface="微软雅黑" panose="020B0503020204020204" pitchFamily="34" charset="-122"/>
              </a:rPr>
              <a:t>2016</a:t>
            </a:r>
            <a:r>
              <a:rPr lang="zh-CN" altLang="en-US" sz="1400" dirty="0" smtClean="0">
                <a:solidFill>
                  <a:prstClr val="black"/>
                </a:solidFill>
                <a:latin typeface="微软雅黑" panose="020B0503020204020204" pitchFamily="34" charset="-122"/>
                <a:ea typeface="微软雅黑" panose="020B0503020204020204" pitchFamily="34" charset="-122"/>
              </a:rPr>
              <a:t>年</a:t>
            </a:r>
            <a:r>
              <a:rPr lang="en-US" altLang="zh-CN" sz="1400" dirty="0" smtClean="0">
                <a:solidFill>
                  <a:prstClr val="black"/>
                </a:solidFill>
                <a:latin typeface="微软雅黑" panose="020B0503020204020204" pitchFamily="34" charset="-122"/>
                <a:ea typeface="微软雅黑" panose="020B0503020204020204" pitchFamily="34" charset="-122"/>
              </a:rPr>
              <a:t>10</a:t>
            </a:r>
            <a:r>
              <a:rPr lang="zh-CN" altLang="en-US" sz="1400" dirty="0" smtClean="0">
                <a:solidFill>
                  <a:prstClr val="black"/>
                </a:solidFill>
                <a:latin typeface="微软雅黑" panose="020B0503020204020204" pitchFamily="34" charset="-122"/>
                <a:ea typeface="微软雅黑" panose="020B0503020204020204" pitchFamily="34" charset="-122"/>
              </a:rPr>
              <a:t>月，中国有</a:t>
            </a:r>
            <a:r>
              <a:rPr lang="en-US" altLang="zh-CN" sz="1400" dirty="0" smtClean="0">
                <a:solidFill>
                  <a:prstClr val="black"/>
                </a:solidFill>
                <a:latin typeface="微软雅黑" panose="020B0503020204020204" pitchFamily="34" charset="-122"/>
                <a:ea typeface="微软雅黑" panose="020B0503020204020204" pitchFamily="34" charset="-122"/>
              </a:rPr>
              <a:t>12</a:t>
            </a:r>
            <a:r>
              <a:rPr lang="zh-CN" altLang="en-US" sz="1400" dirty="0" smtClean="0">
                <a:solidFill>
                  <a:prstClr val="black"/>
                </a:solidFill>
                <a:latin typeface="微软雅黑" panose="020B0503020204020204" pitchFamily="34" charset="-122"/>
                <a:ea typeface="微软雅黑" panose="020B0503020204020204" pitchFamily="34" charset="-122"/>
              </a:rPr>
              <a:t>个涂层中心，</a:t>
            </a:r>
            <a:r>
              <a:rPr lang="en-US" altLang="zh-CN" sz="1400" dirty="0" smtClean="0">
                <a:solidFill>
                  <a:prstClr val="black"/>
                </a:solidFill>
                <a:latin typeface="微软雅黑" panose="020B0503020204020204" pitchFamily="34" charset="-122"/>
                <a:ea typeface="微软雅黑" panose="020B0503020204020204" pitchFamily="34" charset="-122"/>
              </a:rPr>
              <a:t>420</a:t>
            </a:r>
            <a:r>
              <a:rPr lang="zh-CN" altLang="en-US" sz="1400" dirty="0" smtClean="0">
                <a:solidFill>
                  <a:prstClr val="black"/>
                </a:solidFill>
                <a:latin typeface="微软雅黑" panose="020B0503020204020204" pitchFamily="34" charset="-122"/>
                <a:ea typeface="微软雅黑" panose="020B0503020204020204" pitchFamily="34" charset="-122"/>
              </a:rPr>
              <a:t>名员工</a:t>
            </a:r>
            <a:endParaRPr lang="en-US" altLang="zh-CN" sz="1400" dirty="0" smtClean="0">
              <a:solidFill>
                <a:prstClr val="black"/>
              </a:solidFill>
              <a:latin typeface="微软雅黑" panose="020B0503020204020204" pitchFamily="34" charset="-122"/>
              <a:ea typeface="微软雅黑" panose="020B0503020204020204" pitchFamily="34" charset="-122"/>
            </a:endParaRPr>
          </a:p>
          <a:p>
            <a:pPr>
              <a:spcBef>
                <a:spcPts val="300"/>
              </a:spcBef>
              <a:spcAft>
                <a:spcPts val="300"/>
              </a:spcAft>
              <a:buClr>
                <a:srgbClr val="EB0000"/>
              </a:buClr>
            </a:pPr>
            <a:endParaRPr lang="zh-CN" altLang="en-US" sz="1400" dirty="0" err="1" smtClean="0">
              <a:solidFill>
                <a:prstClr val="black"/>
              </a:solidFill>
            </a:endParaRPr>
          </a:p>
        </p:txBody>
      </p:sp>
      <p:sp>
        <p:nvSpPr>
          <p:cNvPr id="293" name="Oval 292"/>
          <p:cNvSpPr/>
          <p:nvPr/>
        </p:nvSpPr>
        <p:spPr>
          <a:xfrm>
            <a:off x="6916748" y="2564904"/>
            <a:ext cx="149274" cy="149274"/>
          </a:xfrm>
          <a:prstGeom prst="ellipse">
            <a:avLst/>
          </a:prstGeom>
          <a:solidFill>
            <a:srgbClr val="35CCCC">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94" name="Oval 293"/>
          <p:cNvSpPr/>
          <p:nvPr/>
        </p:nvSpPr>
        <p:spPr>
          <a:xfrm>
            <a:off x="5997070" y="3855790"/>
            <a:ext cx="149274" cy="149274"/>
          </a:xfrm>
          <a:prstGeom prst="ellipse">
            <a:avLst/>
          </a:prstGeom>
          <a:solidFill>
            <a:srgbClr val="35CCCC">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96" name="Oval 295"/>
          <p:cNvSpPr/>
          <p:nvPr/>
        </p:nvSpPr>
        <p:spPr>
          <a:xfrm>
            <a:off x="4854774" y="4359846"/>
            <a:ext cx="149274" cy="149274"/>
          </a:xfrm>
          <a:prstGeom prst="ellipse">
            <a:avLst/>
          </a:prstGeom>
          <a:solidFill>
            <a:srgbClr val="35CCCC">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97" name="Oval 296"/>
          <p:cNvSpPr/>
          <p:nvPr/>
        </p:nvSpPr>
        <p:spPr>
          <a:xfrm>
            <a:off x="6156176" y="3855790"/>
            <a:ext cx="149274" cy="149274"/>
          </a:xfrm>
          <a:prstGeom prst="ellipse">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srgbClr val="FF99FF"/>
              </a:solidFill>
            </a:endParaRPr>
          </a:p>
        </p:txBody>
      </p:sp>
      <p:sp>
        <p:nvSpPr>
          <p:cNvPr id="269" name="Slide Number Placeholder 3"/>
          <p:cNvSpPr>
            <a:spLocks noGrp="1"/>
          </p:cNvSpPr>
          <p:nvPr>
            <p:ph type="sldNum" sz="quarter" idx="4294967295"/>
          </p:nvPr>
        </p:nvSpPr>
        <p:spPr>
          <a:xfrm>
            <a:off x="395288" y="6524626"/>
            <a:ext cx="684212" cy="180974"/>
          </a:xfrm>
          <a:prstGeom prst="rect">
            <a:avLst/>
          </a:prstGeom>
        </p:spPr>
        <p:txBody>
          <a:bodyPr/>
          <a:lstStyle/>
          <a:p>
            <a:r>
              <a:rPr lang="de-DE" dirty="0" smtClean="0">
                <a:solidFill>
                  <a:prstClr val="black"/>
                </a:solidFill>
              </a:rPr>
              <a:t>Page </a:t>
            </a:r>
            <a:fld id="{D126E9C2-5A98-4FED-83CF-BD978A28F274}" type="slidenum">
              <a:rPr lang="de-DE" smtClean="0">
                <a:solidFill>
                  <a:prstClr val="black"/>
                </a:solidFill>
              </a:rPr>
              <a:pPr/>
              <a:t>12</a:t>
            </a:fld>
            <a:endParaRPr lang="de-DE" dirty="0">
              <a:solidFill>
                <a:prstClr val="black"/>
              </a:solidFill>
            </a:endParaRPr>
          </a:p>
        </p:txBody>
      </p:sp>
      <p:sp>
        <p:nvSpPr>
          <p:cNvPr id="268" name="Oval 267"/>
          <p:cNvSpPr/>
          <p:nvPr/>
        </p:nvSpPr>
        <p:spPr>
          <a:xfrm>
            <a:off x="2906366" y="4434812"/>
            <a:ext cx="149274" cy="149274"/>
          </a:xfrm>
          <a:prstGeom prst="ellipse">
            <a:avLst/>
          </a:prstGeom>
          <a:solidFill>
            <a:srgbClr val="35CCCC">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smtClean="0">
              <a:solidFill>
                <a:prstClr val="black"/>
              </a:solidFill>
            </a:endParaRPr>
          </a:p>
        </p:txBody>
      </p:sp>
      <p:sp>
        <p:nvSpPr>
          <p:cNvPr id="270" name="Title 4"/>
          <p:cNvSpPr txBox="1">
            <a:spLocks/>
          </p:cNvSpPr>
          <p:nvPr/>
        </p:nvSpPr>
        <p:spPr bwMode="gray">
          <a:xfrm>
            <a:off x="432232" y="239048"/>
            <a:ext cx="6481762" cy="909635"/>
          </a:xfrm>
          <a:prstGeom prst="rect">
            <a:avLst/>
          </a:prstGeom>
        </p:spPr>
        <p:txBody>
          <a:bodyPr vert="horz" lIns="0" tIns="0" rIns="0" bIns="0" rtlCol="0" anchor="t">
            <a:noAutofit/>
          </a:bodyPr>
          <a:lstStyle>
            <a:lvl1pPr algn="l" defTabSz="914400" rtl="0" eaLnBrk="1" latinLnBrk="0" hangingPunct="1">
              <a:spcBef>
                <a:spcPct val="0"/>
              </a:spcBef>
              <a:buNone/>
              <a:defRPr sz="2400" b="1" kern="1200">
                <a:solidFill>
                  <a:schemeClr val="tx1"/>
                </a:solidFill>
                <a:latin typeface="+mj-lt"/>
                <a:ea typeface="+mj-ea"/>
                <a:cs typeface="+mj-cs"/>
              </a:defRPr>
            </a:lvl1pPr>
          </a:lstStyle>
          <a:p>
            <a:r>
              <a:rPr lang="en-US" altLang="zh-CN" dirty="0" smtClean="0">
                <a:latin typeface="Arial" pitchFamily="34" charset="0"/>
                <a:cs typeface="Arial" pitchFamily="34" charset="0"/>
              </a:rPr>
              <a:t>L</a:t>
            </a:r>
            <a:r>
              <a:rPr lang="en-US" dirty="0" smtClean="0">
                <a:latin typeface="Arial" pitchFamily="34" charset="0"/>
                <a:cs typeface="Arial" pitchFamily="34" charset="0"/>
              </a:rPr>
              <a:t>ocations and market regions in China</a:t>
            </a:r>
            <a:r>
              <a:rPr lang="en-US" dirty="0" smtClean="0"/>
              <a:t/>
            </a:r>
            <a:br>
              <a:rPr lang="en-US" dirty="0" smtClean="0"/>
            </a:br>
            <a:r>
              <a:rPr lang="zh-CN" altLang="en-US" dirty="0" smtClean="0">
                <a:latin typeface="微软雅黑" pitchFamily="34" charset="-122"/>
                <a:ea typeface="微软雅黑" pitchFamily="34" charset="-122"/>
              </a:rPr>
              <a:t>在中国的地址和市场区域</a:t>
            </a:r>
            <a:endParaRPr lang="zh-CN" altLang="en-US" dirty="0"/>
          </a:p>
        </p:txBody>
      </p:sp>
      <p:sp>
        <p:nvSpPr>
          <p:cNvPr id="3" name="Footer Placeholder 2"/>
          <p:cNvSpPr>
            <a:spLocks noGrp="1"/>
          </p:cNvSpPr>
          <p:nvPr>
            <p:ph type="ftr" sz="quarter" idx="10"/>
          </p:nvPr>
        </p:nvSpPr>
        <p:spPr/>
        <p:txBody>
          <a:bodyPr/>
          <a:lstStyle/>
          <a:p>
            <a:r>
              <a:rPr lang="en-US" noProof="0" smtClean="0"/>
              <a:t>Presentation Tools &amp; Equipment (04. January 2017)</a:t>
            </a:r>
            <a:endParaRPr lang="en-US" noProof="0" dirty="0"/>
          </a:p>
        </p:txBody>
      </p:sp>
    </p:spTree>
    <p:extLst>
      <p:ext uri="{BB962C8B-B14F-4D97-AF65-F5344CB8AC3E}">
        <p14:creationId xmlns:p14="http://schemas.microsoft.com/office/powerpoint/2010/main" val="209056499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Textplatzhalter 3"/>
          <p:cNvSpPr txBox="1">
            <a:spLocks/>
          </p:cNvSpPr>
          <p:nvPr/>
        </p:nvSpPr>
        <p:spPr bwMode="gray">
          <a:xfrm>
            <a:off x="8780" y="2565400"/>
            <a:ext cx="4105275" cy="2376488"/>
          </a:xfrm>
          <a:prstGeom prst="rect">
            <a:avLst/>
          </a:prstGeom>
          <a:solidFill>
            <a:schemeClr val="bg2"/>
          </a:solidFill>
          <a:effectLst>
            <a:outerShdw blurRad="50800" dist="38100" dir="2700000" algn="tl" rotWithShape="0">
              <a:prstClr val="black">
                <a:alpha val="40000"/>
              </a:prstClr>
            </a:outerShdw>
          </a:effectLst>
        </p:spPr>
        <p:txBody>
          <a:bodyPr vert="horz" lIns="72000" tIns="36000" rIns="1080000" bIns="36000" rtlCol="0" anchor="ctr">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marL="446088">
              <a:lnSpc>
                <a:spcPct val="114000"/>
              </a:lnSpc>
            </a:pPr>
            <a:r>
              <a:rPr lang="en" sz="1400" dirty="0">
                <a:solidFill>
                  <a:schemeClr val="bg1"/>
                </a:solidFill>
              </a:rPr>
              <a:t>The Oerlikon Balzers production process ensures high, reproducible quality all the time – </a:t>
            </a:r>
            <a:r>
              <a:rPr lang="en" sz="1400" dirty="0" smtClean="0">
                <a:solidFill>
                  <a:schemeClr val="bg1"/>
                </a:solidFill>
              </a:rPr>
              <a:t>worldwide.</a:t>
            </a:r>
          </a:p>
          <a:p>
            <a:pPr marL="446088">
              <a:lnSpc>
                <a:spcPct val="114000"/>
              </a:lnSpc>
            </a:pPr>
            <a:r>
              <a:rPr lang="zh-CN" altLang="en-US" sz="1400" dirty="0">
                <a:solidFill>
                  <a:schemeClr val="bg1"/>
                </a:solidFill>
                <a:latin typeface="微软雅黑" panose="020B0503020204020204" pitchFamily="34" charset="-122"/>
                <a:ea typeface="微软雅黑" panose="020B0503020204020204" pitchFamily="34" charset="-122"/>
              </a:rPr>
              <a:t>欧瑞康</a:t>
            </a:r>
            <a:r>
              <a:rPr lang="zh-CN" altLang="en-US" sz="1400" dirty="0" smtClean="0">
                <a:solidFill>
                  <a:schemeClr val="bg1"/>
                </a:solidFill>
                <a:latin typeface="微软雅黑" panose="020B0503020204020204" pitchFamily="34" charset="-122"/>
                <a:ea typeface="微软雅黑" panose="020B0503020204020204" pitchFamily="34" charset="-122"/>
              </a:rPr>
              <a:t>巴尔查斯的生产工艺在全球范围内一直确保高质量、稳定工艺</a:t>
            </a:r>
            <a:endParaRPr lang="de-CH" sz="1400" dirty="0">
              <a:solidFill>
                <a:schemeClr val="bg1"/>
              </a:solidFill>
              <a:latin typeface="微软雅黑" panose="020B0503020204020204" pitchFamily="34" charset="-122"/>
              <a:ea typeface="微软雅黑" panose="020B0503020204020204" pitchFamily="34" charset="-122"/>
            </a:endParaRPr>
          </a:p>
        </p:txBody>
      </p:sp>
      <p:pic>
        <p:nvPicPr>
          <p:cNvPr id="34" name="Grafik 33"/>
          <p:cNvPicPr>
            <a:picLocks/>
          </p:cNvPicPr>
          <p:nvPr/>
        </p:nvPicPr>
        <p:blipFill rotWithShape="1">
          <a:blip r:embed="rId7">
            <a:extLst>
              <a:ext uri="{28A0092B-C50C-407E-A947-70E740481C1C}">
                <a14:useLocalDpi xmlns:a14="http://schemas.microsoft.com/office/drawing/2010/main" val="0"/>
              </a:ext>
            </a:extLst>
          </a:blip>
          <a:srcRect l="12152" t="12053" r="12322" b="12421"/>
          <a:stretch/>
        </p:blipFill>
        <p:spPr>
          <a:xfrm>
            <a:off x="3263519" y="1052512"/>
            <a:ext cx="5547225" cy="5547225"/>
          </a:xfrm>
          <a:prstGeom prst="ellipse">
            <a:avLst/>
          </a:prstGeom>
          <a:ln w="76200">
            <a:solidFill>
              <a:schemeClr val="bg1"/>
            </a:solidFill>
          </a:ln>
          <a:effectLst>
            <a:outerShdw blurRad="50800" dist="38100" dir="2700000" algn="tl" rotWithShape="0">
              <a:prstClr val="black">
                <a:alpha val="40000"/>
              </a:prstClr>
            </a:outerShdw>
          </a:effectLst>
        </p:spPr>
      </p:pic>
      <p:sp>
        <p:nvSpPr>
          <p:cNvPr id="2" name="Titel 1"/>
          <p:cNvSpPr>
            <a:spLocks noGrp="1"/>
          </p:cNvSpPr>
          <p:nvPr>
            <p:ph type="title"/>
          </p:nvPr>
        </p:nvSpPr>
        <p:spPr/>
        <p:txBody>
          <a:bodyPr/>
          <a:lstStyle/>
          <a:p>
            <a:r>
              <a:rPr lang="en" dirty="0"/>
              <a:t>Production </a:t>
            </a:r>
            <a:r>
              <a:rPr lang="en" dirty="0" smtClean="0"/>
              <a:t>workflow </a:t>
            </a:r>
            <a:r>
              <a:rPr lang="en" dirty="0"/>
              <a:t>for </a:t>
            </a:r>
            <a:r>
              <a:rPr lang="en" dirty="0" smtClean="0"/>
              <a:t>tool coatings</a:t>
            </a:r>
            <a:br>
              <a:rPr lang="en" dirty="0" smtClean="0"/>
            </a:br>
            <a:r>
              <a:rPr lang="zh-CN" altLang="en-US" dirty="0" smtClean="0">
                <a:latin typeface="微软雅黑" panose="020B0503020204020204" pitchFamily="34" charset="-122"/>
                <a:ea typeface="微软雅黑" panose="020B0503020204020204" pitchFamily="34" charset="-122"/>
              </a:rPr>
              <a:t>工具涂层生产流程</a:t>
            </a:r>
            <a:endParaRPr lang="de-CH" dirty="0">
              <a:latin typeface="微软雅黑" panose="020B0503020204020204" pitchFamily="34" charset="-122"/>
              <a:ea typeface="微软雅黑" panose="020B0503020204020204" pitchFamily="34" charset="-122"/>
            </a:endParaRPr>
          </a:p>
        </p:txBody>
      </p:sp>
      <p:pic>
        <p:nvPicPr>
          <p:cNvPr id="20" name="Grafik 19"/>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rot="269459">
            <a:off x="4504592" y="2345934"/>
            <a:ext cx="3074338" cy="2987211"/>
          </a:xfrm>
          <a:prstGeom prst="rect">
            <a:avLst/>
          </a:prstGeom>
        </p:spPr>
      </p:pic>
      <p:sp>
        <p:nvSpPr>
          <p:cNvPr id="23" name="Text Box 38"/>
          <p:cNvSpPr txBox="1">
            <a:spLocks noChangeArrowheads="1"/>
          </p:cNvSpPr>
          <p:nvPr/>
        </p:nvSpPr>
        <p:spPr bwMode="auto">
          <a:xfrm>
            <a:off x="6223936" y="1036848"/>
            <a:ext cx="605320"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hangingPunct="0"/>
            <a:r>
              <a:rPr lang="en" sz="1050" b="1" dirty="0" smtClean="0">
                <a:solidFill>
                  <a:schemeClr val="bg2"/>
                </a:solidFill>
              </a:rPr>
              <a:t>Pick-up</a:t>
            </a:r>
            <a:r>
              <a:rPr lang="zh-CN" altLang="en-US" sz="1050" b="1" dirty="0" smtClean="0">
                <a:solidFill>
                  <a:schemeClr val="bg2"/>
                </a:solidFill>
                <a:latin typeface="微软雅黑" panose="020B0503020204020204" pitchFamily="34" charset="-122"/>
                <a:ea typeface="微软雅黑" panose="020B0503020204020204" pitchFamily="34" charset="-122"/>
              </a:rPr>
              <a:t>取货</a:t>
            </a:r>
            <a:endParaRPr lang="en" altLang="de-DE" sz="1050" b="1" dirty="0">
              <a:solidFill>
                <a:schemeClr val="bg2"/>
              </a:solidFill>
              <a:latin typeface="微软雅黑" panose="020B0503020204020204" pitchFamily="34" charset="-122"/>
              <a:ea typeface="微软雅黑" panose="020B0503020204020204" pitchFamily="34" charset="-122"/>
            </a:endParaRPr>
          </a:p>
        </p:txBody>
      </p:sp>
      <p:sp>
        <p:nvSpPr>
          <p:cNvPr id="24" name="Text Box 39"/>
          <p:cNvSpPr txBox="1">
            <a:spLocks noChangeArrowheads="1"/>
          </p:cNvSpPr>
          <p:nvPr/>
        </p:nvSpPr>
        <p:spPr bwMode="auto">
          <a:xfrm>
            <a:off x="7936130" y="4410762"/>
            <a:ext cx="596310" cy="323165"/>
          </a:xfrm>
          <a:prstGeom prst="rect">
            <a:avLst/>
          </a:prstGeom>
          <a:solidFill>
            <a:schemeClr val="accent1">
              <a:lumMod val="50000"/>
              <a:alpha val="69804"/>
            </a:schemeClr>
          </a:solidFill>
          <a:ln>
            <a:noFill/>
          </a:ln>
          <a:effectLst/>
          <a:extLst/>
        </p:spPr>
        <p:txBody>
          <a:bodyPr wrap="square" lIns="0" tIns="0" rIns="0" bIns="0" anchor="ctr">
            <a:spAutoFit/>
          </a:bodyPr>
          <a:lstStyle/>
          <a:p>
            <a:pPr eaLnBrk="0" hangingPunct="0"/>
            <a:r>
              <a:rPr lang="en" sz="1050" b="1" dirty="0" smtClean="0">
                <a:solidFill>
                  <a:schemeClr val="bg1"/>
                </a:solidFill>
              </a:rPr>
              <a:t>Cleaning</a:t>
            </a:r>
            <a:r>
              <a:rPr lang="zh-CN" altLang="en-US" sz="1050" b="1" dirty="0" smtClean="0">
                <a:solidFill>
                  <a:schemeClr val="bg1"/>
                </a:solidFill>
                <a:latin typeface="微软雅黑" panose="020B0503020204020204" pitchFamily="34" charset="-122"/>
                <a:ea typeface="微软雅黑" panose="020B0503020204020204" pitchFamily="34" charset="-122"/>
              </a:rPr>
              <a:t>清洗</a:t>
            </a:r>
            <a:endParaRPr lang="en" altLang="de-DE" sz="1050" b="1" dirty="0">
              <a:solidFill>
                <a:schemeClr val="bg1"/>
              </a:solidFill>
              <a:latin typeface="微软雅黑" panose="020B0503020204020204" pitchFamily="34" charset="-122"/>
              <a:ea typeface="微软雅黑" panose="020B0503020204020204" pitchFamily="34" charset="-122"/>
            </a:endParaRPr>
          </a:p>
        </p:txBody>
      </p:sp>
      <p:sp>
        <p:nvSpPr>
          <p:cNvPr id="26" name="Text Box 41"/>
          <p:cNvSpPr txBox="1">
            <a:spLocks noChangeArrowheads="1"/>
          </p:cNvSpPr>
          <p:nvPr/>
        </p:nvSpPr>
        <p:spPr bwMode="auto">
          <a:xfrm>
            <a:off x="6086674" y="6137920"/>
            <a:ext cx="1005606" cy="323165"/>
          </a:xfrm>
          <a:prstGeom prst="rect">
            <a:avLst/>
          </a:prstGeom>
          <a:solidFill>
            <a:schemeClr val="accent1">
              <a:lumMod val="50000"/>
              <a:alpha val="69804"/>
            </a:schemeClr>
          </a:solidFill>
          <a:ln>
            <a:noFill/>
          </a:ln>
          <a:effectLst/>
          <a:extLst/>
        </p:spPr>
        <p:txBody>
          <a:bodyPr wrap="square" lIns="0" tIns="0" rIns="0" bIns="0" anchor="ctr">
            <a:spAutoFit/>
          </a:bodyPr>
          <a:lstStyle/>
          <a:p>
            <a:pPr eaLnBrk="0" hangingPunct="0">
              <a:buFontTx/>
              <a:buNone/>
            </a:pPr>
            <a:r>
              <a:rPr lang="en" sz="1050" b="1" dirty="0" smtClean="0">
                <a:solidFill>
                  <a:schemeClr val="bg1"/>
                </a:solidFill>
              </a:rPr>
              <a:t>Pre-treatment </a:t>
            </a:r>
            <a:r>
              <a:rPr lang="zh-CN" altLang="en-US" sz="1050" b="1" dirty="0" smtClean="0">
                <a:solidFill>
                  <a:schemeClr val="bg1"/>
                </a:solidFill>
                <a:latin typeface="微软雅黑" panose="020B0503020204020204" pitchFamily="34" charset="-122"/>
                <a:ea typeface="微软雅黑" panose="020B0503020204020204" pitchFamily="34" charset="-122"/>
              </a:rPr>
              <a:t>前处理</a:t>
            </a:r>
            <a:endParaRPr lang="en-US" altLang="de-DE" sz="1050" b="1" dirty="0">
              <a:solidFill>
                <a:schemeClr val="bg1"/>
              </a:solidFill>
              <a:latin typeface="微软雅黑" panose="020B0503020204020204" pitchFamily="34" charset="-122"/>
              <a:ea typeface="微软雅黑" panose="020B0503020204020204" pitchFamily="34" charset="-122"/>
            </a:endParaRPr>
          </a:p>
        </p:txBody>
      </p:sp>
      <p:sp>
        <p:nvSpPr>
          <p:cNvPr id="27" name="Text Box 42"/>
          <p:cNvSpPr txBox="1">
            <a:spLocks noChangeArrowheads="1"/>
          </p:cNvSpPr>
          <p:nvPr/>
        </p:nvSpPr>
        <p:spPr bwMode="auto">
          <a:xfrm>
            <a:off x="3433371" y="4563561"/>
            <a:ext cx="850597" cy="161583"/>
          </a:xfrm>
          <a:prstGeom prst="rect">
            <a:avLst/>
          </a:prstGeom>
          <a:solidFill>
            <a:schemeClr val="accent1">
              <a:lumMod val="50000"/>
              <a:alpha val="69804"/>
            </a:schemeClr>
          </a:solidFill>
          <a:ln>
            <a:noFill/>
          </a:ln>
          <a:effectLst/>
          <a:extLst/>
        </p:spPr>
        <p:txBody>
          <a:bodyPr wrap="square" lIns="0" tIns="0" rIns="0" bIns="0" anchor="ctr">
            <a:spAutoFit/>
          </a:bodyPr>
          <a:lstStyle/>
          <a:p>
            <a:pPr eaLnBrk="0" hangingPunct="0">
              <a:buFontTx/>
              <a:buNone/>
            </a:pPr>
            <a:r>
              <a:rPr lang="en" sz="1050" b="1" dirty="0" smtClean="0">
                <a:solidFill>
                  <a:schemeClr val="bg1"/>
                </a:solidFill>
              </a:rPr>
              <a:t>Coating</a:t>
            </a:r>
            <a:r>
              <a:rPr lang="zh-CN" altLang="en-US" sz="1050" b="1" dirty="0" smtClean="0">
                <a:solidFill>
                  <a:schemeClr val="bg1"/>
                </a:solidFill>
                <a:latin typeface="微软雅黑" panose="020B0503020204020204" pitchFamily="34" charset="-122"/>
                <a:ea typeface="微软雅黑" panose="020B0503020204020204" pitchFamily="34" charset="-122"/>
              </a:rPr>
              <a:t>涂层</a:t>
            </a:r>
            <a:endParaRPr lang="en-US" altLang="de-DE" sz="1050" b="1" dirty="0">
              <a:solidFill>
                <a:schemeClr val="bg1"/>
              </a:solidFill>
              <a:latin typeface="微软雅黑" panose="020B0503020204020204" pitchFamily="34" charset="-122"/>
              <a:ea typeface="微软雅黑" panose="020B0503020204020204" pitchFamily="34" charset="-122"/>
            </a:endParaRPr>
          </a:p>
        </p:txBody>
      </p:sp>
      <p:sp>
        <p:nvSpPr>
          <p:cNvPr id="28" name="Text Box 37"/>
          <p:cNvSpPr txBox="1">
            <a:spLocks noChangeArrowheads="1"/>
          </p:cNvSpPr>
          <p:nvPr/>
        </p:nvSpPr>
        <p:spPr bwMode="auto">
          <a:xfrm>
            <a:off x="5220072" y="1183105"/>
            <a:ext cx="720080" cy="484748"/>
          </a:xfrm>
          <a:prstGeom prst="rect">
            <a:avLst/>
          </a:prstGeom>
          <a:solidFill>
            <a:schemeClr val="accent1">
              <a:lumMod val="50000"/>
              <a:alpha val="69804"/>
            </a:schemeClr>
          </a:solidFill>
          <a:ln>
            <a:noFill/>
          </a:ln>
          <a:effectLst/>
          <a:extLst/>
        </p:spPr>
        <p:txBody>
          <a:bodyPr wrap="square" lIns="0" tIns="0" rIns="0" bIns="0" anchor="ctr">
            <a:spAutoFit/>
          </a:bodyPr>
          <a:lstStyle/>
          <a:p>
            <a:pPr algn="r" eaLnBrk="0" hangingPunct="0">
              <a:buFontTx/>
              <a:buNone/>
            </a:pPr>
            <a:r>
              <a:rPr lang="en-US" altLang="de-DE" sz="1050" b="1" dirty="0" smtClean="0">
                <a:solidFill>
                  <a:schemeClr val="bg1"/>
                </a:solidFill>
              </a:rPr>
              <a:t>Packaging/Delivery</a:t>
            </a:r>
            <a:r>
              <a:rPr lang="zh-CN" altLang="en-US" sz="1050" b="1" dirty="0" smtClean="0">
                <a:solidFill>
                  <a:schemeClr val="bg1"/>
                </a:solidFill>
                <a:latin typeface="微软雅黑" panose="020B0503020204020204" pitchFamily="34" charset="-122"/>
                <a:ea typeface="微软雅黑" panose="020B0503020204020204" pitchFamily="34" charset="-122"/>
              </a:rPr>
              <a:t>包装发货</a:t>
            </a:r>
            <a:endParaRPr lang="en-US" altLang="de-DE" sz="1050" b="1" dirty="0">
              <a:solidFill>
                <a:schemeClr val="bg1"/>
              </a:solidFill>
              <a:latin typeface="微软雅黑" panose="020B0503020204020204" pitchFamily="34" charset="-122"/>
              <a:ea typeface="微软雅黑" panose="020B0503020204020204" pitchFamily="34" charset="-122"/>
            </a:endParaRPr>
          </a:p>
        </p:txBody>
      </p:sp>
      <p:sp>
        <p:nvSpPr>
          <p:cNvPr id="5" name="Gleichschenkliges Dreieck 4"/>
          <p:cNvSpPr/>
          <p:nvPr/>
        </p:nvSpPr>
        <p:spPr>
          <a:xfrm rot="5400000">
            <a:off x="6007789" y="1145855"/>
            <a:ext cx="262923" cy="10515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CH" b="1" smtClean="0">
              <a:solidFill>
                <a:schemeClr val="tx1"/>
              </a:solidFill>
            </a:endParaRPr>
          </a:p>
        </p:txBody>
      </p:sp>
      <p:sp>
        <p:nvSpPr>
          <p:cNvPr id="35" name="Text Box 42"/>
          <p:cNvSpPr txBox="1">
            <a:spLocks noChangeArrowheads="1"/>
          </p:cNvSpPr>
          <p:nvPr/>
        </p:nvSpPr>
        <p:spPr bwMode="auto">
          <a:xfrm>
            <a:off x="3585770" y="2565400"/>
            <a:ext cx="778527" cy="484748"/>
          </a:xfrm>
          <a:prstGeom prst="rect">
            <a:avLst/>
          </a:prstGeom>
          <a:solidFill>
            <a:schemeClr val="accent1">
              <a:lumMod val="50000"/>
              <a:alpha val="69804"/>
            </a:schemeClr>
          </a:solidFill>
          <a:ln>
            <a:noFill/>
          </a:ln>
          <a:effectLst/>
          <a:extLst/>
        </p:spPr>
        <p:txBody>
          <a:bodyPr wrap="square" lIns="0" tIns="0" rIns="0" bIns="0" anchor="ctr">
            <a:spAutoFit/>
          </a:bodyPr>
          <a:lstStyle/>
          <a:p>
            <a:pPr eaLnBrk="0" hangingPunct="0">
              <a:buFontTx/>
              <a:buNone/>
            </a:pPr>
            <a:r>
              <a:rPr lang="en" sz="1050" b="1" dirty="0" smtClean="0">
                <a:solidFill>
                  <a:schemeClr val="bg1"/>
                </a:solidFill>
              </a:rPr>
              <a:t>Post-treatment </a:t>
            </a:r>
            <a:r>
              <a:rPr lang="zh-CN" altLang="en-US" sz="1050" b="1" dirty="0" smtClean="0">
                <a:solidFill>
                  <a:schemeClr val="bg1"/>
                </a:solidFill>
                <a:latin typeface="微软雅黑" panose="020B0503020204020204" pitchFamily="34" charset="-122"/>
                <a:ea typeface="微软雅黑" panose="020B0503020204020204" pitchFamily="34" charset="-122"/>
              </a:rPr>
              <a:t>后处理</a:t>
            </a:r>
            <a:endParaRPr lang="en-US" altLang="de-DE" sz="1050" b="1" dirty="0">
              <a:solidFill>
                <a:schemeClr val="bg1"/>
              </a:solidFill>
              <a:latin typeface="微软雅黑" panose="020B0503020204020204" pitchFamily="34" charset="-122"/>
              <a:ea typeface="微软雅黑" panose="020B0503020204020204" pitchFamily="34" charset="-122"/>
            </a:endParaRPr>
          </a:p>
        </p:txBody>
      </p:sp>
      <p:sp>
        <p:nvSpPr>
          <p:cNvPr id="16" name="Text Box 39"/>
          <p:cNvSpPr txBox="1">
            <a:spLocks noChangeArrowheads="1"/>
          </p:cNvSpPr>
          <p:nvPr/>
        </p:nvSpPr>
        <p:spPr bwMode="auto">
          <a:xfrm>
            <a:off x="7812360" y="2452856"/>
            <a:ext cx="720080" cy="484748"/>
          </a:xfrm>
          <a:prstGeom prst="rect">
            <a:avLst/>
          </a:prstGeom>
          <a:solidFill>
            <a:schemeClr val="accent1">
              <a:lumMod val="50000"/>
              <a:alpha val="69804"/>
            </a:schemeClr>
          </a:solidFill>
          <a:ln>
            <a:noFill/>
          </a:ln>
          <a:effectLst/>
          <a:extLst/>
        </p:spPr>
        <p:txBody>
          <a:bodyPr wrap="square" lIns="0" tIns="0" rIns="0" bIns="0" anchor="ctr">
            <a:spAutoFit/>
          </a:bodyPr>
          <a:lstStyle/>
          <a:p>
            <a:pPr eaLnBrk="0" hangingPunct="0"/>
            <a:r>
              <a:rPr lang="en" sz="1050" b="1" dirty="0">
                <a:solidFill>
                  <a:schemeClr val="bg1"/>
                </a:solidFill>
              </a:rPr>
              <a:t>Incoming</a:t>
            </a:r>
            <a:br>
              <a:rPr lang="en" sz="1050" b="1" dirty="0">
                <a:solidFill>
                  <a:schemeClr val="bg1"/>
                </a:solidFill>
              </a:rPr>
            </a:br>
            <a:r>
              <a:rPr lang="en" sz="1050" b="1" dirty="0" smtClean="0">
                <a:solidFill>
                  <a:schemeClr val="bg1"/>
                </a:solidFill>
              </a:rPr>
              <a:t>Inspection</a:t>
            </a:r>
            <a:r>
              <a:rPr lang="zh-CN" altLang="en-US" sz="1050" b="1" dirty="0" smtClean="0">
                <a:solidFill>
                  <a:schemeClr val="bg1"/>
                </a:solidFill>
                <a:latin typeface="微软雅黑" panose="020B0503020204020204" pitchFamily="34" charset="-122"/>
                <a:ea typeface="微软雅黑" panose="020B0503020204020204" pitchFamily="34" charset="-122"/>
              </a:rPr>
              <a:t>来料检验</a:t>
            </a:r>
            <a:endParaRPr lang="en" altLang="de-DE" sz="1050" b="1" dirty="0">
              <a:solidFill>
                <a:schemeClr val="bg1"/>
              </a:solidFill>
              <a:latin typeface="微软雅黑" panose="020B0503020204020204" pitchFamily="34" charset="-122"/>
              <a:ea typeface="微软雅黑" panose="020B0503020204020204" pitchFamily="34" charset="-122"/>
            </a:endParaRPr>
          </a:p>
        </p:txBody>
      </p:sp>
      <p:grpSp>
        <p:nvGrpSpPr>
          <p:cNvPr id="17" name="Gruppieren 16"/>
          <p:cNvGrpSpPr/>
          <p:nvPr/>
        </p:nvGrpSpPr>
        <p:grpSpPr>
          <a:xfrm>
            <a:off x="7749024" y="5733450"/>
            <a:ext cx="970521" cy="970521"/>
            <a:chOff x="6609666" y="5734050"/>
            <a:chExt cx="970521" cy="970521"/>
          </a:xfrm>
        </p:grpSpPr>
        <p:sp>
          <p:nvSpPr>
            <p:cNvPr id="18" name="Ellipse 17"/>
            <p:cNvSpPr/>
            <p:nvPr/>
          </p:nvSpPr>
          <p:spPr>
            <a:xfrm>
              <a:off x="6609666" y="5734050"/>
              <a:ext cx="970521" cy="970521"/>
            </a:xfrm>
            <a:prstGeom prst="ellipse">
              <a:avLst/>
            </a:prstGeom>
            <a:solidFill>
              <a:schemeClr val="bg2">
                <a:alpha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algn="ctr"/>
              <a:endParaRPr lang="de-CH" b="1" dirty="0" smtClean="0">
                <a:solidFill>
                  <a:schemeClr val="bg1"/>
                </a:solidFill>
              </a:endParaRPr>
            </a:p>
          </p:txBody>
        </p:sp>
        <p:pic>
          <p:nvPicPr>
            <p:cNvPr id="21" name="Grafik 2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27518" y="5923766"/>
              <a:ext cx="665814" cy="633349"/>
            </a:xfrm>
            <a:prstGeom prst="rect">
              <a:avLst/>
            </a:prstGeom>
          </p:spPr>
        </p:pic>
      </p:grpSp>
    </p:spTree>
    <p:extLst>
      <p:ext uri="{BB962C8B-B14F-4D97-AF65-F5344CB8AC3E}">
        <p14:creationId xmlns:p14="http://schemas.microsoft.com/office/powerpoint/2010/main" val="59608186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p:cNvSpPr>
            <a:spLocks noGrp="1" noChangeArrowheads="1"/>
          </p:cNvSpPr>
          <p:nvPr>
            <p:ph type="title"/>
          </p:nvPr>
        </p:nvSpPr>
        <p:spPr/>
        <p:txBody>
          <a:bodyPr/>
          <a:lstStyle/>
          <a:p>
            <a:r>
              <a:rPr lang="de-DE" dirty="0"/>
              <a:t>Key statements in gear cutting </a:t>
            </a:r>
            <a:r>
              <a:rPr lang="de-DE" dirty="0" smtClean="0"/>
              <a:t>application</a:t>
            </a:r>
            <a:br>
              <a:rPr lang="de-DE" dirty="0" smtClean="0"/>
            </a:br>
            <a:r>
              <a:rPr lang="zh-CN" altLang="en-US" dirty="0"/>
              <a:t>齿</a:t>
            </a:r>
            <a:r>
              <a:rPr lang="zh-CN" altLang="en-US" dirty="0" smtClean="0"/>
              <a:t>轮加工应用中的关键陈述</a:t>
            </a:r>
            <a:r>
              <a:rPr lang="de-DE" dirty="0"/>
              <a:t/>
            </a:r>
            <a:br>
              <a:rPr lang="de-DE" dirty="0"/>
            </a:br>
            <a:endParaRPr lang="en-GB" dirty="0"/>
          </a:p>
        </p:txBody>
      </p:sp>
      <p:sp>
        <p:nvSpPr>
          <p:cNvPr id="158723" name="Text Box 3"/>
          <p:cNvSpPr txBox="1">
            <a:spLocks noChangeArrowheads="1"/>
          </p:cNvSpPr>
          <p:nvPr/>
        </p:nvSpPr>
        <p:spPr bwMode="auto">
          <a:xfrm>
            <a:off x="268855" y="1263485"/>
            <a:ext cx="4931298" cy="4308872"/>
          </a:xfrm>
          <a:prstGeom prst="rect">
            <a:avLst/>
          </a:prstGeom>
          <a:noFill/>
          <a:ln>
            <a:noFill/>
          </a:ln>
          <a:effectLst/>
          <a:extLst/>
        </p:spPr>
        <p:txBody>
          <a:bodyPr wrap="square">
            <a:spAutoFit/>
          </a:bodyPr>
          <a:lstStyle>
            <a:lvl1pPr marL="261938" indent="-261938" eaLnBrk="0" hangingPunct="0">
              <a:defRPr sz="1400">
                <a:solidFill>
                  <a:schemeClr val="tx1"/>
                </a:solidFill>
                <a:latin typeface="Arial" charset="0"/>
              </a:defRPr>
            </a:lvl1pPr>
            <a:lvl2pPr eaLnBrk="0" hangingPunct="0">
              <a:defRPr sz="1400">
                <a:solidFill>
                  <a:schemeClr val="tx1"/>
                </a:solidFill>
                <a:latin typeface="Arial" charset="0"/>
              </a:defRPr>
            </a:lvl2pPr>
            <a:lvl3pPr eaLnBrk="0" hangingPunct="0">
              <a:defRPr sz="1400">
                <a:solidFill>
                  <a:schemeClr val="tx1"/>
                </a:solidFill>
                <a:latin typeface="Arial" charset="0"/>
              </a:defRPr>
            </a:lvl3pPr>
            <a:lvl4pPr eaLnBrk="0" hangingPunct="0">
              <a:defRPr sz="1400">
                <a:solidFill>
                  <a:schemeClr val="tx1"/>
                </a:solidFill>
                <a:latin typeface="Arial" charset="0"/>
              </a:defRPr>
            </a:lvl4pPr>
            <a:lvl5pPr eaLnBrk="0" hangingPunct="0">
              <a:defRPr sz="1400">
                <a:solidFill>
                  <a:schemeClr val="tx1"/>
                </a:solidFill>
                <a:latin typeface="Arial" charset="0"/>
              </a:defRPr>
            </a:lvl5pPr>
            <a:lvl6pPr eaLnBrk="0" fontAlgn="base" hangingPunct="0">
              <a:spcBef>
                <a:spcPct val="0"/>
              </a:spcBef>
              <a:spcAft>
                <a:spcPct val="0"/>
              </a:spcAft>
              <a:defRPr sz="1400">
                <a:solidFill>
                  <a:schemeClr val="tx1"/>
                </a:solidFill>
                <a:latin typeface="Arial" charset="0"/>
              </a:defRPr>
            </a:lvl6pPr>
            <a:lvl7pPr eaLnBrk="0" fontAlgn="base" hangingPunct="0">
              <a:spcBef>
                <a:spcPct val="0"/>
              </a:spcBef>
              <a:spcAft>
                <a:spcPct val="0"/>
              </a:spcAft>
              <a:defRPr sz="1400">
                <a:solidFill>
                  <a:schemeClr val="tx1"/>
                </a:solidFill>
                <a:latin typeface="Arial" charset="0"/>
              </a:defRPr>
            </a:lvl7pPr>
            <a:lvl8pPr eaLnBrk="0" fontAlgn="base" hangingPunct="0">
              <a:spcBef>
                <a:spcPct val="0"/>
              </a:spcBef>
              <a:spcAft>
                <a:spcPct val="0"/>
              </a:spcAft>
              <a:defRPr sz="1400">
                <a:solidFill>
                  <a:schemeClr val="tx1"/>
                </a:solidFill>
                <a:latin typeface="Arial" charset="0"/>
              </a:defRPr>
            </a:lvl8pPr>
            <a:lvl9pPr eaLnBrk="0" fontAlgn="base" hangingPunct="0">
              <a:spcBef>
                <a:spcPct val="0"/>
              </a:spcBef>
              <a:spcAft>
                <a:spcPct val="0"/>
              </a:spcAft>
              <a:defRPr sz="1400">
                <a:solidFill>
                  <a:schemeClr val="tx1"/>
                </a:solidFill>
                <a:latin typeface="Arial" charset="0"/>
              </a:defRPr>
            </a:lvl9pPr>
          </a:lstStyle>
          <a:p>
            <a:pPr marL="342900" indent="-342900" defTabSz="361950">
              <a:lnSpc>
                <a:spcPct val="130000"/>
              </a:lnSpc>
              <a:spcBef>
                <a:spcPct val="50000"/>
              </a:spcBef>
              <a:buClr>
                <a:schemeClr val="bg2"/>
              </a:buClr>
              <a:buFont typeface="Wingdings" pitchFamily="2" charset="2"/>
              <a:buChar char="Ø"/>
            </a:pPr>
            <a:r>
              <a:rPr lang="de-DE" sz="2000" dirty="0" smtClean="0"/>
              <a:t>Market </a:t>
            </a:r>
            <a:r>
              <a:rPr lang="de-DE" sz="2000" dirty="0"/>
              <a:t>is strongly enduser driven 	</a:t>
            </a:r>
            <a:r>
              <a:rPr lang="de-DE" sz="2000" dirty="0" smtClean="0"/>
              <a:t>(Automotive </a:t>
            </a:r>
            <a:r>
              <a:rPr lang="de-DE" sz="2000" dirty="0"/>
              <a:t>companies</a:t>
            </a:r>
            <a:r>
              <a:rPr lang="de-DE" sz="2000" dirty="0" smtClean="0"/>
              <a:t>)</a:t>
            </a:r>
            <a:r>
              <a:rPr lang="zh-CN" altLang="en-US" sz="2000" dirty="0" smtClean="0"/>
              <a:t>市场由强大的终端用户驱使（汽车公司）</a:t>
            </a:r>
            <a:endParaRPr lang="de-DE" sz="2000" dirty="0"/>
          </a:p>
          <a:p>
            <a:pPr marL="342900" indent="-342900">
              <a:lnSpc>
                <a:spcPct val="130000"/>
              </a:lnSpc>
              <a:spcBef>
                <a:spcPct val="50000"/>
              </a:spcBef>
              <a:buClr>
                <a:schemeClr val="bg2"/>
              </a:buClr>
              <a:buFont typeface="Wingdings" pitchFamily="2" charset="2"/>
              <a:buChar char="Ø"/>
            </a:pPr>
            <a:r>
              <a:rPr lang="de-DE" sz="2000" dirty="0"/>
              <a:t>First to adapt new </a:t>
            </a:r>
            <a:r>
              <a:rPr lang="de-DE" sz="2000" dirty="0" smtClean="0"/>
              <a:t>coatings</a:t>
            </a:r>
            <a:r>
              <a:rPr lang="zh-CN" altLang="en-US" sz="2000" dirty="0" smtClean="0"/>
              <a:t>最先采用新涂层</a:t>
            </a:r>
            <a:endParaRPr lang="de-DE" sz="2000" dirty="0"/>
          </a:p>
          <a:p>
            <a:pPr marL="342900" indent="-342900">
              <a:lnSpc>
                <a:spcPct val="130000"/>
              </a:lnSpc>
              <a:spcBef>
                <a:spcPct val="50000"/>
              </a:spcBef>
              <a:buClr>
                <a:schemeClr val="bg2"/>
              </a:buClr>
              <a:buFont typeface="Wingdings" pitchFamily="2" charset="2"/>
              <a:buChar char="Ø"/>
            </a:pPr>
            <a:r>
              <a:rPr lang="de-DE" sz="2000" dirty="0"/>
              <a:t>Trend to dry </a:t>
            </a:r>
            <a:r>
              <a:rPr lang="de-DE" sz="2000" dirty="0" smtClean="0"/>
              <a:t>machining</a:t>
            </a:r>
            <a:r>
              <a:rPr lang="zh-CN" altLang="en-US" sz="2000" dirty="0" smtClean="0"/>
              <a:t>干式加工的趋势</a:t>
            </a:r>
            <a:endParaRPr lang="de-DE" sz="2000" dirty="0"/>
          </a:p>
          <a:p>
            <a:pPr marL="342900" indent="-342900">
              <a:lnSpc>
                <a:spcPct val="130000"/>
              </a:lnSpc>
              <a:spcBef>
                <a:spcPct val="50000"/>
              </a:spcBef>
              <a:buClr>
                <a:schemeClr val="bg2"/>
              </a:buClr>
              <a:buFont typeface="Wingdings" pitchFamily="2" charset="2"/>
              <a:buChar char="Ø"/>
            </a:pPr>
            <a:r>
              <a:rPr lang="de-DE" sz="2000" dirty="0"/>
              <a:t>Reliability of </a:t>
            </a:r>
            <a:r>
              <a:rPr lang="de-DE" sz="2000" dirty="0" smtClean="0"/>
              <a:t>products</a:t>
            </a:r>
            <a:r>
              <a:rPr lang="zh-CN" altLang="en-US" sz="2000" dirty="0" smtClean="0"/>
              <a:t>产品的可靠性</a:t>
            </a:r>
            <a:endParaRPr lang="de-DE" sz="2000" dirty="0" smtClean="0"/>
          </a:p>
          <a:p>
            <a:pPr marL="342900" indent="-342900">
              <a:lnSpc>
                <a:spcPct val="130000"/>
              </a:lnSpc>
              <a:spcBef>
                <a:spcPct val="50000"/>
              </a:spcBef>
              <a:buClr>
                <a:schemeClr val="bg2"/>
              </a:buClr>
              <a:buFont typeface="Wingdings" pitchFamily="2" charset="2"/>
              <a:buChar char="Ø"/>
            </a:pPr>
            <a:r>
              <a:rPr lang="de-DE" sz="2000" dirty="0"/>
              <a:t>Productivity is most important </a:t>
            </a:r>
            <a:r>
              <a:rPr lang="de-DE" sz="2000" dirty="0" smtClean="0"/>
              <a:t>criterion</a:t>
            </a:r>
            <a:r>
              <a:rPr lang="zh-CN" altLang="en-US" sz="2000" dirty="0" smtClean="0"/>
              <a:t>生产率是最重要的</a:t>
            </a:r>
            <a:r>
              <a:rPr lang="zh-CN" altLang="en-US" sz="2000" dirty="0"/>
              <a:t>准则</a:t>
            </a:r>
            <a:endParaRPr lang="de-CH" sz="2000" dirty="0"/>
          </a:p>
        </p:txBody>
      </p:sp>
      <p:pic>
        <p:nvPicPr>
          <p:cNvPr id="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a:xfrm>
            <a:off x="5415148" y="1112719"/>
            <a:ext cx="3463184" cy="5196601"/>
          </a:xfrm>
          <a:prstGeom prst="rect">
            <a:avLst/>
          </a:prstGeom>
        </p:spPr>
      </p:pic>
    </p:spTree>
    <p:extLst>
      <p:ext uri="{BB962C8B-B14F-4D97-AF65-F5344CB8AC3E}">
        <p14:creationId xmlns:p14="http://schemas.microsoft.com/office/powerpoint/2010/main" val="18744546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7" name="Rectangle 3"/>
          <p:cNvSpPr>
            <a:spLocks noGrp="1" noChangeArrowheads="1"/>
          </p:cNvSpPr>
          <p:nvPr>
            <p:ph type="title"/>
          </p:nvPr>
        </p:nvSpPr>
        <p:spPr>
          <a:noFill/>
          <a:ln/>
        </p:spPr>
        <p:txBody>
          <a:bodyPr rIns="0"/>
          <a:lstStyle/>
          <a:p>
            <a:r>
              <a:rPr lang="en-GB" dirty="0"/>
              <a:t>Productivity is the </a:t>
            </a:r>
            <a:r>
              <a:rPr lang="en-GB" dirty="0" smtClean="0"/>
              <a:t>key</a:t>
            </a:r>
            <a:br>
              <a:rPr lang="en-GB" dirty="0" smtClean="0"/>
            </a:br>
            <a:r>
              <a:rPr lang="zh-CN" altLang="en-US" dirty="0"/>
              <a:t>生产</a:t>
            </a:r>
            <a:r>
              <a:rPr lang="zh-CN" altLang="en-US" dirty="0" smtClean="0"/>
              <a:t>率是关键</a:t>
            </a:r>
            <a:endParaRPr lang="en-GB" dirty="0"/>
          </a:p>
        </p:txBody>
      </p:sp>
      <p:sp>
        <p:nvSpPr>
          <p:cNvPr id="185348" name="Text Box 4"/>
          <p:cNvSpPr txBox="1">
            <a:spLocks noChangeArrowheads="1"/>
          </p:cNvSpPr>
          <p:nvPr/>
        </p:nvSpPr>
        <p:spPr bwMode="auto">
          <a:xfrm>
            <a:off x="4639325" y="1693858"/>
            <a:ext cx="4321777" cy="4401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1938" indent="-261938" eaLnBrk="0" hangingPunct="0">
              <a:defRPr sz="1400">
                <a:solidFill>
                  <a:schemeClr val="tx1"/>
                </a:solidFill>
                <a:latin typeface="Arial" charset="0"/>
              </a:defRPr>
            </a:lvl1pPr>
            <a:lvl2pPr eaLnBrk="0" hangingPunct="0">
              <a:defRPr sz="1400">
                <a:solidFill>
                  <a:schemeClr val="tx1"/>
                </a:solidFill>
                <a:latin typeface="Arial" charset="0"/>
              </a:defRPr>
            </a:lvl2pPr>
            <a:lvl3pPr eaLnBrk="0" hangingPunct="0">
              <a:defRPr sz="1400">
                <a:solidFill>
                  <a:schemeClr val="tx1"/>
                </a:solidFill>
                <a:latin typeface="Arial" charset="0"/>
              </a:defRPr>
            </a:lvl3pPr>
            <a:lvl4pPr eaLnBrk="0" hangingPunct="0">
              <a:defRPr sz="1400">
                <a:solidFill>
                  <a:schemeClr val="tx1"/>
                </a:solidFill>
                <a:latin typeface="Arial" charset="0"/>
              </a:defRPr>
            </a:lvl4pPr>
            <a:lvl5pPr eaLnBrk="0" hangingPunct="0">
              <a:defRPr sz="1400">
                <a:solidFill>
                  <a:schemeClr val="tx1"/>
                </a:solidFill>
                <a:latin typeface="Arial" charset="0"/>
              </a:defRPr>
            </a:lvl5pPr>
            <a:lvl6pPr eaLnBrk="0" fontAlgn="base" hangingPunct="0">
              <a:spcBef>
                <a:spcPct val="0"/>
              </a:spcBef>
              <a:spcAft>
                <a:spcPct val="0"/>
              </a:spcAft>
              <a:defRPr sz="1400">
                <a:solidFill>
                  <a:schemeClr val="tx1"/>
                </a:solidFill>
                <a:latin typeface="Arial" charset="0"/>
              </a:defRPr>
            </a:lvl6pPr>
            <a:lvl7pPr eaLnBrk="0" fontAlgn="base" hangingPunct="0">
              <a:spcBef>
                <a:spcPct val="0"/>
              </a:spcBef>
              <a:spcAft>
                <a:spcPct val="0"/>
              </a:spcAft>
              <a:defRPr sz="1400">
                <a:solidFill>
                  <a:schemeClr val="tx1"/>
                </a:solidFill>
                <a:latin typeface="Arial" charset="0"/>
              </a:defRPr>
            </a:lvl7pPr>
            <a:lvl8pPr eaLnBrk="0" fontAlgn="base" hangingPunct="0">
              <a:spcBef>
                <a:spcPct val="0"/>
              </a:spcBef>
              <a:spcAft>
                <a:spcPct val="0"/>
              </a:spcAft>
              <a:defRPr sz="1400">
                <a:solidFill>
                  <a:schemeClr val="tx1"/>
                </a:solidFill>
                <a:latin typeface="Arial" charset="0"/>
              </a:defRPr>
            </a:lvl8pPr>
            <a:lvl9pPr eaLnBrk="0" fontAlgn="base" hangingPunct="0">
              <a:spcBef>
                <a:spcPct val="0"/>
              </a:spcBef>
              <a:spcAft>
                <a:spcPct val="0"/>
              </a:spcAft>
              <a:defRPr sz="1400">
                <a:solidFill>
                  <a:schemeClr val="tx1"/>
                </a:solidFill>
                <a:latin typeface="Arial" charset="0"/>
              </a:defRPr>
            </a:lvl9pPr>
          </a:lstStyle>
          <a:p>
            <a:pPr marL="285750" indent="-285750">
              <a:spcBef>
                <a:spcPct val="50000"/>
              </a:spcBef>
              <a:buClr>
                <a:schemeClr val="bg2"/>
              </a:buClr>
              <a:buFont typeface="Wingdings" pitchFamily="2" charset="2"/>
              <a:buChar char="Ø"/>
            </a:pPr>
            <a:r>
              <a:rPr lang="de-DE" sz="2000" b="1" dirty="0" smtClean="0"/>
              <a:t>50% </a:t>
            </a:r>
            <a:r>
              <a:rPr lang="de-DE" sz="2000" b="1" dirty="0"/>
              <a:t>increase in tool life </a:t>
            </a:r>
            <a:r>
              <a:rPr lang="de-DE" sz="2000" dirty="0" smtClean="0"/>
              <a:t>reduces </a:t>
            </a:r>
            <a:r>
              <a:rPr lang="de-DE" sz="2000" b="1" dirty="0">
                <a:solidFill>
                  <a:srgbClr val="FF0000"/>
                </a:solidFill>
              </a:rPr>
              <a:t>costs per piece by 1 </a:t>
            </a:r>
            <a:r>
              <a:rPr lang="de-DE" sz="2000" b="1" dirty="0" smtClean="0">
                <a:solidFill>
                  <a:srgbClr val="FF0000"/>
                </a:solidFill>
              </a:rPr>
              <a:t>% </a:t>
            </a:r>
            <a:r>
              <a:rPr lang="zh-CN" altLang="en-US" sz="2000" b="1" dirty="0" smtClean="0"/>
              <a:t>刀</a:t>
            </a:r>
            <a:r>
              <a:rPr lang="zh-CN" altLang="en-US" sz="2000" b="1" dirty="0"/>
              <a:t>具寿命提高</a:t>
            </a:r>
            <a:r>
              <a:rPr lang="en-US" altLang="zh-CN" sz="2000" b="1" dirty="0"/>
              <a:t>50%</a:t>
            </a:r>
            <a:r>
              <a:rPr lang="zh-CN" altLang="en-US" sz="2000" b="1" dirty="0"/>
              <a:t>，</a:t>
            </a:r>
            <a:r>
              <a:rPr lang="zh-CN" altLang="en-US" sz="2000" b="1" dirty="0" smtClean="0">
                <a:solidFill>
                  <a:srgbClr val="FF0000"/>
                </a:solidFill>
              </a:rPr>
              <a:t>产品单件成本下降</a:t>
            </a:r>
            <a:r>
              <a:rPr lang="en-US" altLang="zh-CN" sz="2000" b="1" dirty="0" smtClean="0">
                <a:solidFill>
                  <a:srgbClr val="FF0000"/>
                </a:solidFill>
              </a:rPr>
              <a:t>1%</a:t>
            </a:r>
            <a:endParaRPr lang="de-DE" sz="2000" dirty="0"/>
          </a:p>
          <a:p>
            <a:pPr marL="285750" indent="-285750">
              <a:spcBef>
                <a:spcPct val="50000"/>
              </a:spcBef>
              <a:buClr>
                <a:schemeClr val="bg2"/>
              </a:buClr>
              <a:buFont typeface="Wingdings" pitchFamily="2" charset="2"/>
              <a:buChar char="Ø"/>
            </a:pPr>
            <a:r>
              <a:rPr lang="de-DE" sz="2000" b="1" dirty="0" smtClean="0"/>
              <a:t>30% </a:t>
            </a:r>
            <a:r>
              <a:rPr lang="de-DE" sz="2000" b="1" dirty="0"/>
              <a:t>reduction in tool </a:t>
            </a:r>
            <a:r>
              <a:rPr lang="de-DE" sz="2000" b="1" dirty="0" smtClean="0"/>
              <a:t>costs</a:t>
            </a:r>
            <a:r>
              <a:rPr lang="de-DE" sz="2000" dirty="0" smtClean="0"/>
              <a:t> </a:t>
            </a:r>
            <a:r>
              <a:rPr lang="de-DE" sz="2000" dirty="0"/>
              <a:t>reduces </a:t>
            </a:r>
            <a:r>
              <a:rPr lang="de-DE" sz="2000" b="1" dirty="0">
                <a:solidFill>
                  <a:srgbClr val="FF0000"/>
                </a:solidFill>
              </a:rPr>
              <a:t>costs per piece by 1 </a:t>
            </a:r>
            <a:r>
              <a:rPr lang="de-DE" sz="2000" b="1" dirty="0" smtClean="0">
                <a:solidFill>
                  <a:srgbClr val="FF0000"/>
                </a:solidFill>
              </a:rPr>
              <a:t>%</a:t>
            </a:r>
            <a:r>
              <a:rPr lang="zh-CN" altLang="en-US" sz="2000" b="1" dirty="0"/>
              <a:t>刀具价格下降</a:t>
            </a:r>
            <a:r>
              <a:rPr lang="en-US" altLang="zh-CN" sz="2000" b="1" dirty="0"/>
              <a:t>30%</a:t>
            </a:r>
            <a:r>
              <a:rPr lang="zh-CN" altLang="en-US" sz="2000" b="1" dirty="0"/>
              <a:t>，</a:t>
            </a:r>
            <a:r>
              <a:rPr lang="zh-CN" altLang="en-US" sz="2000" b="1" dirty="0" smtClean="0">
                <a:solidFill>
                  <a:srgbClr val="FF0000"/>
                </a:solidFill>
              </a:rPr>
              <a:t>产品成本减少</a:t>
            </a:r>
            <a:r>
              <a:rPr lang="en-US" altLang="zh-CN" sz="2000" b="1" dirty="0" smtClean="0">
                <a:solidFill>
                  <a:srgbClr val="FF0000"/>
                </a:solidFill>
              </a:rPr>
              <a:t>1%</a:t>
            </a:r>
            <a:endParaRPr lang="de-DE" sz="2000" dirty="0"/>
          </a:p>
          <a:p>
            <a:pPr marL="285750" indent="-285750">
              <a:spcBef>
                <a:spcPct val="50000"/>
              </a:spcBef>
              <a:buClr>
                <a:schemeClr val="bg2"/>
              </a:buClr>
              <a:buFont typeface="Wingdings" pitchFamily="2" charset="2"/>
              <a:buChar char="Ø"/>
            </a:pPr>
            <a:r>
              <a:rPr lang="de-DE" sz="2000" b="1" dirty="0" smtClean="0"/>
              <a:t>20% </a:t>
            </a:r>
            <a:r>
              <a:rPr lang="de-DE" sz="2000" b="1" dirty="0"/>
              <a:t>increase in cutting parameters </a:t>
            </a:r>
            <a:r>
              <a:rPr lang="de-DE" sz="2000" dirty="0"/>
              <a:t>(depth of cut, cutting speed) reduces </a:t>
            </a:r>
            <a:r>
              <a:rPr lang="de-DE" sz="2000" b="1" dirty="0">
                <a:solidFill>
                  <a:srgbClr val="FF0000"/>
                </a:solidFill>
              </a:rPr>
              <a:t>costs per piece up to 15</a:t>
            </a:r>
            <a:r>
              <a:rPr lang="de-DE" sz="2000" b="1" dirty="0" smtClean="0">
                <a:solidFill>
                  <a:srgbClr val="FF0000"/>
                </a:solidFill>
              </a:rPr>
              <a:t>%  </a:t>
            </a:r>
            <a:r>
              <a:rPr lang="zh-CN" altLang="en-US" sz="2000" b="1" dirty="0" smtClean="0"/>
              <a:t>提</a:t>
            </a:r>
            <a:r>
              <a:rPr lang="zh-CN" altLang="en-US" sz="2000" b="1" dirty="0"/>
              <a:t>高</a:t>
            </a:r>
            <a:r>
              <a:rPr lang="en-US" altLang="zh-CN" sz="2000" b="1" dirty="0"/>
              <a:t>20%</a:t>
            </a:r>
            <a:r>
              <a:rPr lang="zh-CN" altLang="en-US" sz="2000" b="1" dirty="0"/>
              <a:t>的切削参数（切深，切削速度）</a:t>
            </a:r>
            <a:r>
              <a:rPr lang="zh-CN" altLang="en-US" sz="2000" b="1" dirty="0" smtClean="0">
                <a:solidFill>
                  <a:srgbClr val="FF0000"/>
                </a:solidFill>
              </a:rPr>
              <a:t>，单件成本减少</a:t>
            </a:r>
            <a:r>
              <a:rPr lang="en-US" altLang="zh-CN" sz="2000" b="1" dirty="0" smtClean="0">
                <a:solidFill>
                  <a:srgbClr val="FF0000"/>
                </a:solidFill>
              </a:rPr>
              <a:t>15%</a:t>
            </a:r>
            <a:endParaRPr lang="de-CH" sz="2000" b="1" dirty="0">
              <a:solidFill>
                <a:srgbClr val="FF0000"/>
              </a:solidFill>
            </a:endParaRPr>
          </a:p>
        </p:txBody>
      </p:sp>
      <p:grpSp>
        <p:nvGrpSpPr>
          <p:cNvPr id="5" name="Gruppieren 4"/>
          <p:cNvGrpSpPr/>
          <p:nvPr/>
        </p:nvGrpSpPr>
        <p:grpSpPr>
          <a:xfrm>
            <a:off x="250519" y="1089500"/>
            <a:ext cx="4373216" cy="5214473"/>
            <a:chOff x="262394" y="858921"/>
            <a:chExt cx="4373216" cy="5214473"/>
          </a:xfrm>
        </p:grpSpPr>
        <p:pic>
          <p:nvPicPr>
            <p:cNvPr id="230402" name="Picture 2" descr="https://lh5.googleusercontent.com/-ojkgxt-SEFE/U-PQKehQm3I/AAAAAAAAAe8/pETmOlr5IVM/s1024/H900_2300_4_01.jpg"/>
            <p:cNvPicPr>
              <a:picLocks noChangeAspect="1" noChangeArrowheads="1"/>
            </p:cNvPicPr>
            <p:nvPr/>
          </p:nvPicPr>
          <p:blipFill rotWithShape="1">
            <a:blip r:embed="rId3">
              <a:extLst>
                <a:ext uri="{28A0092B-C50C-407E-A947-70E740481C1C}">
                  <a14:useLocalDpi xmlns:a14="http://schemas.microsoft.com/office/drawing/2010/main" val="0"/>
                </a:ext>
              </a:extLst>
            </a:blip>
            <a:srcRect l="9057" r="28043"/>
            <a:stretch/>
          </p:blipFill>
          <p:spPr bwMode="auto">
            <a:xfrm>
              <a:off x="262394" y="858921"/>
              <a:ext cx="4373216" cy="5214473"/>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p:cNvSpPr/>
            <p:nvPr/>
          </p:nvSpPr>
          <p:spPr>
            <a:xfrm>
              <a:off x="262394" y="5796395"/>
              <a:ext cx="2391552" cy="276999"/>
            </a:xfrm>
            <a:prstGeom prst="rect">
              <a:avLst/>
            </a:prstGeom>
          </p:spPr>
          <p:txBody>
            <a:bodyPr wrap="none">
              <a:spAutoFit/>
            </a:bodyPr>
            <a:lstStyle/>
            <a:p>
              <a:pPr>
                <a:spcBef>
                  <a:spcPts val="300"/>
                </a:spcBef>
                <a:spcAft>
                  <a:spcPts val="300"/>
                </a:spcAft>
                <a:buClr>
                  <a:schemeClr val="bg2"/>
                </a:buClr>
              </a:pPr>
              <a:r>
                <a:rPr lang="de-CH" sz="1200" dirty="0" smtClean="0">
                  <a:solidFill>
                    <a:schemeClr val="bg1"/>
                  </a:solidFill>
                </a:rPr>
                <a:t>Picture: </a:t>
              </a:r>
              <a:r>
                <a:rPr lang="de-CH" sz="1200" dirty="0">
                  <a:solidFill>
                    <a:schemeClr val="bg1"/>
                  </a:solidFill>
                </a:rPr>
                <a:t>http://www.star-su.com </a:t>
              </a:r>
            </a:p>
          </p:txBody>
        </p:sp>
      </p:grpSp>
    </p:spTree>
    <p:extLst>
      <p:ext uri="{BB962C8B-B14F-4D97-AF65-F5344CB8AC3E}">
        <p14:creationId xmlns:p14="http://schemas.microsoft.com/office/powerpoint/2010/main" val="40001374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284660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51612" name="Rectangle 28"/>
          <p:cNvSpPr>
            <a:spLocks noGrp="1" noChangeArrowheads="1"/>
          </p:cNvSpPr>
          <p:nvPr>
            <p:ph type="title"/>
          </p:nvPr>
        </p:nvSpPr>
        <p:spPr bwMode="gray">
          <a:xfrm>
            <a:off x="395288" y="142877"/>
            <a:ext cx="7090600" cy="909635"/>
          </a:xfrm>
        </p:spPr>
        <p:txBody>
          <a:bodyPr/>
          <a:lstStyle/>
          <a:p>
            <a:r>
              <a:rPr lang="de-CH" dirty="0" smtClean="0"/>
              <a:t>Reduction of manufacturing costs</a:t>
            </a:r>
            <a:r>
              <a:rPr lang="zh-CN" altLang="en-US" dirty="0" smtClean="0"/>
              <a:t>制造成本的减少</a:t>
            </a:r>
            <a:r>
              <a:rPr lang="de-CH" dirty="0" smtClean="0"/>
              <a:t/>
            </a:r>
            <a:br>
              <a:rPr lang="de-CH" dirty="0" smtClean="0"/>
            </a:br>
            <a:r>
              <a:rPr lang="en-GB" dirty="0">
                <a:solidFill>
                  <a:srgbClr val="000000"/>
                </a:solidFill>
              </a:rPr>
              <a:t>Example Gear </a:t>
            </a:r>
            <a:r>
              <a:rPr lang="en-GB" dirty="0" smtClean="0">
                <a:solidFill>
                  <a:srgbClr val="000000"/>
                </a:solidFill>
              </a:rPr>
              <a:t>Cutting</a:t>
            </a:r>
            <a:r>
              <a:rPr lang="zh-CN" altLang="en-US" dirty="0" smtClean="0">
                <a:solidFill>
                  <a:srgbClr val="000000"/>
                </a:solidFill>
              </a:rPr>
              <a:t>齿轮加工案列</a:t>
            </a:r>
            <a:endParaRPr lang="en-US" dirty="0"/>
          </a:p>
        </p:txBody>
      </p:sp>
      <p:sp>
        <p:nvSpPr>
          <p:cNvPr id="3" name="Textfeld 2"/>
          <p:cNvSpPr txBox="1"/>
          <p:nvPr/>
        </p:nvSpPr>
        <p:spPr>
          <a:xfrm>
            <a:off x="396464" y="4653136"/>
            <a:ext cx="8352000" cy="1637936"/>
          </a:xfrm>
          <a:prstGeom prst="rect">
            <a:avLst/>
          </a:prstGeom>
          <a:solidFill>
            <a:schemeClr val="bg2"/>
          </a:solidFill>
        </p:spPr>
        <p:txBody>
          <a:bodyPr wrap="square" rtlCol="0" anchor="b">
            <a:noAutofit/>
          </a:bodyPr>
          <a:lstStyle/>
          <a:p>
            <a:pPr algn="ctr">
              <a:lnSpc>
                <a:spcPct val="150000"/>
              </a:lnSpc>
              <a:spcBef>
                <a:spcPts val="4800"/>
              </a:spcBef>
              <a:spcAft>
                <a:spcPts val="4800"/>
              </a:spcAft>
            </a:pPr>
            <a:r>
              <a:rPr lang="de-CH" sz="2200" b="1" dirty="0" smtClean="0">
                <a:solidFill>
                  <a:prstClr val="white"/>
                </a:solidFill>
              </a:rPr>
              <a:t>25% reduced production costs, by increased cutting speed! </a:t>
            </a:r>
            <a:r>
              <a:rPr lang="en-US" altLang="zh-CN" sz="2200" b="1" dirty="0" smtClean="0">
                <a:solidFill>
                  <a:prstClr val="white"/>
                </a:solidFill>
              </a:rPr>
              <a:t>25%</a:t>
            </a:r>
            <a:r>
              <a:rPr lang="zh-CN" altLang="en-US" sz="2200" b="1" dirty="0" smtClean="0">
                <a:solidFill>
                  <a:prstClr val="white"/>
                </a:solidFill>
              </a:rPr>
              <a:t>的生产成本下降，来源于切削速度的提高</a:t>
            </a:r>
            <a:endParaRPr lang="en-US" sz="2200" b="1" dirty="0">
              <a:solidFill>
                <a:prstClr val="white"/>
              </a:solidFill>
            </a:endParaRPr>
          </a:p>
        </p:txBody>
      </p:sp>
      <p:graphicFrame>
        <p:nvGraphicFramePr>
          <p:cNvPr id="7" name="Tabelle 6"/>
          <p:cNvGraphicFramePr>
            <a:graphicFrameLocks noGrp="1"/>
          </p:cNvGraphicFramePr>
          <p:nvPr>
            <p:extLst>
              <p:ext uri="{D42A27DB-BD31-4B8C-83A1-F6EECF244321}">
                <p14:modId xmlns:p14="http://schemas.microsoft.com/office/powerpoint/2010/main" val="1609498711"/>
              </p:ext>
            </p:extLst>
          </p:nvPr>
        </p:nvGraphicFramePr>
        <p:xfrm>
          <a:off x="392280" y="1052513"/>
          <a:ext cx="8356184" cy="3626200"/>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667552"/>
                <a:gridCol w="2903528"/>
                <a:gridCol w="2785104"/>
              </a:tblGrid>
              <a:tr h="69748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endParaRPr kumimoji="0" lang="en-US" sz="1600" b="0" i="0" u="none" strike="noStrike" cap="none" normalizeH="0" baseline="0" dirty="0" smtClean="0">
                        <a:ln>
                          <a:noFill/>
                        </a:ln>
                        <a:solidFill>
                          <a:schemeClr val="bg1"/>
                        </a:solidFill>
                        <a:effectLst/>
                        <a:latin typeface="+mj-lt"/>
                        <a:sym typeface="HelveticaNeueLT Com 65 Md" pitchFamily="34" charset="0"/>
                      </a:endParaRPr>
                    </a:p>
                  </a:txBody>
                  <a:tcPr marL="36015" marR="36015" marT="72000" marB="90000" horzOverflow="overflow">
                    <a:lnL w="12700" cmpd="sng">
                      <a:noFill/>
                    </a:lnL>
                    <a:lnR w="28575" cap="flat" cmpd="sng" algn="ctr">
                      <a:solidFill>
                        <a:schemeClr val="bg1"/>
                      </a:solidFill>
                      <a:prstDash val="solid"/>
                      <a:round/>
                      <a:headEnd type="none" w="med" len="med"/>
                      <a:tailEnd type="none" w="med" len="med"/>
                    </a:lnR>
                    <a:lnT w="12700" cmpd="sng">
                      <a:noFill/>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600" b="1" i="0" u="none" strike="noStrike" cap="none" normalizeH="0" baseline="0" dirty="0" err="1" smtClean="0">
                          <a:ln>
                            <a:noFill/>
                          </a:ln>
                          <a:solidFill>
                            <a:schemeClr val="bg2">
                              <a:lumMod val="40000"/>
                              <a:lumOff val="60000"/>
                            </a:schemeClr>
                          </a:solidFill>
                          <a:effectLst/>
                          <a:latin typeface="+mj-lt"/>
                          <a:sym typeface="HelveticaNeueLT Com 65 Md" pitchFamily="34" charset="0"/>
                        </a:rPr>
                        <a:t>v</a:t>
                      </a:r>
                      <a:r>
                        <a:rPr kumimoji="0" lang="de-CH" sz="1600" b="1" i="0" u="none" strike="noStrike" cap="none" normalizeH="0" baseline="-25000" dirty="0" err="1" smtClean="0">
                          <a:ln>
                            <a:noFill/>
                          </a:ln>
                          <a:solidFill>
                            <a:schemeClr val="bg2">
                              <a:lumMod val="40000"/>
                              <a:lumOff val="60000"/>
                            </a:schemeClr>
                          </a:solidFill>
                          <a:effectLst/>
                          <a:latin typeface="+mj-lt"/>
                          <a:sym typeface="HelveticaNeueLT Com 65 Md" pitchFamily="34" charset="0"/>
                        </a:rPr>
                        <a:t>c</a:t>
                      </a:r>
                      <a:r>
                        <a:rPr kumimoji="0" lang="de-CH" sz="1600" b="1" i="0" u="none" strike="noStrike" cap="none" normalizeH="0" baseline="0" dirty="0" smtClean="0">
                          <a:ln>
                            <a:noFill/>
                          </a:ln>
                          <a:solidFill>
                            <a:schemeClr val="bg2">
                              <a:lumMod val="40000"/>
                              <a:lumOff val="60000"/>
                            </a:schemeClr>
                          </a:solidFill>
                          <a:effectLst/>
                          <a:latin typeface="+mj-lt"/>
                          <a:sym typeface="HelveticaNeueLT Com 65 Md" pitchFamily="34" charset="0"/>
                        </a:rPr>
                        <a:t> = 150 m / min</a:t>
                      </a:r>
                    </a:p>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600" b="0" i="0" u="none" strike="noStrike" cap="none" normalizeH="0" baseline="0" dirty="0" smtClean="0">
                          <a:ln>
                            <a:noFill/>
                          </a:ln>
                          <a:solidFill>
                            <a:schemeClr val="bg1"/>
                          </a:solidFill>
                          <a:effectLst/>
                          <a:latin typeface="+mj-lt"/>
                          <a:sym typeface="HelveticaNeueLT Com 65 Md" pitchFamily="34" charset="0"/>
                        </a:rPr>
                        <a:t>(module</a:t>
                      </a:r>
                      <a:r>
                        <a:rPr kumimoji="0" lang="zh-CN" altLang="en-US" sz="1600" b="0" i="0" u="none" strike="noStrike" cap="none" normalizeH="0" baseline="0" dirty="0" smtClean="0">
                          <a:ln>
                            <a:noFill/>
                          </a:ln>
                          <a:solidFill>
                            <a:schemeClr val="bg1"/>
                          </a:solidFill>
                          <a:effectLst/>
                          <a:latin typeface="+mj-lt"/>
                          <a:sym typeface="HelveticaNeueLT Com 65 Md" pitchFamily="34" charset="0"/>
                        </a:rPr>
                        <a:t>模数</a:t>
                      </a:r>
                      <a:r>
                        <a:rPr kumimoji="0" lang="de-CH" sz="1600" b="0" i="0" u="none" strike="noStrike" cap="none" normalizeH="0" baseline="0" dirty="0" smtClean="0">
                          <a:ln>
                            <a:noFill/>
                          </a:ln>
                          <a:solidFill>
                            <a:schemeClr val="bg1"/>
                          </a:solidFill>
                          <a:effectLst/>
                          <a:latin typeface="+mj-lt"/>
                          <a:sym typeface="HelveticaNeueLT Com 65 Md" pitchFamily="34" charset="0"/>
                        </a:rPr>
                        <a:t> 1.75)</a:t>
                      </a:r>
                      <a:endParaRPr kumimoji="0" lang="en-US" sz="1600" b="0" i="0" u="none" strike="noStrike" cap="none" normalizeH="0" baseline="0" dirty="0" smtClean="0">
                        <a:ln>
                          <a:noFill/>
                        </a:ln>
                        <a:solidFill>
                          <a:schemeClr val="bg1"/>
                        </a:solidFill>
                        <a:effectLst/>
                        <a:latin typeface="+mj-lt"/>
                        <a:sym typeface="HelveticaNeueLT Com 65 Md" pitchFamily="34" charset="0"/>
                      </a:endParaRPr>
                    </a:p>
                  </a:txBody>
                  <a:tcPr marL="36015" marR="36015" marT="72000" marB="90000" anchor="ctr" horzOverflow="overflow">
                    <a:lnL w="28575"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600" b="1" i="0" u="none" strike="noStrike" kern="1200" cap="none" normalizeH="0" baseline="0" dirty="0" err="1" smtClean="0">
                          <a:ln>
                            <a:noFill/>
                          </a:ln>
                          <a:solidFill>
                            <a:schemeClr val="bg2">
                              <a:lumMod val="40000"/>
                              <a:lumOff val="60000"/>
                            </a:schemeClr>
                          </a:solidFill>
                          <a:effectLst/>
                          <a:latin typeface="+mj-lt"/>
                          <a:ea typeface="+mn-ea"/>
                          <a:cs typeface="+mn-cs"/>
                          <a:sym typeface="HelveticaNeueLT Com 65 Md" pitchFamily="34" charset="0"/>
                        </a:rPr>
                        <a:t>v</a:t>
                      </a:r>
                      <a:r>
                        <a:rPr kumimoji="0" lang="de-CH" sz="1600" b="1" i="0" u="none" strike="noStrike" kern="1200" cap="none" normalizeH="0" baseline="-25000" dirty="0" err="1" smtClean="0">
                          <a:ln>
                            <a:noFill/>
                          </a:ln>
                          <a:solidFill>
                            <a:schemeClr val="bg2">
                              <a:lumMod val="40000"/>
                              <a:lumOff val="60000"/>
                            </a:schemeClr>
                          </a:solidFill>
                          <a:effectLst/>
                          <a:latin typeface="+mj-lt"/>
                          <a:ea typeface="+mn-ea"/>
                          <a:cs typeface="+mn-cs"/>
                          <a:sym typeface="HelveticaNeueLT Com 65 Md" pitchFamily="34" charset="0"/>
                        </a:rPr>
                        <a:t>c</a:t>
                      </a:r>
                      <a:r>
                        <a:rPr kumimoji="0" lang="de-CH" sz="1600" b="1" i="0" u="none" strike="noStrike" kern="1200" cap="none" normalizeH="0" baseline="0" dirty="0" smtClean="0">
                          <a:ln>
                            <a:noFill/>
                          </a:ln>
                          <a:solidFill>
                            <a:schemeClr val="bg2">
                              <a:lumMod val="40000"/>
                              <a:lumOff val="60000"/>
                            </a:schemeClr>
                          </a:solidFill>
                          <a:effectLst/>
                          <a:latin typeface="+mj-lt"/>
                          <a:ea typeface="+mn-ea"/>
                          <a:cs typeface="+mn-cs"/>
                          <a:sym typeface="HelveticaNeueLT Com 65 Md" pitchFamily="34" charset="0"/>
                        </a:rPr>
                        <a:t> = 350 m / min</a:t>
                      </a:r>
                    </a:p>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defRPr/>
                      </a:pPr>
                      <a:r>
                        <a:rPr kumimoji="0" lang="de-CH" sz="1600" b="0" i="0" u="none" strike="noStrike" kern="1200" cap="none" normalizeH="0" baseline="0" dirty="0" smtClean="0">
                          <a:ln>
                            <a:noFill/>
                          </a:ln>
                          <a:solidFill>
                            <a:schemeClr val="bg1"/>
                          </a:solidFill>
                          <a:effectLst/>
                          <a:latin typeface="+mj-lt"/>
                          <a:ea typeface="+mn-ea"/>
                          <a:cs typeface="+mn-cs"/>
                          <a:sym typeface="HelveticaNeueLT Com 65 Md" pitchFamily="34" charset="0"/>
                        </a:rPr>
                        <a:t>(module</a:t>
                      </a:r>
                      <a:r>
                        <a:rPr kumimoji="0" lang="zh-CN" altLang="en-US" sz="1600" b="0" i="0" u="none" strike="noStrike" kern="1200" cap="none" normalizeH="0" baseline="0" dirty="0" smtClean="0">
                          <a:ln>
                            <a:noFill/>
                          </a:ln>
                          <a:solidFill>
                            <a:schemeClr val="bg1"/>
                          </a:solidFill>
                          <a:effectLst/>
                          <a:latin typeface="+mj-lt"/>
                          <a:ea typeface="+mn-ea"/>
                          <a:cs typeface="+mn-cs"/>
                          <a:sym typeface="HelveticaNeueLT Com 65 Md" pitchFamily="34" charset="0"/>
                        </a:rPr>
                        <a:t>模数</a:t>
                      </a:r>
                      <a:r>
                        <a:rPr kumimoji="0" lang="de-CH" sz="1600" b="0" i="0" u="none" strike="noStrike" kern="1200" cap="none" normalizeH="0" baseline="0" dirty="0" smtClean="0">
                          <a:ln>
                            <a:noFill/>
                          </a:ln>
                          <a:solidFill>
                            <a:schemeClr val="bg1"/>
                          </a:solidFill>
                          <a:effectLst/>
                          <a:latin typeface="+mj-lt"/>
                          <a:ea typeface="+mn-ea"/>
                          <a:cs typeface="+mn-cs"/>
                          <a:sym typeface="HelveticaNeueLT Com 65 Md" pitchFamily="34" charset="0"/>
                        </a:rPr>
                        <a:t> 1.75)</a:t>
                      </a:r>
                      <a:endParaRPr kumimoji="0" lang="en-US" sz="1600" b="0" i="0" u="none" strike="noStrike" kern="1200" cap="none" normalizeH="0" baseline="0" dirty="0" smtClean="0">
                        <a:ln>
                          <a:noFill/>
                        </a:ln>
                        <a:solidFill>
                          <a:schemeClr val="bg1"/>
                        </a:solidFill>
                        <a:effectLst/>
                        <a:latin typeface="+mj-lt"/>
                        <a:ea typeface="+mn-ea"/>
                        <a:cs typeface="+mn-cs"/>
                        <a:sym typeface="HelveticaNeueLT Com 65 Md" pitchFamily="34" charset="0"/>
                      </a:endParaRPr>
                    </a:p>
                  </a:txBody>
                  <a:tcPr marL="36015" marR="36015" marT="72000" marB="90000" anchor="ctr" horzOverflow="overflow">
                    <a:lnL w="19050"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r>
              <a:tr h="46800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sym typeface="HelveticaNeueLT Com 65 Md" pitchFamily="34" charset="0"/>
                        </a:rPr>
                        <a:t>Tool costs</a:t>
                      </a:r>
                      <a:r>
                        <a:rPr kumimoji="0" lang="zh-CN" altLang="en-US" sz="1400" b="0" i="0" u="none" strike="noStrike" cap="none" normalizeH="0" baseline="0" dirty="0" smtClean="0">
                          <a:ln>
                            <a:noFill/>
                          </a:ln>
                          <a:solidFill>
                            <a:schemeClr val="tx1"/>
                          </a:solidFill>
                          <a:effectLst/>
                          <a:latin typeface="+mj-lt"/>
                          <a:sym typeface="HelveticaNeueLT Com 65 Md" pitchFamily="34" charset="0"/>
                        </a:rPr>
                        <a:t>刀具价格</a:t>
                      </a:r>
                      <a:r>
                        <a:rPr kumimoji="0" lang="en-US" sz="1400" b="0" i="0" u="none" strike="noStrike" cap="none" normalizeH="0" baseline="0" dirty="0" smtClean="0">
                          <a:ln>
                            <a:noFill/>
                          </a:ln>
                          <a:solidFill>
                            <a:schemeClr val="tx1"/>
                          </a:solidFill>
                          <a:effectLst/>
                          <a:latin typeface="+mj-lt"/>
                          <a:sym typeface="HelveticaNeueLT Com 65 Md" pitchFamily="34" charset="0"/>
                        </a:rPr>
                        <a:t> (80x200)</a:t>
                      </a:r>
                      <a:endParaRPr kumimoji="0" lang="en-US" sz="1400" b="0" i="0" u="none" strike="noStrike" cap="none" normalizeH="0" baseline="30000" dirty="0" smtClean="0">
                        <a:ln>
                          <a:noFill/>
                        </a:ln>
                        <a:solidFill>
                          <a:schemeClr val="tx1"/>
                        </a:solidFill>
                        <a:effectLst/>
                        <a:latin typeface="+mj-lt"/>
                        <a:sym typeface="HelveticaNeueLT Com 65 Md" pitchFamily="34" charset="0"/>
                      </a:endParaRPr>
                    </a:p>
                  </a:txBody>
                  <a:tcPr marL="36015" marR="36015" marT="72000" marB="90000" anchor="ctr" horzOverflow="overflow">
                    <a:lnR w="28575" cap="flat" cmpd="sng" algn="ctr">
                      <a:solidFill>
                        <a:schemeClr val="bg1"/>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80963" marR="0" lvl="1"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400" b="0" i="0" u="none" strike="noStrike" cap="none" normalizeH="0" baseline="0" dirty="0" smtClean="0">
                          <a:ln>
                            <a:noFill/>
                          </a:ln>
                          <a:solidFill>
                            <a:schemeClr val="tx1"/>
                          </a:solidFill>
                          <a:effectLst/>
                          <a:latin typeface="+mj-lt"/>
                        </a:rPr>
                        <a:t>800 € (PM – HSS hob</a:t>
                      </a:r>
                      <a:r>
                        <a:rPr kumimoji="0" lang="zh-CN" altLang="en-US" sz="1400" b="0" i="0" u="none" strike="noStrike" cap="none" normalizeH="0" baseline="0" dirty="0" smtClean="0">
                          <a:ln>
                            <a:noFill/>
                          </a:ln>
                          <a:solidFill>
                            <a:schemeClr val="tx1"/>
                          </a:solidFill>
                          <a:effectLst/>
                          <a:latin typeface="+mj-lt"/>
                        </a:rPr>
                        <a:t>粉末冶金高速钢滚刀</a:t>
                      </a:r>
                      <a:r>
                        <a:rPr kumimoji="0" lang="de-CH" sz="1400" b="0" i="0" u="none" strike="noStrike" cap="none" normalizeH="0" baseline="0" dirty="0" smtClean="0">
                          <a:ln>
                            <a:noFill/>
                          </a:ln>
                          <a:solidFill>
                            <a:schemeClr val="tx1"/>
                          </a:solidFill>
                          <a:effectLst/>
                          <a:latin typeface="+mj-lt"/>
                        </a:rPr>
                        <a:t>)</a:t>
                      </a:r>
                      <a:endParaRPr kumimoji="0" lang="en-US" sz="1400" b="0" i="0" u="none" strike="noStrike" cap="none" normalizeH="0" baseline="0" dirty="0" smtClean="0">
                        <a:ln>
                          <a:noFill/>
                        </a:ln>
                        <a:solidFill>
                          <a:schemeClr val="tx1"/>
                        </a:solidFill>
                        <a:effectLst/>
                        <a:latin typeface="+mj-lt"/>
                      </a:endParaRPr>
                    </a:p>
                  </a:txBody>
                  <a:tcPr marL="36015" marR="36015" marT="72000" marB="90000" anchor="ctr" horzOverflow="overflow">
                    <a:lnL w="28575" cap="flat" cmpd="sng" algn="ctr">
                      <a:solidFill>
                        <a:schemeClr val="bg1"/>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80963" marR="0" lvl="1"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400" b="0" i="0" u="none" strike="noStrike" cap="none" normalizeH="0" baseline="0" dirty="0" smtClean="0">
                          <a:ln>
                            <a:noFill/>
                          </a:ln>
                          <a:solidFill>
                            <a:schemeClr val="tx1"/>
                          </a:solidFill>
                          <a:effectLst/>
                          <a:latin typeface="+mj-lt"/>
                        </a:rPr>
                        <a:t>1600 € (Carbide  hob</a:t>
                      </a:r>
                      <a:r>
                        <a:rPr kumimoji="0" lang="zh-CN" altLang="en-US" sz="1400" b="0" i="0" u="none" strike="noStrike" cap="none" normalizeH="0" baseline="0" dirty="0" smtClean="0">
                          <a:ln>
                            <a:noFill/>
                          </a:ln>
                          <a:solidFill>
                            <a:schemeClr val="tx1"/>
                          </a:solidFill>
                          <a:effectLst/>
                          <a:latin typeface="+mj-lt"/>
                        </a:rPr>
                        <a:t>硬质合金滚刀</a:t>
                      </a:r>
                      <a:r>
                        <a:rPr kumimoji="0" lang="de-CH" sz="1400" b="0" i="0" u="none" strike="noStrike" cap="none" normalizeH="0" baseline="0" dirty="0" smtClean="0">
                          <a:ln>
                            <a:noFill/>
                          </a:ln>
                          <a:solidFill>
                            <a:schemeClr val="tx1"/>
                          </a:solidFill>
                          <a:effectLst/>
                          <a:latin typeface="+mj-lt"/>
                        </a:rPr>
                        <a:t>)</a:t>
                      </a:r>
                      <a:endParaRPr kumimoji="0" lang="en-US" sz="1400" b="0" i="0" u="none" strike="noStrike" cap="none" normalizeH="0" baseline="0" dirty="0" smtClean="0">
                        <a:ln>
                          <a:noFill/>
                        </a:ln>
                        <a:solidFill>
                          <a:schemeClr val="tx1"/>
                        </a:solidFill>
                        <a:effectLst/>
                        <a:latin typeface="+mj-lt"/>
                      </a:endParaRPr>
                    </a:p>
                  </a:txBody>
                  <a:tcPr marL="36015" marR="36015" marT="72000" marB="90000" anchor="ctr" horzOverflow="overflow">
                    <a:lnL w="9525" cap="flat" cmpd="sng" algn="ctr">
                      <a:solidFill>
                        <a:schemeClr val="accent4"/>
                      </a:solidFill>
                      <a:prstDash val="solid"/>
                      <a:round/>
                      <a:headEnd type="none" w="med" len="med"/>
                      <a:tailEnd type="none" w="med" len="med"/>
                    </a:lnL>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r>
              <a:tr h="46800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sym typeface="HelveticaNeueLT Com 65 Md" pitchFamily="34" charset="0"/>
                        </a:rPr>
                        <a:t>Coating costs</a:t>
                      </a:r>
                      <a:r>
                        <a:rPr kumimoji="0" lang="zh-CN" altLang="en-US" sz="1400" b="0" i="0" u="none" strike="noStrike" cap="none" normalizeH="0" baseline="0" dirty="0" smtClean="0">
                          <a:ln>
                            <a:noFill/>
                          </a:ln>
                          <a:solidFill>
                            <a:schemeClr val="tx1"/>
                          </a:solidFill>
                          <a:effectLst/>
                          <a:latin typeface="+mj-lt"/>
                          <a:sym typeface="HelveticaNeueLT Com 65 Md" pitchFamily="34" charset="0"/>
                        </a:rPr>
                        <a:t>涂层费用</a:t>
                      </a:r>
                      <a:endParaRPr kumimoji="0" lang="en-US" sz="1400" b="0" i="0" u="none" strike="noStrike" cap="none" normalizeH="0" baseline="0" dirty="0" smtClean="0">
                        <a:ln>
                          <a:noFill/>
                        </a:ln>
                        <a:solidFill>
                          <a:schemeClr val="tx1"/>
                        </a:solidFill>
                        <a:effectLst/>
                        <a:latin typeface="+mj-lt"/>
                        <a:sym typeface="HelveticaNeueLT Com 65 Md" pitchFamily="34" charset="0"/>
                      </a:endParaRPr>
                    </a:p>
                  </a:txBody>
                  <a:tcPr marL="36015" marR="36015" marT="72000" marB="90000" anchor="ctr" horzOverflow="overflow">
                    <a:lnR w="28575" cap="flat" cmpd="sng" algn="ctr">
                      <a:solidFill>
                        <a:schemeClr val="bg1"/>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400" b="0" i="0" u="none" strike="noStrike" cap="none" normalizeH="0" baseline="0" dirty="0" smtClean="0">
                          <a:ln>
                            <a:noFill/>
                          </a:ln>
                          <a:solidFill>
                            <a:schemeClr val="tx1"/>
                          </a:solidFill>
                          <a:effectLst/>
                          <a:latin typeface="+mj-lt"/>
                        </a:rPr>
                        <a:t>50 € (low end</a:t>
                      </a:r>
                      <a:r>
                        <a:rPr kumimoji="0" lang="zh-CN" altLang="en-US" sz="1400" b="0" i="0" u="none" strike="noStrike" cap="none" normalizeH="0" baseline="0" dirty="0" smtClean="0">
                          <a:ln>
                            <a:noFill/>
                          </a:ln>
                          <a:solidFill>
                            <a:schemeClr val="tx1"/>
                          </a:solidFill>
                          <a:effectLst/>
                          <a:latin typeface="+mj-lt"/>
                        </a:rPr>
                        <a:t>低端</a:t>
                      </a:r>
                      <a:r>
                        <a:rPr kumimoji="0" lang="de-CH" sz="1400" b="0" i="0" u="none" strike="noStrike" cap="none" normalizeH="0" baseline="0" dirty="0" smtClean="0">
                          <a:ln>
                            <a:noFill/>
                          </a:ln>
                          <a:solidFill>
                            <a:schemeClr val="tx1"/>
                          </a:solidFill>
                          <a:effectLst/>
                          <a:latin typeface="+mj-lt"/>
                        </a:rPr>
                        <a:t>)</a:t>
                      </a:r>
                      <a:endParaRPr kumimoji="0" lang="en-US" sz="1400" b="0" i="0" u="none" strike="noStrike" cap="none" normalizeH="0" baseline="0" dirty="0" smtClean="0">
                        <a:ln>
                          <a:noFill/>
                        </a:ln>
                        <a:solidFill>
                          <a:schemeClr val="tx1"/>
                        </a:solidFill>
                        <a:effectLst/>
                        <a:latin typeface="+mj-lt"/>
                      </a:endParaRPr>
                    </a:p>
                  </a:txBody>
                  <a:tcPr marL="36015" marR="36015" marT="72000" marB="90000" anchor="ctr" horzOverflow="overflow">
                    <a:lnL w="28575" cap="flat" cmpd="sng" algn="ctr">
                      <a:solidFill>
                        <a:schemeClr val="bg1"/>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rPr>
                        <a:t>100 € (high end</a:t>
                      </a:r>
                      <a:r>
                        <a:rPr kumimoji="0" lang="zh-CN" altLang="en-US" sz="1400" b="0" i="0" u="none" strike="noStrike" cap="none" normalizeH="0" baseline="0" dirty="0" smtClean="0">
                          <a:ln>
                            <a:noFill/>
                          </a:ln>
                          <a:solidFill>
                            <a:schemeClr val="tx1"/>
                          </a:solidFill>
                          <a:effectLst/>
                          <a:latin typeface="+mj-lt"/>
                        </a:rPr>
                        <a:t>高端</a:t>
                      </a:r>
                      <a:r>
                        <a:rPr kumimoji="0" lang="en-US" sz="1400" b="0" i="0" u="none" strike="noStrike" cap="none" normalizeH="0" baseline="0" dirty="0" smtClean="0">
                          <a:ln>
                            <a:noFill/>
                          </a:ln>
                          <a:solidFill>
                            <a:schemeClr val="tx1"/>
                          </a:solidFill>
                          <a:effectLst/>
                          <a:latin typeface="+mj-lt"/>
                        </a:rPr>
                        <a:t>)</a:t>
                      </a:r>
                    </a:p>
                  </a:txBody>
                  <a:tcPr marL="36015" marR="36015" marT="72000" marB="90000" anchor="ctr" horzOverflow="overflow">
                    <a:lnL w="9525" cap="flat" cmpd="sng" algn="ctr">
                      <a:solidFill>
                        <a:schemeClr val="accent4"/>
                      </a:solidFill>
                      <a:prstDash val="solid"/>
                      <a:round/>
                      <a:headEnd type="none" w="med" len="med"/>
                      <a:tailEnd type="none" w="med" len="med"/>
                    </a:lnL>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r>
              <a:tr h="46800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sym typeface="HelveticaNeueLT Com 65 Md" pitchFamily="34" charset="0"/>
                        </a:rPr>
                        <a:t>Tool life / tooth</a:t>
                      </a:r>
                      <a:r>
                        <a:rPr kumimoji="0" lang="zh-CN" altLang="en-US" sz="1400" b="0" i="0" u="none" strike="noStrike" cap="none" normalizeH="0" baseline="0" dirty="0" smtClean="0">
                          <a:ln>
                            <a:noFill/>
                          </a:ln>
                          <a:solidFill>
                            <a:schemeClr val="tx1"/>
                          </a:solidFill>
                          <a:effectLst/>
                          <a:latin typeface="+mj-lt"/>
                          <a:sym typeface="HelveticaNeueLT Com 65 Md" pitchFamily="34" charset="0"/>
                        </a:rPr>
                        <a:t>刀具寿命</a:t>
                      </a:r>
                      <a:r>
                        <a:rPr kumimoji="0" lang="en-US" altLang="zh-CN" sz="1400" b="0" i="0" u="none" strike="noStrike" cap="none" normalizeH="0" baseline="0" dirty="0" smtClean="0">
                          <a:ln>
                            <a:noFill/>
                          </a:ln>
                          <a:solidFill>
                            <a:schemeClr val="tx1"/>
                          </a:solidFill>
                          <a:effectLst/>
                          <a:latin typeface="+mj-lt"/>
                          <a:sym typeface="HelveticaNeueLT Com 65 Md" pitchFamily="34" charset="0"/>
                        </a:rPr>
                        <a:t>/</a:t>
                      </a:r>
                      <a:r>
                        <a:rPr kumimoji="0" lang="zh-CN" altLang="en-US" sz="1400" b="0" i="0" u="none" strike="noStrike" cap="none" normalizeH="0" baseline="0" dirty="0" smtClean="0">
                          <a:ln>
                            <a:noFill/>
                          </a:ln>
                          <a:solidFill>
                            <a:schemeClr val="tx1"/>
                          </a:solidFill>
                          <a:effectLst/>
                          <a:latin typeface="+mj-lt"/>
                          <a:sym typeface="HelveticaNeueLT Com 65 Md" pitchFamily="34" charset="0"/>
                        </a:rPr>
                        <a:t>齿</a:t>
                      </a:r>
                      <a:endParaRPr kumimoji="0" lang="en-US" sz="1400" b="0" i="0" u="none" strike="noStrike" cap="none" normalizeH="0" baseline="0" dirty="0" smtClean="0">
                        <a:ln>
                          <a:noFill/>
                        </a:ln>
                        <a:solidFill>
                          <a:schemeClr val="tx1"/>
                        </a:solidFill>
                        <a:effectLst/>
                        <a:latin typeface="+mj-lt"/>
                        <a:sym typeface="HelveticaNeueLT Com 65 Md" pitchFamily="34" charset="0"/>
                      </a:endParaRPr>
                    </a:p>
                  </a:txBody>
                  <a:tcPr marL="36015" marR="36015" marT="72000" marB="90000" anchor="ctr" horzOverflow="overflow">
                    <a:lnR w="28575" cap="flat" cmpd="sng" algn="ctr">
                      <a:solidFill>
                        <a:schemeClr val="bg1"/>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600" b="0" i="0" u="none" strike="noStrike" cap="none" normalizeH="0" baseline="0" dirty="0" smtClean="0">
                          <a:ln>
                            <a:noFill/>
                          </a:ln>
                          <a:solidFill>
                            <a:schemeClr val="tx1"/>
                          </a:solidFill>
                          <a:effectLst/>
                          <a:latin typeface="+mj-lt"/>
                        </a:rPr>
                        <a:t>5 m</a:t>
                      </a:r>
                    </a:p>
                  </a:txBody>
                  <a:tcPr marL="36015" marR="36015" marT="72000" marB="90000" anchor="ctr" horzOverflow="overflow">
                    <a:lnL w="28575" cap="flat" cmpd="sng" algn="ctr">
                      <a:solidFill>
                        <a:schemeClr val="bg1"/>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600" b="0" i="0" u="none" strike="noStrike" cap="none" normalizeH="0" baseline="0" dirty="0" smtClean="0">
                          <a:ln>
                            <a:noFill/>
                          </a:ln>
                          <a:solidFill>
                            <a:schemeClr val="tx1"/>
                          </a:solidFill>
                          <a:effectLst/>
                          <a:latin typeface="+mj-lt"/>
                        </a:rPr>
                        <a:t>5 m</a:t>
                      </a:r>
                    </a:p>
                  </a:txBody>
                  <a:tcPr marL="36015" marR="36015" marT="72000" marB="90000" anchor="ctr" horzOverflow="overflow">
                    <a:lnL w="9525" cap="flat" cmpd="sng" algn="ctr">
                      <a:solidFill>
                        <a:schemeClr val="accent4"/>
                      </a:solidFill>
                      <a:prstDash val="solid"/>
                      <a:round/>
                      <a:headEnd type="none" w="med" len="med"/>
                      <a:tailEnd type="none" w="med" len="med"/>
                    </a:lnL>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r>
              <a:tr h="46800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400" b="0" i="0" u="none" strike="noStrike" cap="none" normalizeH="0" baseline="0" dirty="0" smtClean="0">
                          <a:ln>
                            <a:noFill/>
                          </a:ln>
                          <a:solidFill>
                            <a:schemeClr val="tx1"/>
                          </a:solidFill>
                          <a:effectLst/>
                          <a:latin typeface="+mj-lt"/>
                          <a:sym typeface="HelveticaNeueLT Com 65 Md" pitchFamily="34" charset="0"/>
                        </a:rPr>
                        <a:t>Number of recoatings</a:t>
                      </a:r>
                      <a:r>
                        <a:rPr kumimoji="0" lang="zh-CN" altLang="en-US" sz="1400" b="0" i="0" u="none" strike="noStrike" cap="none" normalizeH="0" baseline="0" dirty="0" smtClean="0">
                          <a:ln>
                            <a:noFill/>
                          </a:ln>
                          <a:solidFill>
                            <a:schemeClr val="tx1"/>
                          </a:solidFill>
                          <a:effectLst/>
                          <a:latin typeface="+mj-lt"/>
                          <a:sym typeface="HelveticaNeueLT Com 65 Md" pitchFamily="34" charset="0"/>
                        </a:rPr>
                        <a:t>重涂次数</a:t>
                      </a:r>
                      <a:endParaRPr kumimoji="0" lang="en-US" sz="1400" b="0" i="0" u="none" strike="noStrike" cap="none" normalizeH="0" baseline="0" dirty="0" smtClean="0">
                        <a:ln>
                          <a:noFill/>
                        </a:ln>
                        <a:solidFill>
                          <a:schemeClr val="tx1"/>
                        </a:solidFill>
                        <a:effectLst/>
                        <a:latin typeface="+mj-lt"/>
                        <a:sym typeface="HelveticaNeueLT Com 65 Md" pitchFamily="34" charset="0"/>
                      </a:endParaRPr>
                    </a:p>
                  </a:txBody>
                  <a:tcPr marL="36015" marR="36015" marT="72000" marB="90000" anchor="ctr" horzOverflow="overflow">
                    <a:lnR w="28575" cap="flat" cmpd="sng" algn="ctr">
                      <a:solidFill>
                        <a:schemeClr val="bg1"/>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600" b="0" i="0" u="none" strike="noStrike" cap="none" normalizeH="0" baseline="0" dirty="0" smtClean="0">
                          <a:ln>
                            <a:noFill/>
                          </a:ln>
                          <a:solidFill>
                            <a:schemeClr val="tx1"/>
                          </a:solidFill>
                          <a:effectLst/>
                          <a:latin typeface="+mj-lt"/>
                        </a:rPr>
                        <a:t>15</a:t>
                      </a:r>
                      <a:endParaRPr kumimoji="0" lang="en-US" sz="1600" b="0" i="0" u="none" strike="noStrike" cap="none" normalizeH="0" baseline="0" dirty="0" smtClean="0">
                        <a:ln>
                          <a:noFill/>
                        </a:ln>
                        <a:solidFill>
                          <a:schemeClr val="tx1"/>
                        </a:solidFill>
                        <a:effectLst/>
                        <a:latin typeface="+mj-lt"/>
                      </a:endParaRPr>
                    </a:p>
                  </a:txBody>
                  <a:tcPr marL="36015" marR="36015" marT="72000" marB="90000" anchor="ctr" horzOverflow="overflow">
                    <a:lnL w="28575" cap="flat" cmpd="sng" algn="ctr">
                      <a:solidFill>
                        <a:schemeClr val="bg1"/>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600" b="0" i="0" u="none" strike="noStrike" cap="none" normalizeH="0" baseline="0" dirty="0" smtClean="0">
                          <a:ln>
                            <a:noFill/>
                          </a:ln>
                          <a:solidFill>
                            <a:schemeClr val="tx1"/>
                          </a:solidFill>
                          <a:effectLst/>
                          <a:latin typeface="+mj-lt"/>
                        </a:rPr>
                        <a:t>15</a:t>
                      </a:r>
                      <a:endParaRPr kumimoji="0" lang="en-US" sz="1600" b="0" i="0" u="none" strike="noStrike" cap="none" normalizeH="0" baseline="0" dirty="0" smtClean="0">
                        <a:ln>
                          <a:noFill/>
                        </a:ln>
                        <a:solidFill>
                          <a:schemeClr val="tx1"/>
                        </a:solidFill>
                        <a:effectLst/>
                        <a:latin typeface="+mj-lt"/>
                      </a:endParaRPr>
                    </a:p>
                  </a:txBody>
                  <a:tcPr marL="36015" marR="36015" marT="72000" marB="90000" anchor="ctr" horzOverflow="overflow">
                    <a:lnL w="9525" cap="flat" cmpd="sng" algn="ctr">
                      <a:solidFill>
                        <a:schemeClr val="accent4"/>
                      </a:solidFill>
                      <a:prstDash val="solid"/>
                      <a:round/>
                      <a:headEnd type="none" w="med" len="med"/>
                      <a:tailEnd type="none" w="med" len="med"/>
                    </a:lnL>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r>
              <a:tr h="46800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sym typeface="HelveticaNeueLT Com 65 Md" pitchFamily="34" charset="0"/>
                        </a:rPr>
                        <a:t>Workpiece / hour</a:t>
                      </a:r>
                      <a:r>
                        <a:rPr kumimoji="0" lang="zh-CN" altLang="en-US" sz="1400" b="0" i="0" u="none" strike="noStrike" cap="none" normalizeH="0" baseline="0" dirty="0" smtClean="0">
                          <a:ln>
                            <a:noFill/>
                          </a:ln>
                          <a:solidFill>
                            <a:schemeClr val="tx1"/>
                          </a:solidFill>
                          <a:effectLst/>
                          <a:latin typeface="+mj-lt"/>
                          <a:sym typeface="HelveticaNeueLT Com 65 Md" pitchFamily="34" charset="0"/>
                        </a:rPr>
                        <a:t>工件</a:t>
                      </a:r>
                      <a:r>
                        <a:rPr kumimoji="0" lang="en-US" altLang="zh-CN" sz="1400" b="0" i="0" u="none" strike="noStrike" cap="none" normalizeH="0" baseline="0" dirty="0" smtClean="0">
                          <a:ln>
                            <a:noFill/>
                          </a:ln>
                          <a:solidFill>
                            <a:schemeClr val="tx1"/>
                          </a:solidFill>
                          <a:effectLst/>
                          <a:latin typeface="+mj-lt"/>
                          <a:sym typeface="HelveticaNeueLT Com 65 Md" pitchFamily="34" charset="0"/>
                        </a:rPr>
                        <a:t>/</a:t>
                      </a:r>
                      <a:r>
                        <a:rPr kumimoji="0" lang="zh-CN" altLang="en-US" sz="1400" b="0" i="0" u="none" strike="noStrike" cap="none" normalizeH="0" baseline="0" dirty="0" smtClean="0">
                          <a:ln>
                            <a:noFill/>
                          </a:ln>
                          <a:solidFill>
                            <a:schemeClr val="tx1"/>
                          </a:solidFill>
                          <a:effectLst/>
                          <a:latin typeface="+mj-lt"/>
                          <a:sym typeface="HelveticaNeueLT Com 65 Md" pitchFamily="34" charset="0"/>
                        </a:rPr>
                        <a:t>小时</a:t>
                      </a:r>
                      <a:endParaRPr kumimoji="0" lang="en-US" sz="1400" b="0" i="0" u="none" strike="noStrike" cap="none" normalizeH="0" baseline="0" dirty="0" smtClean="0">
                        <a:ln>
                          <a:noFill/>
                        </a:ln>
                        <a:solidFill>
                          <a:schemeClr val="tx1"/>
                        </a:solidFill>
                        <a:effectLst/>
                        <a:latin typeface="+mj-lt"/>
                        <a:sym typeface="HelveticaNeueLT Com 65 Md" pitchFamily="34" charset="0"/>
                      </a:endParaRPr>
                    </a:p>
                  </a:txBody>
                  <a:tcPr marL="36015" marR="36015" marT="72000" marB="90000" anchor="ctr" horzOverflow="overflow">
                    <a:lnR w="28575" cap="flat" cmpd="sng" algn="ctr">
                      <a:solidFill>
                        <a:schemeClr val="bg1"/>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600" b="0" i="0" u="none" strike="noStrike" cap="none" normalizeH="0" baseline="0" dirty="0" smtClean="0">
                          <a:ln>
                            <a:noFill/>
                          </a:ln>
                          <a:solidFill>
                            <a:schemeClr val="tx1"/>
                          </a:solidFill>
                          <a:effectLst/>
                          <a:latin typeface="+mj-lt"/>
                        </a:rPr>
                        <a:t>103</a:t>
                      </a:r>
                      <a:endParaRPr kumimoji="0" lang="en-US" sz="1600" b="0" i="0" u="none" strike="noStrike" cap="none" normalizeH="0" baseline="0" dirty="0" smtClean="0">
                        <a:ln>
                          <a:noFill/>
                        </a:ln>
                        <a:solidFill>
                          <a:schemeClr val="tx1"/>
                        </a:solidFill>
                        <a:effectLst/>
                        <a:latin typeface="+mj-lt"/>
                      </a:endParaRPr>
                    </a:p>
                  </a:txBody>
                  <a:tcPr marL="36015" marR="36015" marT="72000" marB="90000" anchor="ctr" horzOverflow="overflow">
                    <a:lnL w="28575" cap="flat" cmpd="sng" algn="ctr">
                      <a:solidFill>
                        <a:schemeClr val="bg1"/>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600" b="0" i="0" u="none" strike="noStrike" cap="none" normalizeH="0" baseline="0" dirty="0" smtClean="0">
                          <a:ln>
                            <a:noFill/>
                          </a:ln>
                          <a:solidFill>
                            <a:schemeClr val="tx1"/>
                          </a:solidFill>
                          <a:effectLst/>
                          <a:latin typeface="+mj-lt"/>
                        </a:rPr>
                        <a:t>143</a:t>
                      </a:r>
                    </a:p>
                  </a:txBody>
                  <a:tcPr marL="36015" marR="36015" marT="72000" marB="90000" anchor="ctr" horzOverflow="overflow">
                    <a:lnL w="9525" cap="flat" cmpd="sng" algn="ctr">
                      <a:solidFill>
                        <a:schemeClr val="accent4"/>
                      </a:solidFill>
                      <a:prstDash val="solid"/>
                      <a:round/>
                      <a:headEnd type="none" w="med" len="med"/>
                      <a:tailEnd type="none" w="med" len="med"/>
                    </a:lnL>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r>
              <a:tr h="46800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400" b="1" i="0" u="none" strike="noStrike" cap="none" normalizeH="0" baseline="0" dirty="0" smtClean="0">
                          <a:ln>
                            <a:noFill/>
                          </a:ln>
                          <a:solidFill>
                            <a:schemeClr val="tx1"/>
                          </a:solidFill>
                          <a:effectLst/>
                          <a:latin typeface="+mj-lt"/>
                          <a:sym typeface="HelveticaNeueLT Com 65 Md" pitchFamily="34" charset="0"/>
                        </a:rPr>
                        <a:t>Costs / workpiece</a:t>
                      </a:r>
                      <a:r>
                        <a:rPr kumimoji="0" lang="zh-CN" altLang="en-US" sz="1400" b="1" i="0" u="none" strike="noStrike" cap="none" normalizeH="0" baseline="0" dirty="0" smtClean="0">
                          <a:ln>
                            <a:noFill/>
                          </a:ln>
                          <a:solidFill>
                            <a:schemeClr val="tx1"/>
                          </a:solidFill>
                          <a:effectLst/>
                          <a:latin typeface="+mj-lt"/>
                          <a:sym typeface="HelveticaNeueLT Com 65 Md" pitchFamily="34" charset="0"/>
                        </a:rPr>
                        <a:t>成本</a:t>
                      </a:r>
                      <a:r>
                        <a:rPr kumimoji="0" lang="en-US" altLang="zh-CN" sz="1400" b="1" i="0" u="none" strike="noStrike" cap="none" normalizeH="0" baseline="0" dirty="0" smtClean="0">
                          <a:ln>
                            <a:noFill/>
                          </a:ln>
                          <a:solidFill>
                            <a:schemeClr val="tx1"/>
                          </a:solidFill>
                          <a:effectLst/>
                          <a:latin typeface="+mj-lt"/>
                          <a:sym typeface="HelveticaNeueLT Com 65 Md" pitchFamily="34" charset="0"/>
                        </a:rPr>
                        <a:t>/</a:t>
                      </a:r>
                      <a:r>
                        <a:rPr kumimoji="0" lang="zh-CN" altLang="en-US" sz="1400" b="1" i="0" u="none" strike="noStrike" cap="none" normalizeH="0" baseline="0" dirty="0" smtClean="0">
                          <a:ln>
                            <a:noFill/>
                          </a:ln>
                          <a:solidFill>
                            <a:schemeClr val="tx1"/>
                          </a:solidFill>
                          <a:effectLst/>
                          <a:latin typeface="+mj-lt"/>
                          <a:sym typeface="HelveticaNeueLT Com 65 Md" pitchFamily="34" charset="0"/>
                        </a:rPr>
                        <a:t>工件</a:t>
                      </a:r>
                      <a:endParaRPr kumimoji="0" lang="en-US" sz="1400" b="1" i="0" u="none" strike="noStrike" cap="none" normalizeH="0" baseline="0" dirty="0" smtClean="0">
                        <a:ln>
                          <a:noFill/>
                        </a:ln>
                        <a:solidFill>
                          <a:schemeClr val="tx1"/>
                        </a:solidFill>
                        <a:effectLst/>
                        <a:latin typeface="+mj-lt"/>
                        <a:sym typeface="HelveticaNeueLT Com 65 Md" pitchFamily="34" charset="0"/>
                      </a:endParaRPr>
                    </a:p>
                  </a:txBody>
                  <a:tcPr marL="36015" marR="36015" marT="72000" marB="90000" anchor="ctr" horzOverflow="overflow">
                    <a:lnR w="28575" cap="flat" cmpd="sng" algn="ctr">
                      <a:solidFill>
                        <a:schemeClr val="bg1"/>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solidFill>
                      <a:schemeClr val="bg1"/>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de-CH" sz="1600" b="1" i="0" u="none" strike="noStrike" cap="none" normalizeH="0" baseline="0" dirty="0" smtClean="0">
                          <a:ln>
                            <a:noFill/>
                          </a:ln>
                          <a:solidFill>
                            <a:schemeClr val="bg2"/>
                          </a:solidFill>
                          <a:effectLst/>
                          <a:latin typeface="+mj-lt"/>
                        </a:rPr>
                        <a:t>0.80 €</a:t>
                      </a:r>
                      <a:endParaRPr kumimoji="0" lang="en-US" sz="1600" b="1" i="0" u="none" strike="noStrike" cap="none" normalizeH="0" baseline="0" dirty="0" smtClean="0">
                        <a:ln>
                          <a:noFill/>
                        </a:ln>
                        <a:solidFill>
                          <a:schemeClr val="bg2"/>
                        </a:solidFill>
                        <a:effectLst/>
                        <a:latin typeface="+mj-lt"/>
                      </a:endParaRPr>
                    </a:p>
                  </a:txBody>
                  <a:tcPr marL="36015" marR="36015" marT="72000" marB="90000" anchor="ctr" horzOverflow="overflow">
                    <a:lnL w="28575" cap="flat" cmpd="sng" algn="ctr">
                      <a:solidFill>
                        <a:schemeClr val="bg1"/>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600" b="1" i="0" u="none" strike="noStrike" cap="none" normalizeH="0" baseline="0" dirty="0" smtClean="0">
                          <a:ln>
                            <a:noFill/>
                          </a:ln>
                          <a:solidFill>
                            <a:schemeClr val="bg2"/>
                          </a:solidFill>
                          <a:effectLst/>
                          <a:latin typeface="+mj-lt"/>
                        </a:rPr>
                        <a:t>0.63 €</a:t>
                      </a:r>
                    </a:p>
                  </a:txBody>
                  <a:tcPr marL="36015" marR="36015" marT="72000" marB="90000" anchor="ctr" horzOverflow="overflow">
                    <a:lnL w="9525" cap="flat" cmpd="sng" algn="ctr">
                      <a:solidFill>
                        <a:schemeClr val="accent4"/>
                      </a:solidFill>
                      <a:prstDash val="solid"/>
                      <a:round/>
                      <a:headEnd type="none" w="med" len="med"/>
                      <a:tailEnd type="none" w="med" len="med"/>
                    </a:lnL>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tcPr>
                </a:tc>
              </a:tr>
            </a:tbl>
          </a:graphicData>
        </a:graphic>
      </p:graphicFrame>
      <p:sp>
        <p:nvSpPr>
          <p:cNvPr id="5" name="Gleichschenkliges Dreieck 4"/>
          <p:cNvSpPr/>
          <p:nvPr/>
        </p:nvSpPr>
        <p:spPr>
          <a:xfrm flipV="1">
            <a:off x="396464" y="4653136"/>
            <a:ext cx="8356433" cy="48563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CH" b="1" smtClean="0">
              <a:solidFill>
                <a:prstClr val="black"/>
              </a:solidFill>
            </a:endParaRPr>
          </a:p>
        </p:txBody>
      </p:sp>
    </p:spTree>
    <p:extLst>
      <p:ext uri="{BB962C8B-B14F-4D97-AF65-F5344CB8AC3E}">
        <p14:creationId xmlns:p14="http://schemas.microsoft.com/office/powerpoint/2010/main" val="381109218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389424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78"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7" name="Rechteck 6"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400" smtClean="0">
              <a:solidFill>
                <a:schemeClr val="tx1"/>
              </a:solidFill>
              <a:latin typeface="Arial"/>
              <a:sym typeface="Arial"/>
            </a:endParaRPr>
          </a:p>
        </p:txBody>
      </p:sp>
      <p:cxnSp>
        <p:nvCxnSpPr>
          <p:cNvPr id="93" name="Gerade Verbindung 92"/>
          <p:cNvCxnSpPr/>
          <p:nvPr>
            <p:custDataLst>
              <p:tags r:id="rId4"/>
            </p:custDataLst>
          </p:nvPr>
        </p:nvCxnSpPr>
        <p:spPr bwMode="auto">
          <a:xfrm flipV="1">
            <a:off x="5143500" y="2838450"/>
            <a:ext cx="495300" cy="3143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Gerade Verbindung 89"/>
          <p:cNvCxnSpPr/>
          <p:nvPr>
            <p:custDataLst>
              <p:tags r:id="rId5"/>
            </p:custDataLst>
          </p:nvPr>
        </p:nvCxnSpPr>
        <p:spPr bwMode="auto">
          <a:xfrm flipV="1">
            <a:off x="1781175" y="3762375"/>
            <a:ext cx="495300" cy="1905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custDataLst>
              <p:tags r:id="rId6"/>
            </p:custDataLst>
          </p:nvPr>
        </p:nvCxnSpPr>
        <p:spPr bwMode="auto">
          <a:xfrm flipV="1">
            <a:off x="4019550" y="3152775"/>
            <a:ext cx="49530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p:custDataLst>
              <p:tags r:id="rId7"/>
            </p:custDataLst>
          </p:nvPr>
        </p:nvCxnSpPr>
        <p:spPr bwMode="auto">
          <a:xfrm flipV="1">
            <a:off x="2895600" y="3457575"/>
            <a:ext cx="49530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custDataLst>
              <p:tags r:id="rId8"/>
            </p:custDataLst>
          </p:nvPr>
        </p:nvCxnSpPr>
        <p:spPr bwMode="auto">
          <a:xfrm flipV="1">
            <a:off x="6267450" y="2590800"/>
            <a:ext cx="495300" cy="2476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Objekt 5"/>
          <p:cNvGraphicFramePr>
            <a:graphicFrameLocks/>
          </p:cNvGraphicFramePr>
          <p:nvPr>
            <p:custDataLst>
              <p:tags r:id="rId9"/>
            </p:custDataLst>
            <p:extLst>
              <p:ext uri="{D42A27DB-BD31-4B8C-83A1-F6EECF244321}">
                <p14:modId xmlns:p14="http://schemas.microsoft.com/office/powerpoint/2010/main" val="491575748"/>
              </p:ext>
            </p:extLst>
          </p:nvPr>
        </p:nvGraphicFramePr>
        <p:xfrm>
          <a:off x="304800" y="1143001"/>
          <a:ext cx="8544035" cy="4972185"/>
        </p:xfrm>
        <a:graphic>
          <a:graphicData uri="http://schemas.openxmlformats.org/presentationml/2006/ole">
            <mc:AlternateContent xmlns:mc="http://schemas.openxmlformats.org/markup-compatibility/2006">
              <mc:Choice xmlns:v="urn:schemas-microsoft-com:vml" Requires="v">
                <p:oleObj spid="_x0000_s189479" name="Chart" r:id="rId21" imgW="8543841" imgH="4972185" progId="MSGraph.Chart.8">
                  <p:embed followColorScheme="full"/>
                </p:oleObj>
              </mc:Choice>
              <mc:Fallback>
                <p:oleObj name="Chart" r:id="rId21" imgW="8543841" imgH="4972185" progId="MSGraph.Chart.8">
                  <p:embed followColorScheme="full"/>
                  <p:pic>
                    <p:nvPicPr>
                      <p:cNvPr id="0" name=""/>
                      <p:cNvPicPr/>
                      <p:nvPr/>
                    </p:nvPicPr>
                    <p:blipFill>
                      <a:blip r:embed="rId22"/>
                      <a:stretch>
                        <a:fillRect/>
                      </a:stretch>
                    </p:blipFill>
                    <p:spPr>
                      <a:xfrm>
                        <a:off x="304800" y="1143001"/>
                        <a:ext cx="8544035" cy="4972185"/>
                      </a:xfrm>
                      <a:prstGeom prst="rect">
                        <a:avLst/>
                      </a:prstGeom>
                    </p:spPr>
                  </p:pic>
                </p:oleObj>
              </mc:Fallback>
            </mc:AlternateContent>
          </a:graphicData>
        </a:graphic>
      </p:graphicFrame>
      <p:sp>
        <p:nvSpPr>
          <p:cNvPr id="21" name="Textplatzhalter 18"/>
          <p:cNvSpPr>
            <a:spLocks noGrp="1"/>
          </p:cNvSpPr>
          <p:nvPr>
            <p:custDataLst>
              <p:tags r:id="rId10"/>
            </p:custDataLst>
          </p:nvPr>
        </p:nvSpPr>
        <p:spPr bwMode="auto">
          <a:xfrm>
            <a:off x="3502025"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5AC8B37F-C524-45BB-9E32-55674AFD95EA}" type="datetime'''''''1''''''''''9''''''''''9''''6'''">
              <a:rPr lang="en-US" sz="1400"/>
              <a:pPr/>
              <a:t>1996</a:t>
            </a:fld>
            <a:endParaRPr lang="en-US" sz="1400" dirty="0">
              <a:latin typeface="Arial"/>
              <a:sym typeface="Arial"/>
            </a:endParaRPr>
          </a:p>
        </p:txBody>
      </p:sp>
      <p:sp>
        <p:nvSpPr>
          <p:cNvPr id="20" name="Textplatzhalter 17"/>
          <p:cNvSpPr>
            <a:spLocks noGrp="1"/>
          </p:cNvSpPr>
          <p:nvPr>
            <p:custDataLst>
              <p:tags r:id="rId11"/>
            </p:custDataLst>
          </p:nvPr>
        </p:nvSpPr>
        <p:spPr bwMode="auto">
          <a:xfrm>
            <a:off x="7988300"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BDF52ADE-613D-49D4-81D5-5BF7BAE635E8}" type="datetime'''''2''''0''''''''15'''''''''''''''''''">
              <a:rPr lang="en-US" sz="1400"/>
              <a:pPr/>
              <a:t>2015</a:t>
            </a:fld>
            <a:endParaRPr lang="en-US" sz="1400" dirty="0">
              <a:latin typeface="Arial"/>
              <a:sym typeface="Arial"/>
            </a:endParaRPr>
          </a:p>
        </p:txBody>
      </p:sp>
      <p:sp>
        <p:nvSpPr>
          <p:cNvPr id="19" name="Textplatzhalter 16"/>
          <p:cNvSpPr>
            <a:spLocks noGrp="1"/>
          </p:cNvSpPr>
          <p:nvPr>
            <p:custDataLst>
              <p:tags r:id="rId12"/>
            </p:custDataLst>
          </p:nvPr>
        </p:nvSpPr>
        <p:spPr bwMode="auto">
          <a:xfrm>
            <a:off x="6869113"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B2809504-3A90-4911-A8F7-C3F1F4173F0A}" type="datetime'2''''''''''''''''0''''''''''''1''''0'''">
              <a:rPr lang="en-US" sz="1400"/>
              <a:pPr/>
              <a:t>2010</a:t>
            </a:fld>
            <a:endParaRPr lang="en-US" sz="1400" dirty="0">
              <a:latin typeface="Arial"/>
              <a:sym typeface="Arial"/>
            </a:endParaRPr>
          </a:p>
        </p:txBody>
      </p:sp>
      <p:sp>
        <p:nvSpPr>
          <p:cNvPr id="18" name="Textplatzhalter 15"/>
          <p:cNvSpPr>
            <a:spLocks noGrp="1"/>
          </p:cNvSpPr>
          <p:nvPr>
            <p:custDataLst>
              <p:tags r:id="rId13"/>
            </p:custDataLst>
          </p:nvPr>
        </p:nvSpPr>
        <p:spPr bwMode="auto">
          <a:xfrm>
            <a:off x="5749925"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77D4C103-8088-4573-BC09-2AC2A59FB988}" type="datetime'''''''''''''''2''''''''''''''0''0''''''''''''''''''''''''4'''">
              <a:rPr lang="en-US" sz="1400">
                <a:latin typeface="Arial"/>
                <a:sym typeface="Arial"/>
              </a:rPr>
              <a:pPr algn="ctr">
                <a:spcBef>
                  <a:spcPct val="0"/>
                </a:spcBef>
                <a:spcAft>
                  <a:spcPct val="0"/>
                </a:spcAft>
              </a:pPr>
              <a:t>2004</a:t>
            </a:fld>
            <a:endParaRPr lang="en-US" sz="1400" dirty="0">
              <a:latin typeface="Arial"/>
              <a:sym typeface="Arial"/>
            </a:endParaRPr>
          </a:p>
        </p:txBody>
      </p:sp>
      <p:sp>
        <p:nvSpPr>
          <p:cNvPr id="11" name="Textplatzhalter 8"/>
          <p:cNvSpPr>
            <a:spLocks noGrp="1"/>
          </p:cNvSpPr>
          <p:nvPr>
            <p:custDataLst>
              <p:tags r:id="rId14"/>
            </p:custDataLst>
          </p:nvPr>
        </p:nvSpPr>
        <p:spPr bwMode="auto">
          <a:xfrm>
            <a:off x="4625975"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2871BFF6-84E8-4284-89C3-997D9CDDD102}" type="datetime'''''''2''''0''''''''''''''''''''''''''0''''''1'">
              <a:rPr lang="en-US" sz="1400"/>
              <a:pPr/>
              <a:t>2001</a:t>
            </a:fld>
            <a:endParaRPr lang="en-US" sz="1400" dirty="0">
              <a:sym typeface="+mn-lt"/>
            </a:endParaRPr>
          </a:p>
        </p:txBody>
      </p:sp>
      <p:sp>
        <p:nvSpPr>
          <p:cNvPr id="9" name="Textplatzhalter 6"/>
          <p:cNvSpPr>
            <a:spLocks noGrp="1"/>
          </p:cNvSpPr>
          <p:nvPr>
            <p:custDataLst>
              <p:tags r:id="rId15"/>
            </p:custDataLst>
          </p:nvPr>
        </p:nvSpPr>
        <p:spPr bwMode="auto">
          <a:xfrm>
            <a:off x="1263650"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E9201973-CFF3-4468-B447-9EB2A728EC5A}" type="datetime'''''''''1''''''''''''''97''''''''''''''''''''8'''''">
              <a:rPr lang="en-US" sz="1400"/>
              <a:pPr/>
              <a:t>1978</a:t>
            </a:fld>
            <a:endParaRPr lang="en-US" sz="1400" dirty="0">
              <a:sym typeface="+mn-lt"/>
            </a:endParaRPr>
          </a:p>
        </p:txBody>
      </p:sp>
      <p:sp>
        <p:nvSpPr>
          <p:cNvPr id="10" name="Textplatzhalter 7"/>
          <p:cNvSpPr>
            <a:spLocks noGrp="1"/>
          </p:cNvSpPr>
          <p:nvPr>
            <p:custDataLst>
              <p:tags r:id="rId16"/>
            </p:custDataLst>
          </p:nvPr>
        </p:nvSpPr>
        <p:spPr bwMode="auto">
          <a:xfrm>
            <a:off x="2382838"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7BC708E4-E756-48BF-AD29-61DD0ADA3E5B}" type="datetime'''''''''''''''''19''''8''''''''''''9'''''''''''">
              <a:rPr lang="en-US" sz="1400"/>
              <a:pPr/>
              <a:t>1989</a:t>
            </a:fld>
            <a:endParaRPr lang="en-US" sz="1400" dirty="0">
              <a:sym typeface="+mn-lt"/>
            </a:endParaRPr>
          </a:p>
        </p:txBody>
      </p:sp>
      <p:cxnSp>
        <p:nvCxnSpPr>
          <p:cNvPr id="80" name="Gerade Verbindung 79"/>
          <p:cNvCxnSpPr/>
          <p:nvPr/>
        </p:nvCxnSpPr>
        <p:spPr>
          <a:xfrm>
            <a:off x="1157289" y="2599805"/>
            <a:ext cx="0" cy="1604399"/>
          </a:xfrm>
          <a:prstGeom prst="line">
            <a:avLst/>
          </a:prstGeom>
          <a:ln w="19050">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p:nvCxnSpPr>
        <p:spPr>
          <a:xfrm>
            <a:off x="3995936" y="2204864"/>
            <a:ext cx="0" cy="1543328"/>
          </a:xfrm>
          <a:prstGeom prst="line">
            <a:avLst/>
          </a:prstGeom>
          <a:ln w="19050">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a:xfrm>
            <a:off x="395288" y="142877"/>
            <a:ext cx="7188136" cy="909635"/>
          </a:xfrm>
        </p:spPr>
        <p:txBody>
          <a:bodyPr/>
          <a:lstStyle/>
          <a:p>
            <a:r>
              <a:rPr lang="en-US" dirty="0" smtClean="0"/>
              <a:t>The acceleration</a:t>
            </a:r>
            <a:r>
              <a:rPr lang="de-CH" dirty="0" smtClean="0"/>
              <a:t> of </a:t>
            </a:r>
            <a:r>
              <a:rPr lang="de-CH" dirty="0"/>
              <a:t>gear </a:t>
            </a:r>
            <a:r>
              <a:rPr lang="de-CH" dirty="0" smtClean="0"/>
              <a:t>cutting speeds in the last 35 years</a:t>
            </a:r>
            <a:r>
              <a:rPr lang="zh-CN" altLang="en-US" dirty="0" smtClean="0"/>
              <a:t>在过去</a:t>
            </a:r>
            <a:r>
              <a:rPr lang="en-US" altLang="zh-CN" dirty="0" smtClean="0"/>
              <a:t>35</a:t>
            </a:r>
            <a:r>
              <a:rPr lang="zh-CN" altLang="en-US" dirty="0" smtClean="0"/>
              <a:t>年齿轮加工速度的提升</a:t>
            </a:r>
            <a:endParaRPr lang="en-US" dirty="0"/>
          </a:p>
        </p:txBody>
      </p:sp>
      <p:sp>
        <p:nvSpPr>
          <p:cNvPr id="42" name="Textfeld 41"/>
          <p:cNvSpPr txBox="1"/>
          <p:nvPr/>
        </p:nvSpPr>
        <p:spPr>
          <a:xfrm>
            <a:off x="395288" y="1052512"/>
            <a:ext cx="1872456" cy="215901"/>
          </a:xfrm>
          <a:prstGeom prst="rect">
            <a:avLst/>
          </a:prstGeom>
          <a:noFill/>
        </p:spPr>
        <p:txBody>
          <a:bodyPr wrap="square" lIns="0" tIns="0" rIns="0" bIns="0" rtlCol="0">
            <a:noAutofit/>
          </a:bodyPr>
          <a:lstStyle/>
          <a:p>
            <a:pPr>
              <a:spcBef>
                <a:spcPts val="300"/>
              </a:spcBef>
              <a:spcAft>
                <a:spcPts val="300"/>
              </a:spcAft>
              <a:buClr>
                <a:schemeClr val="bg2"/>
              </a:buClr>
            </a:pPr>
            <a:r>
              <a:rPr lang="de-CH" sz="1200" dirty="0" err="1" smtClean="0"/>
              <a:t>Cutting</a:t>
            </a:r>
            <a:r>
              <a:rPr lang="de-CH" sz="1200" dirty="0" smtClean="0"/>
              <a:t> </a:t>
            </a:r>
            <a:r>
              <a:rPr lang="de-CH" sz="1200" dirty="0" err="1" smtClean="0"/>
              <a:t>speed</a:t>
            </a:r>
            <a:r>
              <a:rPr lang="de-CH" sz="1200" dirty="0" smtClean="0"/>
              <a:t> (m/min)</a:t>
            </a:r>
            <a:endParaRPr lang="en-US" sz="1200" dirty="0" err="1" smtClean="0"/>
          </a:p>
        </p:txBody>
      </p:sp>
      <p:sp>
        <p:nvSpPr>
          <p:cNvPr id="45" name="Textfeld 44"/>
          <p:cNvSpPr txBox="1"/>
          <p:nvPr/>
        </p:nvSpPr>
        <p:spPr>
          <a:xfrm>
            <a:off x="1134855" y="2274996"/>
            <a:ext cx="1348913" cy="289908"/>
          </a:xfrm>
          <a:prstGeom prst="rect">
            <a:avLst/>
          </a:prstGeom>
          <a:solidFill>
            <a:schemeClr val="bg1">
              <a:lumMod val="85000"/>
            </a:schemeClr>
          </a:solidFill>
        </p:spPr>
        <p:txBody>
          <a:bodyPr wrap="square" lIns="36000" tIns="36000" rIns="0" bIns="0" rtlCol="0">
            <a:noAutofit/>
          </a:bodyPr>
          <a:lstStyle/>
          <a:p>
            <a:pPr>
              <a:spcBef>
                <a:spcPts val="300"/>
              </a:spcBef>
              <a:spcAft>
                <a:spcPts val="300"/>
              </a:spcAft>
              <a:buClr>
                <a:schemeClr val="bg2"/>
              </a:buClr>
            </a:pPr>
            <a:r>
              <a:rPr lang="de-CH" sz="1200" dirty="0" smtClean="0">
                <a:solidFill>
                  <a:schemeClr val="tx1">
                    <a:lumMod val="75000"/>
                    <a:lumOff val="25000"/>
                  </a:schemeClr>
                </a:solidFill>
              </a:rPr>
              <a:t>BALINIT</a:t>
            </a:r>
            <a:r>
              <a:rPr lang="de-CH" sz="1200" baseline="30000" dirty="0" smtClean="0">
                <a:solidFill>
                  <a:schemeClr val="tx1">
                    <a:lumMod val="75000"/>
                    <a:lumOff val="25000"/>
                  </a:schemeClr>
                </a:solidFill>
              </a:rPr>
              <a:t>®</a:t>
            </a:r>
            <a:r>
              <a:rPr lang="de-CH" sz="1200" dirty="0" smtClean="0">
                <a:solidFill>
                  <a:schemeClr val="tx1">
                    <a:lumMod val="75000"/>
                    <a:lumOff val="25000"/>
                  </a:schemeClr>
                </a:solidFill>
              </a:rPr>
              <a:t> A (</a:t>
            </a:r>
            <a:r>
              <a:rPr lang="de-CH" sz="1200" dirty="0" err="1" smtClean="0">
                <a:solidFill>
                  <a:schemeClr val="tx1">
                    <a:lumMod val="75000"/>
                    <a:lumOff val="25000"/>
                  </a:schemeClr>
                </a:solidFill>
              </a:rPr>
              <a:t>TiN</a:t>
            </a:r>
            <a:r>
              <a:rPr lang="de-CH" sz="1200" dirty="0" smtClean="0">
                <a:solidFill>
                  <a:schemeClr val="tx1">
                    <a:lumMod val="75000"/>
                    <a:lumOff val="25000"/>
                  </a:schemeClr>
                </a:solidFill>
              </a:rPr>
              <a:t>)</a:t>
            </a:r>
            <a:endParaRPr lang="en-US" sz="1200" dirty="0" err="1" smtClean="0">
              <a:solidFill>
                <a:schemeClr val="tx1">
                  <a:lumMod val="75000"/>
                  <a:lumOff val="25000"/>
                </a:schemeClr>
              </a:solidFill>
            </a:endParaRPr>
          </a:p>
        </p:txBody>
      </p:sp>
      <p:sp>
        <p:nvSpPr>
          <p:cNvPr id="72" name="Textfeld 71"/>
          <p:cNvSpPr txBox="1"/>
          <p:nvPr/>
        </p:nvSpPr>
        <p:spPr>
          <a:xfrm>
            <a:off x="2286983" y="2851060"/>
            <a:ext cx="1348913" cy="289908"/>
          </a:xfrm>
          <a:prstGeom prst="rect">
            <a:avLst/>
          </a:prstGeom>
          <a:solidFill>
            <a:schemeClr val="bg1">
              <a:lumMod val="85000"/>
            </a:schemeClr>
          </a:solidFill>
        </p:spPr>
        <p:txBody>
          <a:bodyPr wrap="square" lIns="36000" tIns="36000" rIns="0" bIns="0" rtlCol="0">
            <a:noAutofit/>
          </a:bodyPr>
          <a:lstStyle/>
          <a:p>
            <a:pPr>
              <a:spcBef>
                <a:spcPts val="300"/>
              </a:spcBef>
              <a:spcAft>
                <a:spcPts val="300"/>
              </a:spcAft>
              <a:buClr>
                <a:schemeClr val="bg2"/>
              </a:buClr>
            </a:pPr>
            <a:r>
              <a:rPr lang="de-CH" sz="1200" dirty="0" smtClean="0">
                <a:solidFill>
                  <a:schemeClr val="tx1">
                    <a:lumMod val="75000"/>
                    <a:lumOff val="25000"/>
                  </a:schemeClr>
                </a:solidFill>
              </a:rPr>
              <a:t>BALINIT</a:t>
            </a:r>
            <a:r>
              <a:rPr lang="de-CH" sz="1200" baseline="30000" dirty="0" smtClean="0">
                <a:solidFill>
                  <a:schemeClr val="tx1">
                    <a:lumMod val="75000"/>
                    <a:lumOff val="25000"/>
                  </a:schemeClr>
                </a:solidFill>
              </a:rPr>
              <a:t>®</a:t>
            </a:r>
            <a:r>
              <a:rPr lang="de-CH" sz="1200" dirty="0" smtClean="0">
                <a:solidFill>
                  <a:schemeClr val="tx1">
                    <a:lumMod val="75000"/>
                    <a:lumOff val="25000"/>
                  </a:schemeClr>
                </a:solidFill>
              </a:rPr>
              <a:t> B (</a:t>
            </a:r>
            <a:r>
              <a:rPr lang="de-CH" sz="1200" dirty="0" err="1" smtClean="0">
                <a:solidFill>
                  <a:schemeClr val="tx1">
                    <a:lumMod val="75000"/>
                    <a:lumOff val="25000"/>
                  </a:schemeClr>
                </a:solidFill>
              </a:rPr>
              <a:t>TiCN</a:t>
            </a:r>
            <a:r>
              <a:rPr lang="de-CH" sz="1200" dirty="0" smtClean="0">
                <a:solidFill>
                  <a:schemeClr val="tx1">
                    <a:lumMod val="75000"/>
                    <a:lumOff val="25000"/>
                  </a:schemeClr>
                </a:solidFill>
              </a:rPr>
              <a:t>)</a:t>
            </a:r>
            <a:endParaRPr lang="en-US" sz="1200" dirty="0" err="1" smtClean="0">
              <a:solidFill>
                <a:schemeClr val="tx1">
                  <a:lumMod val="75000"/>
                  <a:lumOff val="25000"/>
                </a:schemeClr>
              </a:solidFill>
            </a:endParaRPr>
          </a:p>
        </p:txBody>
      </p:sp>
      <p:sp>
        <p:nvSpPr>
          <p:cNvPr id="73" name="Textfeld 72"/>
          <p:cNvSpPr txBox="1"/>
          <p:nvPr/>
        </p:nvSpPr>
        <p:spPr>
          <a:xfrm>
            <a:off x="1835696" y="1867002"/>
            <a:ext cx="2189400" cy="294429"/>
          </a:xfrm>
          <a:prstGeom prst="rect">
            <a:avLst/>
          </a:prstGeom>
          <a:solidFill>
            <a:schemeClr val="bg1">
              <a:lumMod val="85000"/>
            </a:schemeClr>
          </a:solidFill>
        </p:spPr>
        <p:txBody>
          <a:bodyPr wrap="square" lIns="36000" tIns="36000" rIns="0" bIns="0" rtlCol="0">
            <a:noAutofit/>
          </a:bodyPr>
          <a:lstStyle/>
          <a:p>
            <a:pPr>
              <a:spcBef>
                <a:spcPts val="300"/>
              </a:spcBef>
              <a:spcAft>
                <a:spcPts val="300"/>
              </a:spcAft>
              <a:buClr>
                <a:schemeClr val="bg2"/>
              </a:buClr>
            </a:pPr>
            <a:r>
              <a:rPr lang="de-CH" sz="1200" dirty="0" smtClean="0">
                <a:solidFill>
                  <a:schemeClr val="tx1">
                    <a:lumMod val="75000"/>
                    <a:lumOff val="25000"/>
                  </a:schemeClr>
                </a:solidFill>
              </a:rPr>
              <a:t>BALINIT</a:t>
            </a:r>
            <a:r>
              <a:rPr lang="de-CH" sz="1200" baseline="30000" dirty="0" smtClean="0">
                <a:solidFill>
                  <a:schemeClr val="tx1">
                    <a:lumMod val="75000"/>
                    <a:lumOff val="25000"/>
                  </a:schemeClr>
                </a:solidFill>
              </a:rPr>
              <a:t>®</a:t>
            </a:r>
            <a:r>
              <a:rPr lang="de-CH" sz="1200" dirty="0" smtClean="0">
                <a:solidFill>
                  <a:schemeClr val="tx1">
                    <a:lumMod val="75000"/>
                    <a:lumOff val="25000"/>
                  </a:schemeClr>
                </a:solidFill>
              </a:rPr>
              <a:t> FUTURA (</a:t>
            </a:r>
            <a:r>
              <a:rPr lang="de-CH" sz="1200" dirty="0" err="1" smtClean="0">
                <a:solidFill>
                  <a:schemeClr val="tx1">
                    <a:lumMod val="75000"/>
                    <a:lumOff val="25000"/>
                  </a:schemeClr>
                </a:solidFill>
              </a:rPr>
              <a:t>TiN</a:t>
            </a:r>
            <a:r>
              <a:rPr lang="de-CH" sz="1200" dirty="0" smtClean="0">
                <a:solidFill>
                  <a:schemeClr val="tx1">
                    <a:lumMod val="75000"/>
                    <a:lumOff val="25000"/>
                  </a:schemeClr>
                </a:solidFill>
              </a:rPr>
              <a:t>/</a:t>
            </a:r>
            <a:r>
              <a:rPr lang="de-CH" sz="1200" dirty="0" err="1" smtClean="0">
                <a:solidFill>
                  <a:schemeClr val="tx1">
                    <a:lumMod val="75000"/>
                    <a:lumOff val="25000"/>
                  </a:schemeClr>
                </a:solidFill>
              </a:rPr>
              <a:t>TiAN</a:t>
            </a:r>
            <a:r>
              <a:rPr lang="de-CH" sz="1200" dirty="0" smtClean="0">
                <a:solidFill>
                  <a:schemeClr val="tx1">
                    <a:lumMod val="75000"/>
                    <a:lumOff val="25000"/>
                  </a:schemeClr>
                </a:solidFill>
              </a:rPr>
              <a:t>)</a:t>
            </a:r>
            <a:endParaRPr lang="en-US" sz="1200" dirty="0" err="1" smtClean="0">
              <a:solidFill>
                <a:schemeClr val="tx1">
                  <a:lumMod val="75000"/>
                  <a:lumOff val="25000"/>
                </a:schemeClr>
              </a:solidFill>
            </a:endParaRPr>
          </a:p>
        </p:txBody>
      </p:sp>
      <p:cxnSp>
        <p:nvCxnSpPr>
          <p:cNvPr id="79" name="Gerade Verbindung 78"/>
          <p:cNvCxnSpPr/>
          <p:nvPr/>
        </p:nvCxnSpPr>
        <p:spPr>
          <a:xfrm>
            <a:off x="2292921" y="2850622"/>
            <a:ext cx="0" cy="897570"/>
          </a:xfrm>
          <a:prstGeom prst="line">
            <a:avLst/>
          </a:prstGeom>
          <a:ln w="19050">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06" name="Textfeld 105"/>
          <p:cNvSpPr txBox="1"/>
          <p:nvPr/>
        </p:nvSpPr>
        <p:spPr>
          <a:xfrm>
            <a:off x="4522447" y="1811599"/>
            <a:ext cx="2411753" cy="294429"/>
          </a:xfrm>
          <a:prstGeom prst="rect">
            <a:avLst/>
          </a:prstGeom>
          <a:solidFill>
            <a:schemeClr val="bg1">
              <a:lumMod val="85000"/>
            </a:schemeClr>
          </a:solidFill>
        </p:spPr>
        <p:txBody>
          <a:bodyPr wrap="square" lIns="36000" tIns="36000" rIns="0" bIns="0" rtlCol="0">
            <a:noAutofit/>
          </a:bodyPr>
          <a:lstStyle/>
          <a:p>
            <a:pPr>
              <a:spcBef>
                <a:spcPts val="300"/>
              </a:spcBef>
              <a:spcAft>
                <a:spcPts val="300"/>
              </a:spcAft>
              <a:buClr>
                <a:schemeClr val="bg2"/>
              </a:buClr>
            </a:pPr>
            <a:r>
              <a:rPr lang="de-CH" sz="1200" dirty="0" smtClean="0">
                <a:solidFill>
                  <a:schemeClr val="tx1">
                    <a:lumMod val="75000"/>
                    <a:lumOff val="25000"/>
                  </a:schemeClr>
                </a:solidFill>
              </a:rPr>
              <a:t>BALINIT</a:t>
            </a:r>
            <a:r>
              <a:rPr lang="de-CH" sz="1200" baseline="30000" dirty="0" smtClean="0">
                <a:solidFill>
                  <a:schemeClr val="tx1">
                    <a:lumMod val="75000"/>
                    <a:lumOff val="25000"/>
                  </a:schemeClr>
                </a:solidFill>
              </a:rPr>
              <a:t>®</a:t>
            </a:r>
            <a:r>
              <a:rPr lang="de-CH" sz="1200" dirty="0" smtClean="0">
                <a:solidFill>
                  <a:schemeClr val="tx1">
                    <a:lumMod val="75000"/>
                    <a:lumOff val="25000"/>
                  </a:schemeClr>
                </a:solidFill>
              </a:rPr>
              <a:t> FUTURA NANO (</a:t>
            </a:r>
            <a:r>
              <a:rPr lang="de-CH" sz="1200" dirty="0" err="1" smtClean="0">
                <a:solidFill>
                  <a:schemeClr val="tx1">
                    <a:lumMod val="75000"/>
                    <a:lumOff val="25000"/>
                  </a:schemeClr>
                </a:solidFill>
              </a:rPr>
              <a:t>TiAlN</a:t>
            </a:r>
            <a:r>
              <a:rPr lang="de-CH" sz="1200" dirty="0" smtClean="0">
                <a:solidFill>
                  <a:schemeClr val="tx1">
                    <a:lumMod val="75000"/>
                    <a:lumOff val="25000"/>
                  </a:schemeClr>
                </a:solidFill>
              </a:rPr>
              <a:t>)</a:t>
            </a:r>
            <a:endParaRPr lang="en-US" sz="1200" dirty="0" err="1" smtClean="0">
              <a:solidFill>
                <a:schemeClr val="tx1">
                  <a:lumMod val="75000"/>
                  <a:lumOff val="25000"/>
                </a:schemeClr>
              </a:solidFill>
            </a:endParaRPr>
          </a:p>
        </p:txBody>
      </p:sp>
      <p:cxnSp>
        <p:nvCxnSpPr>
          <p:cNvPr id="108" name="Gerade Verbindung 107"/>
          <p:cNvCxnSpPr/>
          <p:nvPr/>
        </p:nvCxnSpPr>
        <p:spPr>
          <a:xfrm flipV="1">
            <a:off x="4522447" y="2106028"/>
            <a:ext cx="0" cy="1034940"/>
          </a:xfrm>
          <a:prstGeom prst="line">
            <a:avLst/>
          </a:prstGeom>
          <a:ln w="19050">
            <a:solidFill>
              <a:schemeClr val="accent1"/>
            </a:solidFill>
            <a:prstDash val="dashDot"/>
          </a:ln>
        </p:spPr>
        <p:style>
          <a:lnRef idx="1">
            <a:schemeClr val="accent1"/>
          </a:lnRef>
          <a:fillRef idx="0">
            <a:schemeClr val="accent1"/>
          </a:fillRef>
          <a:effectRef idx="0">
            <a:schemeClr val="accent1"/>
          </a:effectRef>
          <a:fontRef idx="minor">
            <a:schemeClr val="tx1"/>
          </a:fontRef>
        </p:style>
      </p:cxnSp>
      <p:sp>
        <p:nvSpPr>
          <p:cNvPr id="109" name="Textfeld 108"/>
          <p:cNvSpPr txBox="1"/>
          <p:nvPr/>
        </p:nvSpPr>
        <p:spPr>
          <a:xfrm>
            <a:off x="4860032" y="2204864"/>
            <a:ext cx="2074168" cy="289908"/>
          </a:xfrm>
          <a:prstGeom prst="rect">
            <a:avLst/>
          </a:prstGeom>
          <a:solidFill>
            <a:schemeClr val="bg1">
              <a:lumMod val="85000"/>
            </a:schemeClr>
          </a:solidFill>
        </p:spPr>
        <p:txBody>
          <a:bodyPr wrap="square" lIns="36000" tIns="36000" rIns="0" bIns="0" rtlCol="0">
            <a:noAutofit/>
          </a:bodyPr>
          <a:lstStyle/>
          <a:p>
            <a:pPr>
              <a:spcBef>
                <a:spcPts val="300"/>
              </a:spcBef>
              <a:spcAft>
                <a:spcPts val="300"/>
              </a:spcAft>
              <a:buClr>
                <a:schemeClr val="bg2"/>
              </a:buClr>
            </a:pPr>
            <a:r>
              <a:rPr lang="de-CH" sz="1200" dirty="0" smtClean="0">
                <a:solidFill>
                  <a:schemeClr val="tx1">
                    <a:lumMod val="75000"/>
                    <a:lumOff val="25000"/>
                  </a:schemeClr>
                </a:solidFill>
              </a:rPr>
              <a:t>BALINIT</a:t>
            </a:r>
            <a:r>
              <a:rPr lang="de-CH" sz="1200" baseline="30000" dirty="0" smtClean="0">
                <a:solidFill>
                  <a:schemeClr val="tx1">
                    <a:lumMod val="75000"/>
                    <a:lumOff val="25000"/>
                  </a:schemeClr>
                </a:solidFill>
              </a:rPr>
              <a:t>®</a:t>
            </a:r>
            <a:r>
              <a:rPr lang="de-CH" sz="1200" dirty="0" smtClean="0">
                <a:solidFill>
                  <a:schemeClr val="tx1">
                    <a:lumMod val="75000"/>
                    <a:lumOff val="25000"/>
                  </a:schemeClr>
                </a:solidFill>
              </a:rPr>
              <a:t> ALCRONA (</a:t>
            </a:r>
            <a:r>
              <a:rPr lang="de-CH" sz="1200" dirty="0" err="1" smtClean="0">
                <a:solidFill>
                  <a:schemeClr val="tx1">
                    <a:lumMod val="75000"/>
                    <a:lumOff val="25000"/>
                  </a:schemeClr>
                </a:solidFill>
              </a:rPr>
              <a:t>AlCrN</a:t>
            </a:r>
            <a:r>
              <a:rPr lang="de-CH" sz="1200" dirty="0" smtClean="0">
                <a:solidFill>
                  <a:schemeClr val="tx1">
                    <a:lumMod val="75000"/>
                    <a:lumOff val="25000"/>
                  </a:schemeClr>
                </a:solidFill>
              </a:rPr>
              <a:t>)</a:t>
            </a:r>
            <a:endParaRPr lang="en-US" sz="1200" dirty="0" err="1" smtClean="0">
              <a:solidFill>
                <a:schemeClr val="tx1">
                  <a:lumMod val="75000"/>
                  <a:lumOff val="25000"/>
                </a:schemeClr>
              </a:solidFill>
            </a:endParaRPr>
          </a:p>
        </p:txBody>
      </p:sp>
      <p:cxnSp>
        <p:nvCxnSpPr>
          <p:cNvPr id="110" name="Gerade Verbindung 109"/>
          <p:cNvCxnSpPr/>
          <p:nvPr/>
        </p:nvCxnSpPr>
        <p:spPr>
          <a:xfrm>
            <a:off x="5644738" y="2204426"/>
            <a:ext cx="0" cy="634024"/>
          </a:xfrm>
          <a:prstGeom prst="line">
            <a:avLst/>
          </a:prstGeom>
          <a:ln w="19050">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pic>
        <p:nvPicPr>
          <p:cNvPr id="41" name="Picture 4"/>
          <p:cNvPicPr>
            <a:picLocks noChangeAspect="1" noChangeArrowheads="1"/>
          </p:cNvPicPr>
          <p:nvPr/>
        </p:nvPicPr>
        <p:blipFill rotWithShape="1">
          <a:blip r:embed="rId23" cstate="print">
            <a:clrChange>
              <a:clrFrom>
                <a:srgbClr val="EEF3FA"/>
              </a:clrFrom>
              <a:clrTo>
                <a:srgbClr val="EEF3FA">
                  <a:alpha val="0"/>
                </a:srgbClr>
              </a:clrTo>
            </a:clrChange>
            <a:extLst>
              <a:ext uri="{28A0092B-C50C-407E-A947-70E740481C1C}">
                <a14:useLocalDpi xmlns:a14="http://schemas.microsoft.com/office/drawing/2010/main" val="0"/>
              </a:ext>
            </a:extLst>
          </a:blip>
          <a:srcRect l="16324" t="23636" b="15273"/>
          <a:stretch/>
        </p:blipFill>
        <p:spPr bwMode="auto">
          <a:xfrm>
            <a:off x="5006254" y="4204204"/>
            <a:ext cx="2014018" cy="594648"/>
          </a:xfrm>
          <a:prstGeom prst="rect">
            <a:avLst/>
          </a:prstGeom>
          <a:solidFill>
            <a:schemeClr val="bg1"/>
          </a:solidFill>
          <a:ln>
            <a:noFill/>
          </a:ln>
        </p:spPr>
      </p:pic>
      <p:sp>
        <p:nvSpPr>
          <p:cNvPr id="112" name="Textfeld 111"/>
          <p:cNvSpPr txBox="1"/>
          <p:nvPr/>
        </p:nvSpPr>
        <p:spPr>
          <a:xfrm>
            <a:off x="4932040" y="1429596"/>
            <a:ext cx="2449835" cy="294429"/>
          </a:xfrm>
          <a:prstGeom prst="rect">
            <a:avLst/>
          </a:prstGeom>
          <a:solidFill>
            <a:schemeClr val="bg1">
              <a:lumMod val="85000"/>
            </a:schemeClr>
          </a:solidFill>
        </p:spPr>
        <p:txBody>
          <a:bodyPr wrap="square" lIns="36000" tIns="36000" rIns="0" bIns="0" rtlCol="0">
            <a:noAutofit/>
          </a:bodyPr>
          <a:lstStyle/>
          <a:p>
            <a:pPr>
              <a:spcBef>
                <a:spcPts val="300"/>
              </a:spcBef>
              <a:spcAft>
                <a:spcPts val="300"/>
              </a:spcAft>
              <a:buClr>
                <a:schemeClr val="bg2"/>
              </a:buClr>
            </a:pPr>
            <a:r>
              <a:rPr lang="de-CH" sz="1200" dirty="0" smtClean="0">
                <a:solidFill>
                  <a:schemeClr val="tx1">
                    <a:lumMod val="75000"/>
                    <a:lumOff val="25000"/>
                  </a:schemeClr>
                </a:solidFill>
              </a:rPr>
              <a:t>BALINIT</a:t>
            </a:r>
            <a:r>
              <a:rPr lang="de-CH" sz="1200" baseline="30000" dirty="0" smtClean="0">
                <a:solidFill>
                  <a:schemeClr val="tx1">
                    <a:lumMod val="75000"/>
                    <a:lumOff val="25000"/>
                  </a:schemeClr>
                </a:solidFill>
              </a:rPr>
              <a:t>®</a:t>
            </a:r>
            <a:r>
              <a:rPr lang="de-CH" sz="1200" dirty="0" smtClean="0">
                <a:solidFill>
                  <a:schemeClr val="tx1">
                    <a:lumMod val="75000"/>
                    <a:lumOff val="25000"/>
                  </a:schemeClr>
                </a:solidFill>
              </a:rPr>
              <a:t> ALCRONA PRO (</a:t>
            </a:r>
            <a:r>
              <a:rPr lang="de-CH" sz="1200" dirty="0" err="1" smtClean="0">
                <a:solidFill>
                  <a:schemeClr val="tx1">
                    <a:lumMod val="75000"/>
                    <a:lumOff val="25000"/>
                  </a:schemeClr>
                </a:solidFill>
              </a:rPr>
              <a:t>AlCrN</a:t>
            </a:r>
            <a:r>
              <a:rPr lang="de-CH" sz="1200" dirty="0" smtClean="0">
                <a:solidFill>
                  <a:schemeClr val="tx1">
                    <a:lumMod val="75000"/>
                    <a:lumOff val="25000"/>
                  </a:schemeClr>
                </a:solidFill>
              </a:rPr>
              <a:t>)</a:t>
            </a:r>
            <a:endParaRPr lang="en-US" sz="1200" dirty="0" err="1" smtClean="0">
              <a:solidFill>
                <a:schemeClr val="tx1">
                  <a:lumMod val="75000"/>
                  <a:lumOff val="25000"/>
                </a:schemeClr>
              </a:solidFill>
            </a:endParaRPr>
          </a:p>
        </p:txBody>
      </p:sp>
      <p:cxnSp>
        <p:nvCxnSpPr>
          <p:cNvPr id="113" name="Gerade Verbindung 112"/>
          <p:cNvCxnSpPr/>
          <p:nvPr/>
        </p:nvCxnSpPr>
        <p:spPr>
          <a:xfrm>
            <a:off x="7374374" y="1724025"/>
            <a:ext cx="5938" cy="899473"/>
          </a:xfrm>
          <a:prstGeom prst="line">
            <a:avLst/>
          </a:prstGeom>
          <a:ln w="19050">
            <a:solidFill>
              <a:schemeClr val="bg1">
                <a:lumMod val="8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8" name="Rechteck 7"/>
          <p:cNvSpPr/>
          <p:nvPr/>
        </p:nvSpPr>
        <p:spPr>
          <a:xfrm>
            <a:off x="7876134" y="1724025"/>
            <a:ext cx="611624" cy="4063778"/>
          </a:xfrm>
          <a:prstGeom prst="rect">
            <a:avLst/>
          </a:prstGeom>
          <a:gradFill>
            <a:gsLst>
              <a:gs pos="0">
                <a:schemeClr val="bg1"/>
              </a:gs>
              <a:gs pos="23000">
                <a:srgbClr val="FFECEC"/>
              </a:gs>
              <a:gs pos="41000">
                <a:srgbClr val="FFA9A9"/>
              </a:gs>
              <a:gs pos="77000">
                <a:schemeClr val="bg2">
                  <a:lumMod val="82000"/>
                  <a:lumOff val="18000"/>
                </a:schemeClr>
              </a:gs>
              <a:gs pos="100000">
                <a:schemeClr val="bg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smtClean="0">
              <a:solidFill>
                <a:schemeClr val="tx1"/>
              </a:solidFill>
            </a:endParaRPr>
          </a:p>
        </p:txBody>
      </p:sp>
      <p:grpSp>
        <p:nvGrpSpPr>
          <p:cNvPr id="115" name="Gruppieren 114"/>
          <p:cNvGrpSpPr/>
          <p:nvPr/>
        </p:nvGrpSpPr>
        <p:grpSpPr>
          <a:xfrm>
            <a:off x="7919882" y="1155052"/>
            <a:ext cx="1224118" cy="1194766"/>
            <a:chOff x="5881688" y="5013175"/>
            <a:chExt cx="1419826" cy="1389461"/>
          </a:xfrm>
        </p:grpSpPr>
        <p:sp>
          <p:nvSpPr>
            <p:cNvPr id="116" name="Ellipse 115"/>
            <p:cNvSpPr/>
            <p:nvPr/>
          </p:nvSpPr>
          <p:spPr>
            <a:xfrm>
              <a:off x="5881688" y="5143500"/>
              <a:ext cx="1259136" cy="1259136"/>
            </a:xfrm>
            <a:prstGeom prst="ellipse">
              <a:avLst/>
            </a:prstGeom>
            <a:solidFill>
              <a:schemeClr val="bg2"/>
            </a:solidFill>
            <a:ln w="31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smtClean="0">
                <a:solidFill>
                  <a:schemeClr val="tx1"/>
                </a:solidFill>
              </a:endParaRPr>
            </a:p>
          </p:txBody>
        </p:sp>
        <p:pic>
          <p:nvPicPr>
            <p:cNvPr id="117" name="Grafik 11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588223" y="5013175"/>
              <a:ext cx="713291" cy="713291"/>
            </a:xfrm>
            <a:prstGeom prst="rect">
              <a:avLst/>
            </a:prstGeom>
          </p:spPr>
        </p:pic>
        <p:sp>
          <p:nvSpPr>
            <p:cNvPr id="118" name="Textfeld 117"/>
            <p:cNvSpPr txBox="1"/>
            <p:nvPr/>
          </p:nvSpPr>
          <p:spPr>
            <a:xfrm>
              <a:off x="6084888" y="5327937"/>
              <a:ext cx="864394" cy="797060"/>
            </a:xfrm>
            <a:prstGeom prst="rect">
              <a:avLst/>
            </a:prstGeom>
            <a:noFill/>
          </p:spPr>
          <p:txBody>
            <a:bodyPr wrap="square" lIns="0" tIns="0" rIns="0" bIns="0" rtlCol="0" anchor="ctr">
              <a:noAutofit/>
            </a:bodyPr>
            <a:lstStyle/>
            <a:p>
              <a:pPr algn="ctr">
                <a:spcBef>
                  <a:spcPts val="300"/>
                </a:spcBef>
                <a:spcAft>
                  <a:spcPts val="300"/>
                </a:spcAft>
                <a:buClr>
                  <a:schemeClr val="bg2"/>
                </a:buClr>
              </a:pPr>
              <a:r>
                <a:rPr lang="de-CH" sz="4800" b="1" dirty="0" smtClean="0">
                  <a:solidFill>
                    <a:schemeClr val="bg1"/>
                  </a:solidFill>
                  <a:latin typeface="+mn-lt"/>
                </a:rPr>
                <a:t>?</a:t>
              </a:r>
              <a:endParaRPr lang="en-US" sz="1600" b="1" dirty="0" err="1" smtClean="0">
                <a:solidFill>
                  <a:schemeClr val="bg1"/>
                </a:solidFill>
                <a:latin typeface="+mn-lt"/>
              </a:endParaRPr>
            </a:p>
          </p:txBody>
        </p:sp>
      </p:grpSp>
    </p:spTree>
    <p:extLst>
      <p:ext uri="{BB962C8B-B14F-4D97-AF65-F5344CB8AC3E}">
        <p14:creationId xmlns:p14="http://schemas.microsoft.com/office/powerpoint/2010/main" val="23325367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38" name="Rectangle 18"/>
          <p:cNvSpPr>
            <a:spLocks noGrp="1" noChangeArrowheads="1"/>
          </p:cNvSpPr>
          <p:nvPr>
            <p:ph type="title"/>
            <p:custDataLst>
              <p:tags r:id="rId1"/>
            </p:custDataLst>
          </p:nvPr>
        </p:nvSpPr>
        <p:spPr bwMode="gray"/>
        <p:txBody>
          <a:bodyPr/>
          <a:lstStyle/>
          <a:p>
            <a:r>
              <a:rPr lang="en-GB" sz="2400" i="0" dirty="0" smtClean="0">
                <a:solidFill>
                  <a:srgbClr val="000000"/>
                </a:solidFill>
              </a:rPr>
              <a:t>BALINIT</a:t>
            </a:r>
            <a:r>
              <a:rPr lang="en-GB" sz="2400" i="0" baseline="30000" dirty="0" smtClean="0">
                <a:solidFill>
                  <a:srgbClr val="000000"/>
                </a:solidFill>
              </a:rPr>
              <a:t>®</a:t>
            </a:r>
            <a:r>
              <a:rPr lang="en-GB" sz="2400" i="0" dirty="0" smtClean="0">
                <a:solidFill>
                  <a:srgbClr val="000000"/>
                </a:solidFill>
              </a:rPr>
              <a:t> ALCRONA PRO </a:t>
            </a:r>
            <a:r>
              <a:rPr lang="en-GB" dirty="0">
                <a:solidFill>
                  <a:srgbClr val="000000"/>
                </a:solidFill>
              </a:rPr>
              <a:t/>
            </a:r>
            <a:br>
              <a:rPr lang="en-GB" dirty="0">
                <a:solidFill>
                  <a:srgbClr val="000000"/>
                </a:solidFill>
              </a:rPr>
            </a:br>
            <a:r>
              <a:rPr lang="en-GB" sz="2000" dirty="0">
                <a:solidFill>
                  <a:schemeClr val="bg1">
                    <a:lumMod val="50000"/>
                  </a:schemeClr>
                </a:solidFill>
              </a:rPr>
              <a:t>Facts and </a:t>
            </a:r>
            <a:r>
              <a:rPr lang="en-GB" sz="2000" dirty="0" smtClean="0">
                <a:solidFill>
                  <a:schemeClr val="bg1">
                    <a:lumMod val="50000"/>
                  </a:schemeClr>
                </a:solidFill>
              </a:rPr>
              <a:t>figures</a:t>
            </a:r>
            <a:r>
              <a:rPr lang="zh-CN" altLang="en-US" sz="2000" dirty="0" smtClean="0">
                <a:solidFill>
                  <a:schemeClr val="bg1">
                    <a:lumMod val="50000"/>
                  </a:schemeClr>
                </a:solidFill>
              </a:rPr>
              <a:t>事实和数据</a:t>
            </a:r>
            <a:r>
              <a:rPr lang="de" sz="2400" dirty="0" smtClean="0"/>
              <a:t/>
            </a:r>
            <a:br>
              <a:rPr lang="de" sz="2400" dirty="0" smtClean="0"/>
            </a:br>
            <a:endParaRPr lang="de" sz="2400" dirty="0" smtClean="0"/>
          </a:p>
        </p:txBody>
      </p:sp>
      <p:graphicFrame>
        <p:nvGraphicFramePr>
          <p:cNvPr id="39" name="Group 135"/>
          <p:cNvGraphicFramePr>
            <a:graphicFrameLocks noGrp="1"/>
          </p:cNvGraphicFramePr>
          <p:nvPr>
            <p:ph idx="4294967295"/>
            <p:extLst>
              <p:ext uri="{D42A27DB-BD31-4B8C-83A1-F6EECF244321}">
                <p14:modId xmlns:p14="http://schemas.microsoft.com/office/powerpoint/2010/main" val="1731473397"/>
              </p:ext>
            </p:extLst>
          </p:nvPr>
        </p:nvGraphicFramePr>
        <p:xfrm>
          <a:off x="4643437" y="1040627"/>
          <a:ext cx="4104456" cy="2192184"/>
        </p:xfrm>
        <a:graphic>
          <a:graphicData uri="http://schemas.openxmlformats.org/drawingml/2006/table">
            <a:tbl>
              <a:tblPr/>
              <a:tblGrid>
                <a:gridCol w="2436911"/>
                <a:gridCol w="1667545"/>
              </a:tblGrid>
              <a:tr h="416106">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tab pos="0" algn="l"/>
                        </a:tabLst>
                      </a:pPr>
                      <a:r>
                        <a:rPr lang="en-GB" sz="1200" b="1" i="0" u="none" dirty="0" smtClean="0">
                          <a:solidFill>
                            <a:schemeClr val="bg1"/>
                          </a:solidFill>
                          <a:latin typeface="+mj-lt"/>
                        </a:rPr>
                        <a:t>Structure</a:t>
                      </a:r>
                      <a:r>
                        <a:rPr lang="zh-CN" altLang="en-US" sz="1200" b="1" i="0" u="none" dirty="0" smtClean="0">
                          <a:solidFill>
                            <a:schemeClr val="bg1"/>
                          </a:solidFill>
                          <a:latin typeface="+mj-lt"/>
                        </a:rPr>
                        <a:t>结构</a:t>
                      </a:r>
                      <a:endParaRPr lang="en-GB" sz="1200" b="1" i="0" u="none" dirty="0" smtClean="0">
                        <a:solidFill>
                          <a:schemeClr val="bg1"/>
                        </a:solidFill>
                        <a:latin typeface="+mj-lt"/>
                      </a:endParaRPr>
                    </a:p>
                  </a:txBody>
                  <a:tcPr marL="90000" marR="71770" marT="72000" marB="90000" anchor="ctr" horzOverflow="overflow">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lang="en-GB" sz="1400" b="0" i="0" u="none" dirty="0" smtClean="0">
                          <a:solidFill>
                            <a:srgbClr val="000000"/>
                          </a:solidFill>
                          <a:latin typeface="+mj-lt"/>
                        </a:rPr>
                        <a:t>AlCrN Monolayer</a:t>
                      </a:r>
                    </a:p>
                  </a:txBody>
                  <a:tcPr marL="90000" marR="71770" marT="72000" marB="90000"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no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tx2"/>
                    </a:solidFill>
                  </a:tcPr>
                </a:tc>
              </a:tr>
              <a:tr h="416106">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lang="en-GB" sz="1200" b="1" i="0" u="none" dirty="0" smtClean="0">
                          <a:solidFill>
                            <a:schemeClr val="bg1"/>
                          </a:solidFill>
                          <a:latin typeface="+mj-lt"/>
                        </a:rPr>
                        <a:t>Hardness </a:t>
                      </a:r>
                      <a:r>
                        <a:rPr lang="zh-CN" altLang="en-US" sz="1200" b="1" i="0" u="none" dirty="0" smtClean="0">
                          <a:solidFill>
                            <a:schemeClr val="bg1"/>
                          </a:solidFill>
                          <a:latin typeface="+mj-lt"/>
                        </a:rPr>
                        <a:t>硬度</a:t>
                      </a:r>
                      <a:r>
                        <a:rPr lang="en-GB" sz="1200" b="1" i="0" u="none" dirty="0" smtClean="0">
                          <a:solidFill>
                            <a:schemeClr val="bg1"/>
                          </a:solidFill>
                          <a:latin typeface="+mj-lt"/>
                        </a:rPr>
                        <a:t>HV 0.05</a:t>
                      </a:r>
                    </a:p>
                  </a:txBody>
                  <a:tcPr marL="90000" marR="71770" marT="72000" marB="90000" anchor="ctr" horzOverflow="overflow">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rPr>
                        <a:t>3200</a:t>
                      </a:r>
                    </a:p>
                  </a:txBody>
                  <a:tcPr marL="90000" marR="71770" marT="72000" marB="90000"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tx2"/>
                    </a:solidFill>
                  </a:tcPr>
                </a:tc>
              </a:tr>
              <a:tr h="416106">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lang="en-GB" sz="1200" b="1" i="0" u="none" dirty="0" smtClean="0">
                          <a:solidFill>
                            <a:schemeClr val="bg1"/>
                          </a:solidFill>
                          <a:latin typeface="+mj-lt"/>
                        </a:rPr>
                        <a:t>Residual stress</a:t>
                      </a:r>
                      <a:r>
                        <a:rPr lang="zh-CN" altLang="en-US" sz="1200" b="1" i="0" u="none" dirty="0" smtClean="0">
                          <a:solidFill>
                            <a:schemeClr val="bg1"/>
                          </a:solidFill>
                          <a:latin typeface="+mj-lt"/>
                        </a:rPr>
                        <a:t>残余应力</a:t>
                      </a:r>
                      <a:r>
                        <a:rPr lang="en-GB" sz="1200" b="1" i="0" u="none" dirty="0" smtClean="0">
                          <a:solidFill>
                            <a:schemeClr val="bg1"/>
                          </a:solidFill>
                          <a:latin typeface="+mj-lt"/>
                        </a:rPr>
                        <a:t> [GPa]</a:t>
                      </a:r>
                    </a:p>
                  </a:txBody>
                  <a:tcPr marL="90000" marR="71770" marT="72000" marB="90000" anchor="ctr" horzOverflow="overflow">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lang="en-GB" sz="1400" b="0" i="0" u="none" dirty="0" smtClean="0">
                          <a:solidFill>
                            <a:srgbClr val="000000"/>
                          </a:solidFill>
                          <a:latin typeface="+mj-lt"/>
                        </a:rPr>
                        <a:t>- 3.0</a:t>
                      </a:r>
                    </a:p>
                  </a:txBody>
                  <a:tcPr marL="90000" marR="71770" marT="72000" marB="90000"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tx2"/>
                    </a:solidFill>
                  </a:tcPr>
                </a:tc>
              </a:tr>
              <a:tr h="416106">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lang="en-GB" sz="1200" b="1" i="0" u="none" dirty="0" smtClean="0">
                          <a:solidFill>
                            <a:schemeClr val="bg1"/>
                          </a:solidFill>
                          <a:latin typeface="+mj-lt"/>
                        </a:rPr>
                        <a:t>Service temperature </a:t>
                      </a:r>
                      <a:r>
                        <a:rPr lang="zh-CN" altLang="en-US" sz="1200" b="1" i="0" u="none" dirty="0" smtClean="0">
                          <a:solidFill>
                            <a:schemeClr val="bg1"/>
                          </a:solidFill>
                          <a:latin typeface="+mj-lt"/>
                        </a:rPr>
                        <a:t>工作温度</a:t>
                      </a:r>
                      <a:r>
                        <a:rPr lang="en-GB" sz="1200" b="1" i="0" u="none" dirty="0" smtClean="0">
                          <a:solidFill>
                            <a:schemeClr val="bg1"/>
                          </a:solidFill>
                          <a:latin typeface="+mj-lt"/>
                        </a:rPr>
                        <a:t>[°C]</a:t>
                      </a:r>
                    </a:p>
                  </a:txBody>
                  <a:tcPr marL="90000" marR="71770" marT="72000" marB="90000" anchor="ctr" horzOverflow="overflow">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accent4"/>
                    </a:solidFill>
                  </a:tcPr>
                </a:tc>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lang="en-GB" sz="1400" b="0" i="0" u="none" dirty="0" smtClean="0">
                          <a:solidFill>
                            <a:srgbClr val="000000"/>
                          </a:solidFill>
                          <a:latin typeface="+mj-lt"/>
                        </a:rPr>
                        <a:t>max. 1100</a:t>
                      </a:r>
                    </a:p>
                  </a:txBody>
                  <a:tcPr marL="90000" marR="71770" marT="72000" marB="90000"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chemeClr val="tx2"/>
                    </a:solidFill>
                  </a:tcPr>
                </a:tc>
              </a:tr>
              <a:tr h="416106">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lang="en-GB" sz="1200" b="1" i="0" u="none" dirty="0" smtClean="0">
                          <a:solidFill>
                            <a:schemeClr val="bg1"/>
                          </a:solidFill>
                          <a:latin typeface="+mj-lt"/>
                        </a:rPr>
                        <a:t>Coefficient of friction</a:t>
                      </a:r>
                      <a:r>
                        <a:rPr lang="zh-CN" altLang="en-US" sz="1200" b="1" i="0" u="none" dirty="0" smtClean="0">
                          <a:solidFill>
                            <a:schemeClr val="bg1"/>
                          </a:solidFill>
                          <a:latin typeface="+mj-lt"/>
                        </a:rPr>
                        <a:t>摩擦系数</a:t>
                      </a:r>
                      <a:endParaRPr lang="en-GB" sz="1200" b="1" i="0" u="none" dirty="0" smtClean="0">
                        <a:solidFill>
                          <a:schemeClr val="bg1"/>
                        </a:solidFill>
                        <a:latin typeface="+mj-lt"/>
                      </a:endParaRPr>
                    </a:p>
                  </a:txBody>
                  <a:tcPr marL="90000" marR="71770" marT="72000" marB="90000" anchor="ctr" horzOverflow="overflow">
                    <a:lnL w="57150" cap="flat" cmpd="sng" algn="ctr">
                      <a:no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a:noFill/>
                    </a:lnTlToBr>
                    <a:lnBlToTr>
                      <a:noFill/>
                    </a:lnBlToTr>
                    <a:solidFill>
                      <a:schemeClr val="accent4"/>
                    </a:solidFill>
                  </a:tcPr>
                </a:tc>
                <a:tc>
                  <a:txBody>
                    <a:bodyPr/>
                    <a:lstStyle/>
                    <a:p>
                      <a:pPr marL="0"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400" b="0" i="0" u="none" strike="noStrike" cap="none" normalizeH="0" baseline="0" dirty="0" smtClean="0">
                          <a:ln>
                            <a:noFill/>
                          </a:ln>
                          <a:solidFill>
                            <a:schemeClr val="tx1"/>
                          </a:solidFill>
                          <a:effectLst/>
                          <a:latin typeface="+mj-lt"/>
                        </a:rPr>
                        <a:t>0.35</a:t>
                      </a:r>
                    </a:p>
                  </a:txBody>
                  <a:tcPr marL="90000" marR="71770" marT="72000" marB="90000" anchor="ctr" horzOverflow="overflow">
                    <a:lnL w="57150" cap="flat" cmpd="sng" algn="ctr">
                      <a:solidFill>
                        <a:schemeClr val="bg1"/>
                      </a:solidFill>
                      <a:prstDash val="solid"/>
                      <a:round/>
                      <a:headEnd type="none" w="med" len="med"/>
                      <a:tailEnd type="none" w="med" len="med"/>
                    </a:lnL>
                    <a:lnR w="5715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noFill/>
                      <a:prstDash val="solid"/>
                      <a:round/>
                      <a:headEnd type="none" w="med" len="med"/>
                      <a:tailEnd type="none" w="med" len="med"/>
                    </a:lnB>
                    <a:lnTlToBr>
                      <a:noFill/>
                    </a:lnTlToBr>
                    <a:lnBlToTr>
                      <a:noFill/>
                    </a:lnBlToTr>
                    <a:solidFill>
                      <a:schemeClr val="tx2"/>
                    </a:solidFill>
                  </a:tcPr>
                </a:tc>
              </a:tr>
            </a:tbl>
          </a:graphicData>
        </a:graphic>
      </p:graphicFrame>
      <p:sp>
        <p:nvSpPr>
          <p:cNvPr id="312323" name="AutoShape 3"/>
          <p:cNvSpPr>
            <a:spLocks/>
          </p:cNvSpPr>
          <p:nvPr/>
        </p:nvSpPr>
        <p:spPr bwMode="gray">
          <a:xfrm>
            <a:off x="395287" y="3789040"/>
            <a:ext cx="4105275" cy="2512025"/>
          </a:xfrm>
          <a:prstGeom prst="roundRect">
            <a:avLst>
              <a:gd name="adj" fmla="val 0"/>
            </a:avLst>
          </a:prstGeom>
          <a:solidFill>
            <a:schemeClr val="tx2"/>
          </a:solidFill>
          <a:ln>
            <a:noFill/>
          </a:ln>
          <a:extLst/>
        </p:spPr>
        <p:txBody>
          <a:bodyPr lIns="90000" tIns="72000" rIns="72000" bIns="72000"/>
          <a:lstStyle/>
          <a:p>
            <a:pPr>
              <a:buClr>
                <a:schemeClr val="bg2"/>
              </a:buClr>
            </a:pPr>
            <a:r>
              <a:rPr lang="en-GB" sz="1800" b="1" i="0" dirty="0" smtClean="0">
                <a:solidFill>
                  <a:srgbClr val="000000"/>
                </a:solidFill>
                <a:latin typeface="+mj-lt"/>
              </a:rPr>
              <a:t>Operations such as</a:t>
            </a:r>
            <a:r>
              <a:rPr lang="zh-CN" altLang="en-US" sz="1800" b="1" i="0" dirty="0" smtClean="0">
                <a:solidFill>
                  <a:srgbClr val="000000"/>
                </a:solidFill>
                <a:latin typeface="+mj-lt"/>
              </a:rPr>
              <a:t>应用于</a:t>
            </a:r>
            <a:endParaRPr lang="en-GB" sz="1800" b="1" i="0" dirty="0" smtClean="0">
              <a:solidFill>
                <a:srgbClr val="000000"/>
              </a:solidFill>
              <a:latin typeface="+mj-lt"/>
            </a:endParaRPr>
          </a:p>
          <a:p>
            <a:pPr marL="285750" lvl="0" indent="-285750">
              <a:spcBef>
                <a:spcPts val="600"/>
              </a:spcBef>
              <a:buClr>
                <a:schemeClr val="bg2"/>
              </a:buClr>
              <a:buFont typeface="Wingdings" pitchFamily="2" charset="2"/>
              <a:buChar char="§"/>
            </a:pPr>
            <a:r>
              <a:rPr lang="en-GB" sz="1800" b="0" i="0" dirty="0" smtClean="0">
                <a:solidFill>
                  <a:srgbClr val="000000"/>
                </a:solidFill>
                <a:latin typeface="+mj-lt"/>
              </a:rPr>
              <a:t>Milling</a:t>
            </a:r>
            <a:r>
              <a:rPr lang="zh-CN" altLang="en-US" sz="1800" b="0" i="0" dirty="0" smtClean="0">
                <a:solidFill>
                  <a:srgbClr val="000000"/>
                </a:solidFill>
                <a:latin typeface="+mj-lt"/>
              </a:rPr>
              <a:t>铣削</a:t>
            </a:r>
            <a:endParaRPr lang="en-GB" sz="1800" b="0" i="0" dirty="0" smtClean="0">
              <a:solidFill>
                <a:srgbClr val="000000"/>
              </a:solidFill>
              <a:latin typeface="+mj-lt"/>
            </a:endParaRPr>
          </a:p>
          <a:p>
            <a:pPr marL="285750" lvl="0" indent="-285750">
              <a:spcBef>
                <a:spcPts val="600"/>
              </a:spcBef>
              <a:buClr>
                <a:schemeClr val="bg2"/>
              </a:buClr>
              <a:buFont typeface="Wingdings" pitchFamily="2" charset="2"/>
              <a:buChar char="§"/>
            </a:pPr>
            <a:r>
              <a:rPr lang="en-GB" sz="1800" b="0" i="0" dirty="0" smtClean="0">
                <a:solidFill>
                  <a:srgbClr val="000000"/>
                </a:solidFill>
                <a:latin typeface="+mj-lt"/>
              </a:rPr>
              <a:t>Gear cutting</a:t>
            </a:r>
            <a:r>
              <a:rPr lang="zh-CN" altLang="en-US" sz="1800" b="0" i="0" dirty="0" smtClean="0">
                <a:solidFill>
                  <a:srgbClr val="000000"/>
                </a:solidFill>
                <a:latin typeface="+mj-lt"/>
              </a:rPr>
              <a:t>齿轮加工</a:t>
            </a:r>
            <a:endParaRPr lang="en-GB" sz="1800" b="0" i="0" dirty="0" smtClean="0">
              <a:solidFill>
                <a:srgbClr val="000000"/>
              </a:solidFill>
              <a:latin typeface="+mj-lt"/>
            </a:endParaRPr>
          </a:p>
          <a:p>
            <a:pPr marL="285750" lvl="0" indent="-285750">
              <a:spcBef>
                <a:spcPts val="600"/>
              </a:spcBef>
              <a:buClr>
                <a:schemeClr val="bg2"/>
              </a:buClr>
              <a:buFont typeface="Wingdings" pitchFamily="2" charset="2"/>
              <a:buChar char="§"/>
            </a:pPr>
            <a:r>
              <a:rPr lang="en-GB" sz="1800" b="0" i="0" dirty="0" smtClean="0">
                <a:latin typeface="+mj-lt"/>
              </a:rPr>
              <a:t>Tapping</a:t>
            </a:r>
            <a:r>
              <a:rPr lang="zh-CN" altLang="en-US" sz="1800" b="0" i="0" dirty="0" smtClean="0">
                <a:latin typeface="+mj-lt"/>
              </a:rPr>
              <a:t>丝锥</a:t>
            </a:r>
            <a:endParaRPr lang="en-GB" sz="1800" b="0" i="0" dirty="0" smtClean="0">
              <a:latin typeface="+mj-lt"/>
            </a:endParaRPr>
          </a:p>
          <a:p>
            <a:pPr marL="285750" lvl="0" indent="-285750">
              <a:spcBef>
                <a:spcPts val="600"/>
              </a:spcBef>
              <a:buClr>
                <a:schemeClr val="bg2"/>
              </a:buClr>
              <a:buFont typeface="Wingdings" pitchFamily="2" charset="2"/>
              <a:buChar char="§"/>
            </a:pPr>
            <a:r>
              <a:rPr lang="en-GB" sz="1800" b="0" i="0" dirty="0" smtClean="0">
                <a:solidFill>
                  <a:srgbClr val="000000"/>
                </a:solidFill>
                <a:latin typeface="+mj-lt"/>
              </a:rPr>
              <a:t>Punching / fine blanking</a:t>
            </a:r>
            <a:r>
              <a:rPr lang="zh-CN" altLang="en-US" sz="1800" b="0" i="0" dirty="0" smtClean="0">
                <a:solidFill>
                  <a:srgbClr val="000000"/>
                </a:solidFill>
                <a:latin typeface="+mj-lt"/>
              </a:rPr>
              <a:t>冲头</a:t>
            </a:r>
            <a:r>
              <a:rPr lang="en-US" altLang="zh-CN" sz="1800" b="0" i="0" dirty="0" smtClean="0">
                <a:solidFill>
                  <a:srgbClr val="000000"/>
                </a:solidFill>
                <a:latin typeface="+mj-lt"/>
              </a:rPr>
              <a:t>/</a:t>
            </a:r>
            <a:r>
              <a:rPr lang="zh-CN" altLang="en-US" sz="1800" b="0" i="0" dirty="0" smtClean="0">
                <a:solidFill>
                  <a:srgbClr val="000000"/>
                </a:solidFill>
                <a:latin typeface="+mj-lt"/>
              </a:rPr>
              <a:t>精冲</a:t>
            </a:r>
            <a:endParaRPr lang="en-GB" sz="1800" b="0" i="0" dirty="0" smtClean="0">
              <a:solidFill>
                <a:srgbClr val="000000"/>
              </a:solidFill>
              <a:latin typeface="+mj-lt"/>
            </a:endParaRPr>
          </a:p>
          <a:p>
            <a:pPr marL="285750" lvl="0" indent="-285750">
              <a:spcBef>
                <a:spcPts val="600"/>
              </a:spcBef>
              <a:buClr>
                <a:schemeClr val="bg2"/>
              </a:buClr>
              <a:buFont typeface="Wingdings" pitchFamily="2" charset="2"/>
              <a:buChar char="§"/>
            </a:pPr>
            <a:r>
              <a:rPr lang="en-GB" sz="1800" b="0" i="0" dirty="0" smtClean="0">
                <a:solidFill>
                  <a:srgbClr val="000000"/>
                </a:solidFill>
                <a:latin typeface="+mj-lt"/>
              </a:rPr>
              <a:t>Sheet metal forming / extrusion</a:t>
            </a:r>
            <a:r>
              <a:rPr lang="zh-CN" altLang="en-US" sz="1800" b="0" i="0" dirty="0" smtClean="0">
                <a:solidFill>
                  <a:srgbClr val="000000"/>
                </a:solidFill>
                <a:latin typeface="+mj-lt"/>
              </a:rPr>
              <a:t>成型</a:t>
            </a:r>
            <a:endParaRPr lang="en-GB" sz="1800" b="0" i="0" dirty="0" smtClean="0">
              <a:solidFill>
                <a:srgbClr val="000000"/>
              </a:solidFill>
              <a:latin typeface="+mj-lt"/>
            </a:endParaRPr>
          </a:p>
          <a:p>
            <a:pPr marL="285750" lvl="0" indent="-285750">
              <a:spcBef>
                <a:spcPts val="600"/>
              </a:spcBef>
              <a:buClr>
                <a:schemeClr val="bg2"/>
              </a:buClr>
              <a:buFont typeface="Wingdings" pitchFamily="2" charset="2"/>
              <a:buChar char="§"/>
            </a:pPr>
            <a:r>
              <a:rPr lang="en-GB" sz="1800" b="0" i="0" dirty="0" smtClean="0">
                <a:solidFill>
                  <a:srgbClr val="000000"/>
                </a:solidFill>
                <a:latin typeface="+mj-lt"/>
              </a:rPr>
              <a:t>Forging</a:t>
            </a:r>
            <a:r>
              <a:rPr lang="zh-CN" altLang="en-US" sz="1800" b="0" i="0" dirty="0" smtClean="0">
                <a:solidFill>
                  <a:srgbClr val="000000"/>
                </a:solidFill>
                <a:latin typeface="+mj-lt"/>
              </a:rPr>
              <a:t>锻造</a:t>
            </a:r>
            <a:endParaRPr lang="en-GB" sz="1800" b="0" i="0" dirty="0" smtClean="0">
              <a:solidFill>
                <a:srgbClr val="000000"/>
              </a:solidFill>
              <a:latin typeface="+mj-lt"/>
            </a:endParaRPr>
          </a:p>
        </p:txBody>
      </p:sp>
      <p:sp>
        <p:nvSpPr>
          <p:cNvPr id="21" name="AutoShape 3"/>
          <p:cNvSpPr>
            <a:spLocks/>
          </p:cNvSpPr>
          <p:nvPr/>
        </p:nvSpPr>
        <p:spPr bwMode="gray">
          <a:xfrm>
            <a:off x="4643437" y="3789041"/>
            <a:ext cx="4415219" cy="2512024"/>
          </a:xfrm>
          <a:prstGeom prst="roundRect">
            <a:avLst>
              <a:gd name="adj" fmla="val 0"/>
            </a:avLst>
          </a:prstGeom>
          <a:solidFill>
            <a:schemeClr val="tx2"/>
          </a:solidFill>
          <a:ln>
            <a:noFill/>
          </a:ln>
          <a:extLst/>
        </p:spPr>
        <p:txBody>
          <a:bodyPr lIns="90000" tIns="72000" rIns="72000" bIns="72000"/>
          <a:lstStyle/>
          <a:p>
            <a:pPr>
              <a:buClr>
                <a:schemeClr val="bg2"/>
              </a:buClr>
            </a:pPr>
            <a:r>
              <a:rPr lang="en-GB" sz="1800" b="1" i="0" dirty="0" smtClean="0">
                <a:solidFill>
                  <a:srgbClr val="000000"/>
                </a:solidFill>
                <a:latin typeface="+mj-lt"/>
              </a:rPr>
              <a:t>Materials</a:t>
            </a:r>
            <a:r>
              <a:rPr lang="zh-CN" altLang="en-US" sz="1800" b="1" i="0" dirty="0" smtClean="0">
                <a:solidFill>
                  <a:srgbClr val="000000"/>
                </a:solidFill>
                <a:latin typeface="+mj-lt"/>
              </a:rPr>
              <a:t>工件材料</a:t>
            </a:r>
            <a:endParaRPr lang="en-GB" sz="1800" b="1" i="0" dirty="0" smtClean="0">
              <a:solidFill>
                <a:srgbClr val="000000"/>
              </a:solidFill>
              <a:latin typeface="+mj-lt"/>
            </a:endParaRPr>
          </a:p>
          <a:p>
            <a:pPr marL="285750" lvl="0" indent="-285750">
              <a:spcBef>
                <a:spcPts val="600"/>
              </a:spcBef>
              <a:buClr>
                <a:schemeClr val="bg2"/>
              </a:buClr>
              <a:buFont typeface="Wingdings" pitchFamily="2" charset="2"/>
              <a:buChar char="§"/>
            </a:pPr>
            <a:r>
              <a:rPr lang="en-GB" sz="1800" b="0" i="0" dirty="0" smtClean="0">
                <a:solidFill>
                  <a:srgbClr val="000000"/>
                </a:solidFill>
                <a:latin typeface="+mj-lt"/>
              </a:rPr>
              <a:t>Steel up to 52 HRC </a:t>
            </a:r>
            <a:r>
              <a:rPr lang="zh-CN" altLang="en-US" dirty="0">
                <a:solidFill>
                  <a:srgbClr val="000000"/>
                </a:solidFill>
                <a:latin typeface="+mj-lt"/>
              </a:rPr>
              <a:t>硬</a:t>
            </a:r>
            <a:r>
              <a:rPr lang="zh-CN" altLang="en-US" dirty="0" smtClean="0">
                <a:solidFill>
                  <a:srgbClr val="000000"/>
                </a:solidFill>
                <a:latin typeface="+mj-lt"/>
              </a:rPr>
              <a:t>度</a:t>
            </a:r>
            <a:r>
              <a:rPr lang="zh-CN" altLang="en-US" dirty="0">
                <a:solidFill>
                  <a:srgbClr val="000000"/>
                </a:solidFill>
                <a:latin typeface="+mj-lt"/>
              </a:rPr>
              <a:t>不</a:t>
            </a:r>
            <a:r>
              <a:rPr lang="zh-CN" altLang="en-US" dirty="0" smtClean="0">
                <a:solidFill>
                  <a:srgbClr val="000000"/>
                </a:solidFill>
                <a:latin typeface="+mj-lt"/>
              </a:rPr>
              <a:t>超过</a:t>
            </a:r>
            <a:r>
              <a:rPr lang="en-US" altLang="zh-CN" dirty="0" smtClean="0">
                <a:solidFill>
                  <a:srgbClr val="000000"/>
                </a:solidFill>
                <a:latin typeface="+mj-lt"/>
              </a:rPr>
              <a:t>52HRC</a:t>
            </a:r>
            <a:endParaRPr lang="en-GB" sz="1800" b="0" i="0" dirty="0" smtClean="0">
              <a:solidFill>
                <a:srgbClr val="000000"/>
              </a:solidFill>
              <a:latin typeface="+mj-lt"/>
            </a:endParaRPr>
          </a:p>
          <a:p>
            <a:pPr marL="285750" lvl="0" indent="-285750">
              <a:spcBef>
                <a:spcPts val="600"/>
              </a:spcBef>
              <a:buClr>
                <a:schemeClr val="bg2"/>
              </a:buClr>
              <a:buFont typeface="Wingdings" pitchFamily="2" charset="2"/>
              <a:buChar char="§"/>
            </a:pPr>
            <a:r>
              <a:rPr lang="en-GB" sz="1800" b="0" i="0" dirty="0" smtClean="0">
                <a:solidFill>
                  <a:srgbClr val="000000"/>
                </a:solidFill>
                <a:latin typeface="+mj-lt"/>
              </a:rPr>
              <a:t>Stainless steel</a:t>
            </a:r>
            <a:r>
              <a:rPr lang="zh-CN" altLang="en-US" dirty="0">
                <a:solidFill>
                  <a:srgbClr val="000000"/>
                </a:solidFill>
                <a:latin typeface="+mj-lt"/>
              </a:rPr>
              <a:t>不锈钢</a:t>
            </a:r>
            <a:endParaRPr lang="en-GB" sz="1800" b="0" i="0" dirty="0" smtClean="0">
              <a:solidFill>
                <a:srgbClr val="000000"/>
              </a:solidFill>
              <a:latin typeface="+mj-lt"/>
            </a:endParaRPr>
          </a:p>
          <a:p>
            <a:pPr marL="285750" lvl="0" indent="-285750">
              <a:spcBef>
                <a:spcPts val="600"/>
              </a:spcBef>
              <a:buClr>
                <a:schemeClr val="bg2"/>
              </a:buClr>
              <a:buFont typeface="Wingdings" pitchFamily="2" charset="2"/>
              <a:buChar char="§"/>
            </a:pPr>
            <a:r>
              <a:rPr lang="en-GB" sz="1800" b="0" i="0" dirty="0" smtClean="0">
                <a:solidFill>
                  <a:srgbClr val="000000"/>
                </a:solidFill>
                <a:latin typeface="+mj-lt"/>
              </a:rPr>
              <a:t>Cast iron</a:t>
            </a:r>
            <a:r>
              <a:rPr lang="zh-CN" altLang="en-US" sz="1800" b="0" i="0" dirty="0" smtClean="0">
                <a:solidFill>
                  <a:srgbClr val="000000"/>
                </a:solidFill>
                <a:latin typeface="+mj-lt"/>
              </a:rPr>
              <a:t>铸铁</a:t>
            </a:r>
            <a:endParaRPr lang="en-GB" sz="1800" b="0" i="0" dirty="0" smtClean="0">
              <a:solidFill>
                <a:srgbClr val="000000"/>
              </a:solidFill>
              <a:latin typeface="+mj-lt"/>
            </a:endParaRPr>
          </a:p>
        </p:txBody>
      </p:sp>
      <p:sp>
        <p:nvSpPr>
          <p:cNvPr id="15" name="Inhaltsplatzhalter 2"/>
          <p:cNvSpPr txBox="1">
            <a:spLocks/>
          </p:cNvSpPr>
          <p:nvPr>
            <p:custDataLst>
              <p:tags r:id="rId2"/>
            </p:custDataLst>
          </p:nvPr>
        </p:nvSpPr>
        <p:spPr bwMode="auto">
          <a:xfrm>
            <a:off x="395288" y="3440033"/>
            <a:ext cx="836453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fontAlgn="base">
              <a:spcBef>
                <a:spcPct val="0"/>
              </a:spcBef>
              <a:spcAft>
                <a:spcPct val="0"/>
              </a:spcAft>
              <a:buClr>
                <a:schemeClr val="bg2"/>
              </a:buClr>
              <a:buFont typeface="Wingdings" pitchFamily="2" charset="2"/>
              <a:defRPr>
                <a:solidFill>
                  <a:schemeClr val="tx1"/>
                </a:solidFill>
                <a:latin typeface="+mn-lt"/>
                <a:ea typeface="+mn-ea"/>
                <a:cs typeface="+mn-cs"/>
              </a:defRPr>
            </a:lvl1pPr>
            <a:lvl2pPr marL="179388" indent="-177800" algn="l" rtl="0" fontAlgn="base">
              <a:spcBef>
                <a:spcPct val="0"/>
              </a:spcBef>
              <a:spcAft>
                <a:spcPct val="0"/>
              </a:spcAft>
              <a:buClr>
                <a:schemeClr val="tx2"/>
              </a:buClr>
              <a:buFont typeface="Wingdings" pitchFamily="2" charset="2"/>
              <a:buChar char="§"/>
              <a:defRPr>
                <a:solidFill>
                  <a:schemeClr val="tx1"/>
                </a:solidFill>
                <a:latin typeface="+mn-lt"/>
              </a:defRPr>
            </a:lvl2pPr>
            <a:lvl3pPr marL="358775" indent="-177800" algn="l" rtl="0" fontAlgn="base">
              <a:spcBef>
                <a:spcPct val="0"/>
              </a:spcBef>
              <a:spcAft>
                <a:spcPct val="0"/>
              </a:spcAft>
              <a:buClr>
                <a:schemeClr val="tx2"/>
              </a:buClr>
              <a:buFont typeface="HelveticaNeueLT Com 45 Lt" pitchFamily="34" charset="0"/>
              <a:buChar char="−"/>
              <a:defRPr>
                <a:solidFill>
                  <a:schemeClr val="tx1"/>
                </a:solidFill>
                <a:latin typeface="+mn-lt"/>
              </a:defRPr>
            </a:lvl3pPr>
            <a:lvl4pPr marL="538163" indent="-177800" algn="l" rtl="0" fontAlgn="base">
              <a:spcBef>
                <a:spcPct val="0"/>
              </a:spcBef>
              <a:spcAft>
                <a:spcPct val="0"/>
              </a:spcAft>
              <a:buClr>
                <a:schemeClr val="tx2"/>
              </a:buClr>
              <a:buFont typeface="HelveticaNeueLT Com 45 Lt" pitchFamily="34" charset="0"/>
              <a:buChar char="−"/>
              <a:defRPr>
                <a:solidFill>
                  <a:schemeClr val="tx1"/>
                </a:solidFill>
                <a:latin typeface="+mn-lt"/>
              </a:defRPr>
            </a:lvl4pPr>
            <a:lvl5pPr marL="717550" indent="-177800" algn="l" rtl="0" fontAlgn="base">
              <a:spcBef>
                <a:spcPct val="0"/>
              </a:spcBef>
              <a:spcAft>
                <a:spcPct val="0"/>
              </a:spcAft>
              <a:buClr>
                <a:schemeClr val="tx2"/>
              </a:buClr>
              <a:buFont typeface="HelveticaNeueLT Com 45 Lt" pitchFamily="34" charset="0"/>
              <a:buChar char="−"/>
              <a:defRPr>
                <a:solidFill>
                  <a:schemeClr val="tx1"/>
                </a:solidFill>
                <a:latin typeface="+mn-lt"/>
              </a:defRPr>
            </a:lvl5pPr>
            <a:lvl6pPr marL="1174750" indent="-177800" algn="l" rtl="0" fontAlgn="base">
              <a:spcBef>
                <a:spcPct val="0"/>
              </a:spcBef>
              <a:spcAft>
                <a:spcPct val="0"/>
              </a:spcAft>
              <a:buClr>
                <a:schemeClr val="hlink"/>
              </a:buClr>
              <a:buFont typeface="HelveticaNeueLT Com 45 Lt" pitchFamily="34" charset="0"/>
              <a:buChar char="−"/>
              <a:defRPr>
                <a:solidFill>
                  <a:schemeClr val="tx1"/>
                </a:solidFill>
                <a:latin typeface="+mn-lt"/>
              </a:defRPr>
            </a:lvl6pPr>
            <a:lvl7pPr marL="1631950" indent="-177800" algn="l" rtl="0" fontAlgn="base">
              <a:spcBef>
                <a:spcPct val="0"/>
              </a:spcBef>
              <a:spcAft>
                <a:spcPct val="0"/>
              </a:spcAft>
              <a:buClr>
                <a:schemeClr val="hlink"/>
              </a:buClr>
              <a:buFont typeface="HelveticaNeueLT Com 45 Lt" pitchFamily="34" charset="0"/>
              <a:buChar char="−"/>
              <a:defRPr>
                <a:solidFill>
                  <a:schemeClr val="tx1"/>
                </a:solidFill>
                <a:latin typeface="+mn-lt"/>
              </a:defRPr>
            </a:lvl7pPr>
            <a:lvl8pPr marL="2089150" indent="-177800" algn="l" rtl="0" fontAlgn="base">
              <a:spcBef>
                <a:spcPct val="0"/>
              </a:spcBef>
              <a:spcAft>
                <a:spcPct val="0"/>
              </a:spcAft>
              <a:buClr>
                <a:schemeClr val="hlink"/>
              </a:buClr>
              <a:buFont typeface="HelveticaNeueLT Com 45 Lt" pitchFamily="34" charset="0"/>
              <a:buChar char="−"/>
              <a:defRPr>
                <a:solidFill>
                  <a:schemeClr val="tx1"/>
                </a:solidFill>
                <a:latin typeface="+mn-lt"/>
              </a:defRPr>
            </a:lvl8pPr>
            <a:lvl9pPr marL="2546350" indent="-177800" algn="l" rtl="0" fontAlgn="base">
              <a:spcBef>
                <a:spcPct val="0"/>
              </a:spcBef>
              <a:spcAft>
                <a:spcPct val="0"/>
              </a:spcAft>
              <a:buClr>
                <a:schemeClr val="hlink"/>
              </a:buClr>
              <a:buFont typeface="HelveticaNeueLT Com 45 Lt" pitchFamily="34" charset="0"/>
              <a:buChar char="−"/>
              <a:defRPr>
                <a:solidFill>
                  <a:schemeClr val="tx1"/>
                </a:solidFill>
                <a:latin typeface="+mn-lt"/>
              </a:defRPr>
            </a:lvl9pPr>
          </a:lstStyle>
          <a:p>
            <a:r>
              <a:rPr lang="en-GB" sz="1800" b="0" i="0" dirty="0" smtClean="0">
                <a:solidFill>
                  <a:srgbClr val="000000"/>
                </a:solidFill>
                <a:latin typeface="+mj-lt"/>
              </a:rPr>
              <a:t>BALINIT</a:t>
            </a:r>
            <a:r>
              <a:rPr lang="en-GB" sz="1800" b="0" i="0" baseline="30000" dirty="0" smtClean="0">
                <a:solidFill>
                  <a:srgbClr val="000000"/>
                </a:solidFill>
                <a:latin typeface="+mj-lt"/>
              </a:rPr>
              <a:t> ®</a:t>
            </a:r>
            <a:r>
              <a:rPr lang="en-GB" sz="1800" b="0" i="0" dirty="0" smtClean="0">
                <a:solidFill>
                  <a:srgbClr val="000000"/>
                </a:solidFill>
                <a:latin typeface="+mj-lt"/>
              </a:rPr>
              <a:t> ALCRONA PRO is particularly suitable for:</a:t>
            </a:r>
          </a:p>
        </p:txBody>
      </p:sp>
      <p:pic>
        <p:nvPicPr>
          <p:cNvPr id="1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6000" y="1052513"/>
            <a:ext cx="2717716" cy="2055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Line 4"/>
          <p:cNvSpPr>
            <a:spLocks noChangeShapeType="1"/>
          </p:cNvSpPr>
          <p:nvPr/>
        </p:nvSpPr>
        <p:spPr bwMode="auto">
          <a:xfrm>
            <a:off x="2546483" y="1229755"/>
            <a:ext cx="1" cy="1700860"/>
          </a:xfrm>
          <a:prstGeom prst="line">
            <a:avLst/>
          </a:prstGeom>
          <a:noFill/>
          <a:ln w="38100">
            <a:solidFill>
              <a:srgbClr val="FFFFFF"/>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CH"/>
          </a:p>
        </p:txBody>
      </p:sp>
      <p:pic>
        <p:nvPicPr>
          <p:cNvPr id="20" name="Picture 5" descr="KALO_THM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03848" y="1052514"/>
            <a:ext cx="1189674" cy="2055344"/>
          </a:xfrm>
          <a:prstGeom prst="rect">
            <a:avLst/>
          </a:prstGeom>
          <a:noFill/>
          <a:extLst>
            <a:ext uri="{909E8E84-426E-40DD-AFC4-6F175D3DCCD1}">
              <a14:hiddenFill xmlns:a14="http://schemas.microsoft.com/office/drawing/2010/main">
                <a:solidFill>
                  <a:srgbClr val="FFFFFF"/>
                </a:solidFill>
              </a14:hiddenFill>
            </a:ext>
          </a:extLst>
        </p:spPr>
      </p:pic>
      <p:sp>
        <p:nvSpPr>
          <p:cNvPr id="22" name="Text Box 6"/>
          <p:cNvSpPr txBox="1">
            <a:spLocks noChangeArrowheads="1"/>
          </p:cNvSpPr>
          <p:nvPr/>
        </p:nvSpPr>
        <p:spPr bwMode="auto">
          <a:xfrm rot="16200000">
            <a:off x="1899832" y="2347459"/>
            <a:ext cx="166263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9050">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GB" sz="1800" b="0" i="0" dirty="0" smtClean="0">
                <a:solidFill>
                  <a:srgbClr val="FFFFFF"/>
                </a:solidFill>
                <a:latin typeface="HelveticaNeueLT Com 65 Md" pitchFamily="18" charset="0"/>
              </a:rPr>
              <a:t>3 µm</a:t>
            </a:r>
          </a:p>
        </p:txBody>
      </p:sp>
    </p:spTree>
    <p:extLst>
      <p:ext uri="{BB962C8B-B14F-4D97-AF65-F5344CB8AC3E}">
        <p14:creationId xmlns:p14="http://schemas.microsoft.com/office/powerpoint/2010/main" val="303216477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4008104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50"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de-CH" sz="1400" b="1" smtClean="0">
              <a:solidFill>
                <a:schemeClr val="tx1"/>
              </a:solidFill>
              <a:latin typeface="Arial"/>
              <a:sym typeface="Arial"/>
            </a:endParaRPr>
          </a:p>
        </p:txBody>
      </p:sp>
      <p:sp>
        <p:nvSpPr>
          <p:cNvPr id="7" name="Rechteck 6" hidden="1"/>
          <p:cNvSpPr/>
          <p:nvPr/>
        </p:nvSpPr>
        <p:spPr bwMode="auto">
          <a:xfrm>
            <a:off x="0" y="0"/>
            <a:ext cx="158750" cy="158750"/>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noAutofit/>
          </a:bodyPr>
          <a:lstStyle/>
          <a:p>
            <a:pPr>
              <a:lnSpc>
                <a:spcPct val="90000"/>
              </a:lnSpc>
              <a:spcBef>
                <a:spcPct val="0"/>
              </a:spcBef>
              <a:spcAft>
                <a:spcPct val="0"/>
              </a:spcAft>
            </a:pPr>
            <a:endParaRPr kumimoji="0" lang="de-CH" sz="1400" b="1" u="none" strike="noStrike" cap="none" normalizeH="0" smtClean="0">
              <a:ln>
                <a:noFill/>
              </a:ln>
              <a:solidFill>
                <a:schemeClr val="tx1"/>
              </a:solidFill>
              <a:effectLst/>
              <a:latin typeface="HelveticaNeueLT Com 45 Lt"/>
              <a:sym typeface="HelveticaNeueLT Com 45 Lt"/>
            </a:endParaRPr>
          </a:p>
        </p:txBody>
      </p:sp>
      <p:sp>
        <p:nvSpPr>
          <p:cNvPr id="341017" name="Rectangle 25"/>
          <p:cNvSpPr>
            <a:spLocks noGrp="1" noChangeArrowheads="1"/>
          </p:cNvSpPr>
          <p:nvPr>
            <p:ph type="title"/>
          </p:nvPr>
        </p:nvSpPr>
        <p:spPr bwMode="gray">
          <a:xfrm>
            <a:off x="322136" y="142877"/>
            <a:ext cx="7578280" cy="909635"/>
          </a:xfrm>
        </p:spPr>
        <p:txBody>
          <a:bodyPr/>
          <a:lstStyle/>
          <a:p>
            <a:r>
              <a:rPr lang="en-GB" sz="2400" i="0" dirty="0" smtClean="0">
                <a:solidFill>
                  <a:srgbClr val="000000"/>
                </a:solidFill>
              </a:rPr>
              <a:t>BALINIT</a:t>
            </a:r>
            <a:r>
              <a:rPr lang="en-GB" sz="2400" i="0" baseline="30000" dirty="0" smtClean="0">
                <a:solidFill>
                  <a:srgbClr val="000000"/>
                </a:solidFill>
              </a:rPr>
              <a:t>®</a:t>
            </a:r>
            <a:r>
              <a:rPr lang="en-GB" sz="2400" i="0" dirty="0" smtClean="0">
                <a:solidFill>
                  <a:srgbClr val="000000"/>
                </a:solidFill>
              </a:rPr>
              <a:t> ALCRONA PRO is </a:t>
            </a:r>
            <a:r>
              <a:rPr lang="en-GB" dirty="0" smtClean="0">
                <a:solidFill>
                  <a:srgbClr val="000000"/>
                </a:solidFill>
              </a:rPr>
              <a:t>impressive in </a:t>
            </a:r>
            <a:r>
              <a:rPr lang="en-GB" dirty="0" err="1">
                <a:solidFill>
                  <a:srgbClr val="000000"/>
                </a:solidFill>
              </a:rPr>
              <a:t>hobbing</a:t>
            </a:r>
            <a:r>
              <a:rPr lang="en-GB" dirty="0">
                <a:solidFill>
                  <a:srgbClr val="000000"/>
                </a:solidFill>
              </a:rPr>
              <a:t/>
            </a:r>
            <a:br>
              <a:rPr lang="en-GB" dirty="0">
                <a:solidFill>
                  <a:srgbClr val="000000"/>
                </a:solidFill>
              </a:rPr>
            </a:br>
            <a:r>
              <a:rPr lang="en-GB" altLang="zh-CN" dirty="0">
                <a:solidFill>
                  <a:srgbClr val="000000"/>
                </a:solidFill>
              </a:rPr>
              <a:t>BALINIT</a:t>
            </a:r>
            <a:r>
              <a:rPr lang="en-GB" altLang="zh-CN" baseline="30000" dirty="0">
                <a:solidFill>
                  <a:srgbClr val="000000"/>
                </a:solidFill>
              </a:rPr>
              <a:t>®</a:t>
            </a:r>
            <a:r>
              <a:rPr lang="en-GB" altLang="zh-CN" dirty="0">
                <a:solidFill>
                  <a:srgbClr val="000000"/>
                </a:solidFill>
              </a:rPr>
              <a:t> ALCRONA </a:t>
            </a:r>
            <a:r>
              <a:rPr lang="en-GB" altLang="zh-CN" dirty="0" smtClean="0">
                <a:solidFill>
                  <a:srgbClr val="000000"/>
                </a:solidFill>
              </a:rPr>
              <a:t>PRO</a:t>
            </a:r>
            <a:r>
              <a:rPr lang="zh-CN" altLang="en-US" dirty="0" smtClean="0">
                <a:solidFill>
                  <a:srgbClr val="000000"/>
                </a:solidFill>
              </a:rPr>
              <a:t>应用于滚刀</a:t>
            </a:r>
            <a:endParaRPr lang="en-GB" sz="2400" i="0" dirty="0" smtClean="0">
              <a:solidFill>
                <a:srgbClr val="000000"/>
              </a:solidFill>
            </a:endParaRPr>
          </a:p>
        </p:txBody>
      </p:sp>
      <p:sp>
        <p:nvSpPr>
          <p:cNvPr id="70" name="AutoShape 5"/>
          <p:cNvSpPr>
            <a:spLocks/>
          </p:cNvSpPr>
          <p:nvPr/>
        </p:nvSpPr>
        <p:spPr bwMode="gray">
          <a:xfrm>
            <a:off x="6084888" y="1492273"/>
            <a:ext cx="2663272" cy="4816451"/>
          </a:xfrm>
          <a:prstGeom prst="roundRect">
            <a:avLst>
              <a:gd name="adj" fmla="val 0"/>
            </a:avLst>
          </a:prstGeom>
          <a:solidFill>
            <a:schemeClr val="tx2"/>
          </a:solidFill>
          <a:ln>
            <a:noFill/>
          </a:ln>
          <a:extLst/>
        </p:spPr>
        <p:txBody>
          <a:bodyPr lIns="90000" tIns="72000" rIns="72000" bIns="72000"/>
          <a:lstStyle/>
          <a:p>
            <a:pPr defTabSz="180975"/>
            <a:r>
              <a:rPr lang="en-GB" sz="1400" b="1" i="0" dirty="0" smtClean="0">
                <a:solidFill>
                  <a:srgbClr val="000000"/>
                </a:solidFill>
                <a:latin typeface="+mj-lt"/>
              </a:rPr>
              <a:t>Tool</a:t>
            </a:r>
          </a:p>
          <a:p>
            <a:r>
              <a:rPr lang="en-GB" sz="1400" b="0" i="0" dirty="0" smtClean="0">
                <a:solidFill>
                  <a:srgbClr val="000000"/>
                </a:solidFill>
              </a:rPr>
              <a:t>PM-HSS hob</a:t>
            </a:r>
          </a:p>
          <a:p>
            <a:pPr defTabSz="180975"/>
            <a:endParaRPr lang="en-GB" sz="1400" dirty="0">
              <a:solidFill>
                <a:srgbClr val="000000"/>
              </a:solidFill>
            </a:endParaRPr>
          </a:p>
          <a:p>
            <a:pPr defTabSz="180975"/>
            <a:r>
              <a:rPr lang="en-GB" sz="1400" b="1" i="0" dirty="0" smtClean="0">
                <a:solidFill>
                  <a:srgbClr val="000000"/>
                </a:solidFill>
                <a:latin typeface="+mj-lt"/>
              </a:rPr>
              <a:t>Workpiece</a:t>
            </a:r>
          </a:p>
          <a:p>
            <a:r>
              <a:rPr lang="en-GB" sz="1400" b="0" i="0" dirty="0" smtClean="0">
                <a:solidFill>
                  <a:srgbClr val="000000"/>
                </a:solidFill>
              </a:rPr>
              <a:t>Steel 1.7131</a:t>
            </a:r>
            <a:r>
              <a:rPr lang="en-GB" sz="1400" dirty="0"/>
              <a:t>(~AISI </a:t>
            </a:r>
            <a:r>
              <a:rPr lang="en-GB" sz="1400" dirty="0" smtClean="0"/>
              <a:t>5115)</a:t>
            </a:r>
          </a:p>
          <a:p>
            <a:endParaRPr lang="en-GB" sz="1400" dirty="0">
              <a:solidFill>
                <a:srgbClr val="000000"/>
              </a:solidFill>
            </a:endParaRPr>
          </a:p>
          <a:p>
            <a:pPr defTabSz="180975"/>
            <a:r>
              <a:rPr lang="en-GB" sz="1400" b="1" i="0" dirty="0" smtClean="0">
                <a:solidFill>
                  <a:srgbClr val="000000"/>
                </a:solidFill>
                <a:latin typeface="+mj-lt"/>
              </a:rPr>
              <a:t>Cutting parameters</a:t>
            </a:r>
          </a:p>
          <a:p>
            <a:r>
              <a:rPr lang="en-GB" sz="1400" b="0" i="0" dirty="0" smtClean="0">
                <a:solidFill>
                  <a:srgbClr val="000000"/>
                </a:solidFill>
              </a:rPr>
              <a:t>v</a:t>
            </a:r>
            <a:r>
              <a:rPr lang="en-GB" sz="1400" b="0" i="0" baseline="-25000" dirty="0" smtClean="0">
                <a:solidFill>
                  <a:srgbClr val="000000"/>
                </a:solidFill>
              </a:rPr>
              <a:t>c</a:t>
            </a:r>
            <a:r>
              <a:rPr lang="en-GB" sz="1400" b="0" i="0" dirty="0" smtClean="0">
                <a:solidFill>
                  <a:srgbClr val="000000"/>
                </a:solidFill>
              </a:rPr>
              <a:t> = 200 m/min</a:t>
            </a:r>
          </a:p>
          <a:p>
            <a:r>
              <a:rPr lang="en-GB" sz="1400" b="0" i="0" dirty="0" smtClean="0">
                <a:solidFill>
                  <a:srgbClr val="000000"/>
                </a:solidFill>
              </a:rPr>
              <a:t>VB ~ 0.3 mm</a:t>
            </a:r>
          </a:p>
          <a:p>
            <a:pPr defTabSz="180975"/>
            <a:endParaRPr lang="en-GB" sz="1400" dirty="0" smtClean="0">
              <a:solidFill>
                <a:srgbClr val="000000"/>
              </a:solidFill>
            </a:endParaRPr>
          </a:p>
          <a:p>
            <a:pPr defTabSz="180975"/>
            <a:r>
              <a:rPr lang="en-GB" sz="1400" b="1" i="0" dirty="0" smtClean="0">
                <a:solidFill>
                  <a:srgbClr val="000000"/>
                </a:solidFill>
                <a:latin typeface="+mj-lt"/>
              </a:rPr>
              <a:t>Machining</a:t>
            </a:r>
          </a:p>
          <a:p>
            <a:pPr defTabSz="180975"/>
            <a:r>
              <a:rPr lang="en-GB" sz="1400" b="0" i="0" dirty="0" smtClean="0">
                <a:solidFill>
                  <a:srgbClr val="000000"/>
                </a:solidFill>
              </a:rPr>
              <a:t>Dry</a:t>
            </a:r>
          </a:p>
          <a:p>
            <a:pPr defTabSz="180975"/>
            <a:endParaRPr lang="en-GB" sz="1400" dirty="0">
              <a:solidFill>
                <a:srgbClr val="000000"/>
              </a:solidFill>
            </a:endParaRPr>
          </a:p>
          <a:p>
            <a:pPr defTabSz="180975"/>
            <a:r>
              <a:rPr lang="en-GB" sz="1400" b="1" i="0" dirty="0" smtClean="0">
                <a:solidFill>
                  <a:srgbClr val="000000"/>
                </a:solidFill>
                <a:latin typeface="+mj-lt"/>
              </a:rPr>
              <a:t>Source</a:t>
            </a:r>
          </a:p>
          <a:p>
            <a:pPr defTabSz="180975"/>
            <a:r>
              <a:rPr lang="en-GB" sz="1400" b="0" i="0" dirty="0" smtClean="0">
                <a:solidFill>
                  <a:srgbClr val="000000"/>
                </a:solidFill>
              </a:rPr>
              <a:t>Automaker</a:t>
            </a:r>
          </a:p>
        </p:txBody>
      </p:sp>
      <p:sp>
        <p:nvSpPr>
          <p:cNvPr id="21" name="Rectangle 12"/>
          <p:cNvSpPr/>
          <p:nvPr/>
        </p:nvSpPr>
        <p:spPr>
          <a:xfrm>
            <a:off x="395536" y="1484313"/>
            <a:ext cx="2022926" cy="276999"/>
          </a:xfrm>
          <a:prstGeom prst="rect">
            <a:avLst/>
          </a:prstGeom>
        </p:spPr>
        <p:txBody>
          <a:bodyPr wrap="none" lIns="0">
            <a:spAutoFit/>
          </a:bodyPr>
          <a:lstStyle/>
          <a:p>
            <a:r>
              <a:rPr lang="en-GB" sz="1200" b="0" i="0" dirty="0" smtClean="0">
                <a:solidFill>
                  <a:srgbClr val="000000"/>
                </a:solidFill>
              </a:rPr>
              <a:t>No. of parts produced [pcs]</a:t>
            </a:r>
          </a:p>
        </p:txBody>
      </p:sp>
      <p:graphicFrame>
        <p:nvGraphicFramePr>
          <p:cNvPr id="22" name="Objekt 21"/>
          <p:cNvGraphicFramePr>
            <a:graphicFrameLocks/>
          </p:cNvGraphicFramePr>
          <p:nvPr>
            <p:custDataLst>
              <p:tags r:id="rId4"/>
            </p:custDataLst>
            <p:extLst>
              <p:ext uri="{D42A27DB-BD31-4B8C-83A1-F6EECF244321}">
                <p14:modId xmlns:p14="http://schemas.microsoft.com/office/powerpoint/2010/main" val="2354484050"/>
              </p:ext>
            </p:extLst>
          </p:nvPr>
        </p:nvGraphicFramePr>
        <p:xfrm>
          <a:off x="647700" y="1828800"/>
          <a:ext cx="5181600" cy="4086225"/>
        </p:xfrm>
        <a:graphic>
          <a:graphicData uri="http://schemas.openxmlformats.org/presentationml/2006/ole">
            <mc:AlternateContent xmlns:mc="http://schemas.openxmlformats.org/markup-compatibility/2006">
              <mc:Choice xmlns:v="urn:schemas-microsoft-com:vml" Requires="v">
                <p:oleObj spid="_x0000_s192551" name="Chart" r:id="rId21" imgW="5181600" imgH="4086157" progId="MSGraph.Chart.8">
                  <p:embed followColorScheme="full"/>
                </p:oleObj>
              </mc:Choice>
              <mc:Fallback>
                <p:oleObj name="Chart" r:id="rId21" imgW="5181600" imgH="4086157" progId="MSGraph.Chart.8">
                  <p:embed followColorScheme="full"/>
                  <p:pic>
                    <p:nvPicPr>
                      <p:cNvPr id="0" name=""/>
                      <p:cNvPicPr/>
                      <p:nvPr/>
                    </p:nvPicPr>
                    <p:blipFill>
                      <a:blip r:embed="rId22"/>
                      <a:stretch>
                        <a:fillRect/>
                      </a:stretch>
                    </p:blipFill>
                    <p:spPr>
                      <a:xfrm>
                        <a:off x="647700" y="1828800"/>
                        <a:ext cx="5181600" cy="4086225"/>
                      </a:xfrm>
                      <a:prstGeom prst="rect">
                        <a:avLst/>
                      </a:prstGeom>
                    </p:spPr>
                  </p:pic>
                </p:oleObj>
              </mc:Fallback>
            </mc:AlternateContent>
          </a:graphicData>
        </a:graphic>
      </p:graphicFrame>
      <p:sp>
        <p:nvSpPr>
          <p:cNvPr id="27" name="Rechteck 26"/>
          <p:cNvSpPr/>
          <p:nvPr>
            <p:custDataLst>
              <p:tags r:id="rId5"/>
            </p:custDataLst>
          </p:nvPr>
        </p:nvSpPr>
        <p:spPr bwMode="auto">
          <a:xfrm>
            <a:off x="319088" y="1871663"/>
            <a:ext cx="3794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algn="r"/>
            <a:fld id="{BF6DFE53-EB46-4F16-A8CB-D47F8F0263A7}" type="datetime'''''''''''''''5'''',''''''''''''''''0''''''''''''0''0'''">
              <a:rPr lang="en-US" sz="1200"/>
              <a:pPr/>
              <a:t>5,000</a:t>
            </a:fld>
            <a:endParaRPr kumimoji="0" lang="de-CH" sz="1200" strike="noStrike" cap="none" normalizeH="0" dirty="0" smtClean="0">
              <a:ln>
                <a:noFill/>
              </a:ln>
              <a:effectLst/>
              <a:latin typeface="HelveticaNeueLT Com 45 Lt"/>
              <a:sym typeface="HelveticaNeueLT Com 45 Lt"/>
            </a:endParaRPr>
          </a:p>
        </p:txBody>
      </p:sp>
      <p:sp>
        <p:nvSpPr>
          <p:cNvPr id="28" name="Rechteck 27"/>
          <p:cNvSpPr/>
          <p:nvPr>
            <p:custDataLst>
              <p:tags r:id="rId6"/>
            </p:custDataLst>
          </p:nvPr>
        </p:nvSpPr>
        <p:spPr bwMode="auto">
          <a:xfrm>
            <a:off x="319088" y="2643188"/>
            <a:ext cx="3794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algn="r"/>
            <a:fld id="{E3BAED9E-5C50-42FB-9D90-0D9D93FF2182}" type="datetime'''''''''4'''''',''''''''''''0''''''0''''''''''''''''0'''">
              <a:rPr lang="en-US" sz="1200"/>
              <a:pPr/>
              <a:t>4,000</a:t>
            </a:fld>
            <a:endParaRPr kumimoji="0" lang="de-CH" sz="1200" strike="noStrike" cap="none" normalizeH="0" dirty="0" smtClean="0">
              <a:ln>
                <a:noFill/>
              </a:ln>
              <a:effectLst/>
              <a:latin typeface="HelveticaNeueLT Com 45 Lt"/>
              <a:sym typeface="HelveticaNeueLT Com 45 Lt"/>
            </a:endParaRPr>
          </a:p>
        </p:txBody>
      </p:sp>
      <p:sp>
        <p:nvSpPr>
          <p:cNvPr id="31" name="Rechteck 30"/>
          <p:cNvSpPr/>
          <p:nvPr>
            <p:custDataLst>
              <p:tags r:id="rId7"/>
            </p:custDataLst>
          </p:nvPr>
        </p:nvSpPr>
        <p:spPr bwMode="auto">
          <a:xfrm>
            <a:off x="319088" y="3414713"/>
            <a:ext cx="3794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algn="r"/>
            <a:fld id="{BC24323C-487B-4875-9BE5-3791CB669DC4}" type="datetime'''''''''''3'''''''''''''''''''''',''''000'''''''''">
              <a:rPr lang="en-US" sz="1200"/>
              <a:pPr/>
              <a:t>3,000</a:t>
            </a:fld>
            <a:endParaRPr kumimoji="0" lang="de-CH" sz="1200" strike="noStrike" cap="none" normalizeH="0" dirty="0" smtClean="0">
              <a:ln>
                <a:noFill/>
              </a:ln>
              <a:effectLst/>
              <a:latin typeface="HelveticaNeueLT Com 45 Lt"/>
              <a:sym typeface="HelveticaNeueLT Com 45 Lt"/>
            </a:endParaRPr>
          </a:p>
        </p:txBody>
      </p:sp>
      <p:sp>
        <p:nvSpPr>
          <p:cNvPr id="32" name="Rechteck 31"/>
          <p:cNvSpPr/>
          <p:nvPr>
            <p:custDataLst>
              <p:tags r:id="rId8"/>
            </p:custDataLst>
          </p:nvPr>
        </p:nvSpPr>
        <p:spPr bwMode="auto">
          <a:xfrm>
            <a:off x="319088" y="4176713"/>
            <a:ext cx="3794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algn="r"/>
            <a:fld id="{6C046B32-0BF7-4B3A-836A-8544203368C5}" type="datetime'2'''''''''''''',''''''''''''''''''''''''0''''''''0''''''0'''''">
              <a:rPr lang="en-US" sz="1200"/>
              <a:pPr/>
              <a:t>2,000</a:t>
            </a:fld>
            <a:endParaRPr kumimoji="0" lang="de-CH" sz="1200" strike="noStrike" cap="none" normalizeH="0" smtClean="0">
              <a:ln>
                <a:noFill/>
              </a:ln>
              <a:effectLst/>
              <a:latin typeface="HelveticaNeueLT Com 45 Lt"/>
              <a:sym typeface="HelveticaNeueLT Com 45 Lt"/>
            </a:endParaRPr>
          </a:p>
        </p:txBody>
      </p:sp>
      <p:sp>
        <p:nvSpPr>
          <p:cNvPr id="33" name="Rechteck 32"/>
          <p:cNvSpPr/>
          <p:nvPr>
            <p:custDataLst>
              <p:tags r:id="rId9"/>
            </p:custDataLst>
          </p:nvPr>
        </p:nvSpPr>
        <p:spPr bwMode="auto">
          <a:xfrm>
            <a:off x="319088" y="4948238"/>
            <a:ext cx="379413"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algn="r"/>
            <a:fld id="{3627A471-B035-48EF-B072-4A0F81282356}" type="datetime'''''1,''''''00''''0'''''">
              <a:rPr lang="en-US" sz="1200"/>
              <a:pPr/>
              <a:t>1,000</a:t>
            </a:fld>
            <a:endParaRPr kumimoji="0" lang="de-CH" sz="1200" strike="noStrike" cap="none" normalizeH="0" smtClean="0">
              <a:ln>
                <a:noFill/>
              </a:ln>
              <a:effectLst/>
              <a:latin typeface="HelveticaNeueLT Com 45 Lt"/>
              <a:sym typeface="HelveticaNeueLT Com 45 Lt"/>
            </a:endParaRPr>
          </a:p>
        </p:txBody>
      </p:sp>
      <p:sp>
        <p:nvSpPr>
          <p:cNvPr id="34" name="Rechteck 33"/>
          <p:cNvSpPr/>
          <p:nvPr>
            <p:custDataLst>
              <p:tags r:id="rId10"/>
            </p:custDataLst>
          </p:nvPr>
        </p:nvSpPr>
        <p:spPr bwMode="auto">
          <a:xfrm>
            <a:off x="614363" y="5719763"/>
            <a:ext cx="84138" cy="182563"/>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rtlCol="0" anchor="ctr" anchorCtr="0" compatLnSpc="1">
            <a:prstTxWarp prst="textNoShape">
              <a:avLst/>
            </a:prstTxWarp>
          </a:bodyPr>
          <a:lstStyle/>
          <a:p>
            <a:pPr algn="r"/>
            <a:fld id="{7C6BEF51-7713-4335-9A32-078DBB189095}" type="datetime'''''''''''''''''''''''0'''''''''''''''''''">
              <a:rPr lang="en-US" sz="1200"/>
              <a:pPr/>
              <a:t>0</a:t>
            </a:fld>
            <a:endParaRPr kumimoji="0" lang="de-CH" sz="1200" strike="noStrike" cap="none" normalizeH="0" smtClean="0">
              <a:ln>
                <a:noFill/>
              </a:ln>
              <a:effectLst/>
              <a:latin typeface="HelveticaNeueLT Com 45 Lt"/>
              <a:sym typeface="HelveticaNeueLT Com 45 Lt"/>
            </a:endParaRPr>
          </a:p>
        </p:txBody>
      </p:sp>
      <p:cxnSp>
        <p:nvCxnSpPr>
          <p:cNvPr id="23" name="Gerade Verbindung 22"/>
          <p:cNvCxnSpPr/>
          <p:nvPr>
            <p:custDataLst>
              <p:tags r:id="rId11"/>
            </p:custDataLst>
          </p:nvPr>
        </p:nvCxnSpPr>
        <p:spPr bwMode="gray">
          <a:xfrm>
            <a:off x="4500563" y="1771650"/>
            <a:ext cx="0" cy="152400"/>
          </a:xfrm>
          <a:prstGeom prst="line">
            <a:avLst/>
          </a:prstGeom>
          <a:ln w="12700">
            <a:solidFill>
              <a:schemeClr val="bg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custDataLst>
              <p:tags r:id="rId12"/>
            </p:custDataLst>
          </p:nvPr>
        </p:nvCxnSpPr>
        <p:spPr bwMode="gray">
          <a:xfrm flipV="1">
            <a:off x="2047875" y="1771650"/>
            <a:ext cx="0" cy="226695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custDataLst>
              <p:tags r:id="rId13"/>
            </p:custDataLst>
          </p:nvPr>
        </p:nvCxnSpPr>
        <p:spPr bwMode="gray">
          <a:xfrm>
            <a:off x="2047875" y="1771650"/>
            <a:ext cx="2452687"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5" name="Ellipse 34"/>
          <p:cNvSpPr/>
          <p:nvPr>
            <p:custDataLst>
              <p:tags r:id="rId14"/>
            </p:custDataLst>
          </p:nvPr>
        </p:nvSpPr>
        <p:spPr bwMode="auto">
          <a:xfrm>
            <a:off x="2879725" y="1635125"/>
            <a:ext cx="788988" cy="273050"/>
          </a:xfrm>
          <a:prstGeom prst="ellipse">
            <a:avLst/>
          </a:prstGeom>
          <a:solidFill>
            <a:srgbClr val="FFFFFF"/>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93E14239-8AF0-4ECE-86E1-8F56F53DE39B}" type="datetime'+''''''12''''''''2''''''''''''''%'''''''''''''''''''''''''''">
              <a:rPr lang="en-US" sz="1400" b="1">
                <a:solidFill>
                  <a:schemeClr val="tx1"/>
                </a:solidFill>
              </a:rPr>
              <a:pPr/>
              <a:t>+122%</a:t>
            </a:fld>
            <a:endParaRPr lang="en-GB" sz="1400" b="1" dirty="0">
              <a:solidFill>
                <a:schemeClr val="tx1"/>
              </a:solidFill>
              <a:latin typeface="HelveticaNeueLT Com 45 Lt"/>
              <a:sym typeface="HelveticaNeueLT Com 45 Lt"/>
            </a:endParaRPr>
          </a:p>
        </p:txBody>
      </p:sp>
      <p:sp>
        <p:nvSpPr>
          <p:cNvPr id="29" name="Rechteck 28"/>
          <p:cNvSpPr/>
          <p:nvPr>
            <p:custDataLst>
              <p:tags r:id="rId15"/>
            </p:custDataLst>
          </p:nvPr>
        </p:nvSpPr>
        <p:spPr bwMode="auto">
          <a:xfrm>
            <a:off x="3835400" y="5972175"/>
            <a:ext cx="1330325" cy="4254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r>
              <a:rPr lang="en-US" sz="1400" b="1" dirty="0" smtClean="0">
                <a:latin typeface="+mj-lt"/>
              </a:rPr>
              <a:t>BALINIT</a:t>
            </a:r>
            <a:r>
              <a:rPr lang="de-CH" sz="1400" b="1" baseline="30000" dirty="0">
                <a:latin typeface="+mj-lt"/>
              </a:rPr>
              <a:t>®</a:t>
            </a:r>
            <a:r>
              <a:rPr lang="en-US" sz="1400" b="1" dirty="0" smtClean="0">
                <a:latin typeface="+mj-lt"/>
              </a:rPr>
              <a:t> </a:t>
            </a:r>
          </a:p>
          <a:p>
            <a:pPr algn="ctr"/>
            <a:r>
              <a:rPr lang="en-US" sz="1400" b="1" dirty="0" smtClean="0">
                <a:latin typeface="+mj-lt"/>
              </a:rPr>
              <a:t>ALCRONA PRO</a:t>
            </a:r>
            <a:endParaRPr kumimoji="0" lang="de-CH" sz="1400" b="1" strike="noStrike" cap="none" normalizeH="0" dirty="0" smtClean="0">
              <a:ln>
                <a:noFill/>
              </a:ln>
              <a:effectLst/>
              <a:latin typeface="+mj-lt"/>
              <a:sym typeface="HelveticaNeueLT Com 45 Lt"/>
            </a:endParaRPr>
          </a:p>
        </p:txBody>
      </p:sp>
      <p:sp>
        <p:nvSpPr>
          <p:cNvPr id="30" name="Rechteck 29"/>
          <p:cNvSpPr/>
          <p:nvPr>
            <p:custDataLst>
              <p:tags r:id="rId16"/>
            </p:custDataLst>
          </p:nvPr>
        </p:nvSpPr>
        <p:spPr bwMode="auto">
          <a:xfrm>
            <a:off x="1819275" y="5972175"/>
            <a:ext cx="4572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fld id="{A09A3CE5-146F-4E26-8E24-0B5601C31CDD}" type="datetime'''''''''A''''''I''T''''''''i''''''N'''">
              <a:rPr lang="en-US" sz="1400"/>
              <a:pPr/>
              <a:t>AITiN</a:t>
            </a:fld>
            <a:endParaRPr kumimoji="0" lang="de-CH" sz="1400" strike="noStrike" cap="none" normalizeH="0" dirty="0" smtClean="0">
              <a:ln>
                <a:noFill/>
              </a:ln>
              <a:effectLst/>
              <a:latin typeface="HelveticaNeueLT Com 45 Lt"/>
              <a:sym typeface="HelveticaNeueLT Com 45 Lt"/>
            </a:endParaRPr>
          </a:p>
        </p:txBody>
      </p:sp>
    </p:spTree>
    <p:extLst>
      <p:ext uri="{BB962C8B-B14F-4D97-AF65-F5344CB8AC3E}">
        <p14:creationId xmlns:p14="http://schemas.microsoft.com/office/powerpoint/2010/main" val="178602299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003" name="think-cell Folie" r:id="rId5" imgW="216" imgH="216" progId="TCLayout.ActiveDocument.1">
                  <p:embed/>
                </p:oleObj>
              </mc:Choice>
              <mc:Fallback>
                <p:oleObj name="think-cell Foli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Grafik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83984" y="-47425"/>
            <a:ext cx="10362454" cy="6905425"/>
          </a:xfrm>
          <a:prstGeom prst="rect">
            <a:avLst/>
          </a:prstGeom>
        </p:spPr>
      </p:pic>
      <p:sp>
        <p:nvSpPr>
          <p:cNvPr id="4" name="Ellipse 3"/>
          <p:cNvSpPr/>
          <p:nvPr/>
        </p:nvSpPr>
        <p:spPr>
          <a:xfrm>
            <a:off x="1721986" y="2562012"/>
            <a:ext cx="10310127" cy="10310127"/>
          </a:xfrm>
          <a:prstGeom prst="ellipse">
            <a:avLst/>
          </a:prstGeom>
          <a:solidFill>
            <a:schemeClr val="bg2">
              <a:alpha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19" name="Ellipse 18"/>
          <p:cNvSpPr/>
          <p:nvPr/>
        </p:nvSpPr>
        <p:spPr>
          <a:xfrm>
            <a:off x="-432981" y="407045"/>
            <a:ext cx="14620060" cy="14620060"/>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5" name="Textplatzhalter 4"/>
          <p:cNvSpPr>
            <a:spLocks noGrp="1"/>
          </p:cNvSpPr>
          <p:nvPr>
            <p:ph type="body" sz="quarter" idx="12"/>
          </p:nvPr>
        </p:nvSpPr>
        <p:spPr>
          <a:xfrm>
            <a:off x="3783193" y="3549142"/>
            <a:ext cx="4979740" cy="1586773"/>
          </a:xfrm>
        </p:spPr>
        <p:txBody>
          <a:bodyPr/>
          <a:lstStyle/>
          <a:p>
            <a:pPr algn="l" rtl="0"/>
            <a:r>
              <a:rPr lang="en" sz="2400" b="1" i="0" u="none" baseline="0" dirty="0">
                <a:solidFill>
                  <a:schemeClr val="bg1"/>
                </a:solidFill>
              </a:rPr>
              <a:t>Our surface solutions: Your key to success in the face of </a:t>
            </a:r>
            <a:r>
              <a:rPr lang="en" sz="2400" b="1" i="0" u="none" baseline="0" dirty="0" smtClean="0">
                <a:solidFill>
                  <a:schemeClr val="bg1"/>
                </a:solidFill>
              </a:rPr>
              <a:t>continuously </a:t>
            </a:r>
            <a:r>
              <a:rPr lang="en" sz="2400" b="1" i="0" u="none" baseline="0" dirty="0">
                <a:solidFill>
                  <a:schemeClr val="bg1"/>
                </a:solidFill>
              </a:rPr>
              <a:t>increasing </a:t>
            </a:r>
            <a:r>
              <a:rPr lang="en" sz="2400" b="1" i="0" u="none" baseline="0" dirty="0" smtClean="0">
                <a:solidFill>
                  <a:schemeClr val="bg1"/>
                </a:solidFill>
              </a:rPr>
              <a:t>demands</a:t>
            </a:r>
            <a:r>
              <a:rPr lang="zh-CN" altLang="en-US" sz="2400" b="1" i="0" u="none" baseline="0" dirty="0" smtClean="0">
                <a:solidFill>
                  <a:schemeClr val="bg1"/>
                </a:solidFill>
                <a:latin typeface="微软雅黑" panose="020B0503020204020204" pitchFamily="34" charset="-122"/>
                <a:ea typeface="微软雅黑" panose="020B0503020204020204" pitchFamily="34" charset="-122"/>
              </a:rPr>
              <a:t>我们的表面处理事业板块：满足不断提升需求的成功关键</a:t>
            </a:r>
            <a:endParaRPr lang="en" sz="2400" b="1" dirty="0">
              <a:solidFill>
                <a:schemeClr val="bg1"/>
              </a:solidFill>
              <a:latin typeface="微软雅黑" panose="020B0503020204020204" pitchFamily="34" charset="-122"/>
              <a:ea typeface="微软雅黑" panose="020B0503020204020204" pitchFamily="34" charset="-122"/>
            </a:endParaRPr>
          </a:p>
        </p:txBody>
      </p:sp>
      <p:sp>
        <p:nvSpPr>
          <p:cNvPr id="10" name="Foliennummernplatzhalter 9"/>
          <p:cNvSpPr>
            <a:spLocks noGrp="1"/>
          </p:cNvSpPr>
          <p:nvPr>
            <p:ph type="sldNum" sz="quarter" idx="15"/>
          </p:nvPr>
        </p:nvSpPr>
        <p:spPr/>
        <p:txBody>
          <a:bodyPr/>
          <a:lstStyle/>
          <a:p>
            <a:pPr algn="l" rtl="0"/>
            <a:r>
              <a:rPr lang="en" b="0" i="0" u="none" baseline="0"/>
              <a:t>Page </a:t>
            </a:r>
            <a:fld id="{D126E9C2-5A98-4FED-83CF-BD978A28F274}" type="slidenum">
              <a:rPr/>
              <a:pPr algn="l" rtl="0"/>
              <a:t>2</a:t>
            </a:fld>
            <a:endParaRPr lang="en" dirty="0"/>
          </a:p>
        </p:txBody>
      </p:sp>
      <p:grpSp>
        <p:nvGrpSpPr>
          <p:cNvPr id="3" name="Gruppieren 2"/>
          <p:cNvGrpSpPr/>
          <p:nvPr/>
        </p:nvGrpSpPr>
        <p:grpSpPr>
          <a:xfrm>
            <a:off x="5521806" y="893736"/>
            <a:ext cx="1296144" cy="1269513"/>
            <a:chOff x="626973" y="3106942"/>
            <a:chExt cx="1296144" cy="1269513"/>
          </a:xfrm>
        </p:grpSpPr>
        <p:sp>
          <p:nvSpPr>
            <p:cNvPr id="7" name="Rechteck 6"/>
            <p:cNvSpPr/>
            <p:nvPr/>
          </p:nvSpPr>
          <p:spPr>
            <a:xfrm>
              <a:off x="626973" y="3954825"/>
              <a:ext cx="1296144" cy="421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r>
                <a:rPr lang="en" sz="1100" b="0" i="0" u="none" baseline="0" dirty="0" smtClean="0">
                  <a:solidFill>
                    <a:schemeClr val="bg2"/>
                  </a:solidFill>
                </a:rPr>
                <a:t>Design </a:t>
              </a:r>
              <a:r>
                <a:rPr lang="zh-CN" altLang="en-US" sz="1100" b="0" i="0" u="none" baseline="0" dirty="0" smtClean="0">
                  <a:solidFill>
                    <a:schemeClr val="bg2"/>
                  </a:solidFill>
                  <a:latin typeface="微软雅黑" panose="020B0503020204020204" pitchFamily="34" charset="-122"/>
                  <a:ea typeface="微软雅黑" panose="020B0503020204020204" pitchFamily="34" charset="-122"/>
                </a:rPr>
                <a:t>设计</a:t>
              </a:r>
              <a:endParaRPr lang="en" sz="1100" b="0" i="0" u="none" baseline="0" dirty="0">
                <a:solidFill>
                  <a:schemeClr val="bg2"/>
                </a:solidFill>
                <a:latin typeface="微软雅黑" panose="020B0503020204020204" pitchFamily="34" charset="-122"/>
                <a:ea typeface="微软雅黑" panose="020B0503020204020204" pitchFamily="34" charset="-122"/>
              </a:endParaRPr>
            </a:p>
          </p:txBody>
        </p:sp>
        <p:pic>
          <p:nvPicPr>
            <p:cNvPr id="2" name="Grafik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0722" y="3106942"/>
              <a:ext cx="701779" cy="802355"/>
            </a:xfrm>
            <a:prstGeom prst="rect">
              <a:avLst/>
            </a:prstGeom>
          </p:spPr>
        </p:pic>
      </p:grpSp>
      <p:grpSp>
        <p:nvGrpSpPr>
          <p:cNvPr id="14" name="Gruppieren 13"/>
          <p:cNvGrpSpPr/>
          <p:nvPr/>
        </p:nvGrpSpPr>
        <p:grpSpPr>
          <a:xfrm>
            <a:off x="271455" y="5350514"/>
            <a:ext cx="1296144" cy="1190229"/>
            <a:chOff x="699701" y="3246883"/>
            <a:chExt cx="1296144" cy="1190229"/>
          </a:xfrm>
        </p:grpSpPr>
        <p:sp>
          <p:nvSpPr>
            <p:cNvPr id="15" name="Rechteck 14"/>
            <p:cNvSpPr/>
            <p:nvPr/>
          </p:nvSpPr>
          <p:spPr>
            <a:xfrm>
              <a:off x="699701" y="4015482"/>
              <a:ext cx="1296144" cy="421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r>
                <a:rPr lang="en" sz="1100" b="0" i="0" u="none" baseline="0" dirty="0" smtClean="0">
                  <a:solidFill>
                    <a:schemeClr val="bg2"/>
                  </a:solidFill>
                </a:rPr>
                <a:t>Productivity </a:t>
              </a:r>
              <a:r>
                <a:rPr lang="zh-CN" altLang="en-US" sz="1100" b="0" i="0" u="none" baseline="0" dirty="0" smtClean="0">
                  <a:solidFill>
                    <a:schemeClr val="bg2"/>
                  </a:solidFill>
                  <a:latin typeface="微软雅黑" panose="020B0503020204020204" pitchFamily="34" charset="-122"/>
                  <a:ea typeface="微软雅黑" panose="020B0503020204020204" pitchFamily="34" charset="-122"/>
                </a:rPr>
                <a:t>多产</a:t>
              </a:r>
              <a:endParaRPr lang="en" sz="1100" b="0" i="0" u="none" baseline="0" dirty="0">
                <a:solidFill>
                  <a:schemeClr val="bg2"/>
                </a:solidFill>
                <a:latin typeface="微软雅黑" panose="020B0503020204020204" pitchFamily="34" charset="-122"/>
                <a:ea typeface="微软雅黑" panose="020B0503020204020204" pitchFamily="34" charset="-122"/>
              </a:endParaRPr>
            </a:p>
          </p:txBody>
        </p:sp>
        <p:pic>
          <p:nvPicPr>
            <p:cNvPr id="16" name="Grafik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46994" y="3246883"/>
              <a:ext cx="801558" cy="742117"/>
            </a:xfrm>
            <a:prstGeom prst="rect">
              <a:avLst/>
            </a:prstGeom>
          </p:spPr>
        </p:pic>
      </p:grpSp>
      <p:grpSp>
        <p:nvGrpSpPr>
          <p:cNvPr id="13" name="Gruppieren 12"/>
          <p:cNvGrpSpPr/>
          <p:nvPr/>
        </p:nvGrpSpPr>
        <p:grpSpPr>
          <a:xfrm>
            <a:off x="3757208" y="1576928"/>
            <a:ext cx="1323628" cy="952100"/>
            <a:chOff x="699701" y="3485012"/>
            <a:chExt cx="1323628" cy="952100"/>
          </a:xfrm>
        </p:grpSpPr>
        <p:sp>
          <p:nvSpPr>
            <p:cNvPr id="17" name="Rechteck 16"/>
            <p:cNvSpPr/>
            <p:nvPr/>
          </p:nvSpPr>
          <p:spPr>
            <a:xfrm>
              <a:off x="699701" y="4015482"/>
              <a:ext cx="1296144" cy="421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r>
                <a:rPr lang="en" sz="1100" b="0" i="0" u="none" baseline="0" dirty="0" smtClean="0">
                  <a:solidFill>
                    <a:schemeClr val="bg2"/>
                  </a:solidFill>
                </a:rPr>
                <a:t>Power </a:t>
              </a:r>
              <a:r>
                <a:rPr lang="zh-CN" altLang="en-US" sz="1100" b="0" i="0" u="none" baseline="0" dirty="0" smtClean="0">
                  <a:solidFill>
                    <a:schemeClr val="bg2"/>
                  </a:solidFill>
                  <a:latin typeface="微软雅黑" panose="020B0503020204020204" pitchFamily="34" charset="-122"/>
                  <a:ea typeface="微软雅黑" panose="020B0503020204020204" pitchFamily="34" charset="-122"/>
                </a:rPr>
                <a:t>动力</a:t>
              </a:r>
              <a:r>
                <a:rPr lang="en" sz="1100" b="0" i="0" u="none" baseline="0" dirty="0" smtClean="0">
                  <a:solidFill>
                    <a:schemeClr val="bg2"/>
                  </a:solidFill>
                  <a:latin typeface="微软雅黑" panose="020B0503020204020204" pitchFamily="34" charset="-122"/>
                  <a:ea typeface="微软雅黑" panose="020B0503020204020204" pitchFamily="34" charset="-122"/>
                </a:rPr>
                <a:t> </a:t>
              </a:r>
              <a:endParaRPr lang="en" sz="1100" b="0" i="0" u="none" baseline="0" dirty="0">
                <a:solidFill>
                  <a:schemeClr val="bg2"/>
                </a:solidFill>
                <a:latin typeface="微软雅黑" panose="020B0503020204020204" pitchFamily="34" charset="-122"/>
                <a:ea typeface="微软雅黑" panose="020B0503020204020204" pitchFamily="34" charset="-122"/>
              </a:endParaRPr>
            </a:p>
          </p:txBody>
        </p:sp>
        <p:pic>
          <p:nvPicPr>
            <p:cNvPr id="18" name="Grafik 1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4594" y="3485012"/>
              <a:ext cx="1228735" cy="461975"/>
            </a:xfrm>
            <a:prstGeom prst="rect">
              <a:avLst/>
            </a:prstGeom>
          </p:spPr>
        </p:pic>
      </p:grpSp>
      <p:grpSp>
        <p:nvGrpSpPr>
          <p:cNvPr id="20" name="Gruppieren 19"/>
          <p:cNvGrpSpPr/>
          <p:nvPr/>
        </p:nvGrpSpPr>
        <p:grpSpPr>
          <a:xfrm>
            <a:off x="755576" y="3708798"/>
            <a:ext cx="1530347" cy="1222997"/>
            <a:chOff x="465498" y="3214115"/>
            <a:chExt cx="1530347" cy="1222997"/>
          </a:xfrm>
        </p:grpSpPr>
        <p:sp>
          <p:nvSpPr>
            <p:cNvPr id="21" name="Rechteck 20"/>
            <p:cNvSpPr/>
            <p:nvPr/>
          </p:nvSpPr>
          <p:spPr>
            <a:xfrm>
              <a:off x="465498" y="4015482"/>
              <a:ext cx="1530347" cy="421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r>
                <a:rPr lang="en" sz="1100" b="0" i="0" u="none" baseline="0" dirty="0" smtClean="0">
                  <a:solidFill>
                    <a:schemeClr val="bg2"/>
                  </a:solidFill>
                </a:rPr>
                <a:t>Eco-Friendliness </a:t>
              </a:r>
              <a:r>
                <a:rPr lang="zh-CN" altLang="en-US" sz="1100" b="0" i="0" u="none" baseline="0" dirty="0" smtClean="0">
                  <a:solidFill>
                    <a:schemeClr val="bg2"/>
                  </a:solidFill>
                  <a:latin typeface="微软雅黑" panose="020B0503020204020204" pitchFamily="34" charset="-122"/>
                  <a:ea typeface="微软雅黑" panose="020B0503020204020204" pitchFamily="34" charset="-122"/>
                </a:rPr>
                <a:t>环保</a:t>
              </a:r>
              <a:endParaRPr lang="en" sz="1100" b="0" i="0" u="none" baseline="0" dirty="0">
                <a:solidFill>
                  <a:schemeClr val="bg2"/>
                </a:solidFill>
                <a:latin typeface="微软雅黑" panose="020B0503020204020204" pitchFamily="34" charset="-122"/>
                <a:ea typeface="微软雅黑" panose="020B0503020204020204" pitchFamily="34" charset="-122"/>
              </a:endParaRPr>
            </a:p>
          </p:txBody>
        </p:sp>
        <p:pic>
          <p:nvPicPr>
            <p:cNvPr id="22" name="Grafik 2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85096" y="3214115"/>
              <a:ext cx="801558" cy="807653"/>
            </a:xfrm>
            <a:prstGeom prst="rect">
              <a:avLst/>
            </a:prstGeom>
          </p:spPr>
        </p:pic>
      </p:grpSp>
      <p:grpSp>
        <p:nvGrpSpPr>
          <p:cNvPr id="25" name="Gruppieren 24"/>
          <p:cNvGrpSpPr/>
          <p:nvPr/>
        </p:nvGrpSpPr>
        <p:grpSpPr>
          <a:xfrm>
            <a:off x="2296434" y="2221527"/>
            <a:ext cx="1296144" cy="1464829"/>
            <a:chOff x="699701" y="2972283"/>
            <a:chExt cx="1296144" cy="1464829"/>
          </a:xfrm>
        </p:grpSpPr>
        <p:sp>
          <p:nvSpPr>
            <p:cNvPr id="26" name="Rechteck 25"/>
            <p:cNvSpPr/>
            <p:nvPr/>
          </p:nvSpPr>
          <p:spPr>
            <a:xfrm>
              <a:off x="699701" y="4015482"/>
              <a:ext cx="1296144" cy="421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r>
                <a:rPr lang="en" sz="1100" b="0" i="0" u="none" baseline="0" dirty="0" smtClean="0">
                  <a:solidFill>
                    <a:schemeClr val="bg2"/>
                  </a:solidFill>
                </a:rPr>
                <a:t>Reliability </a:t>
              </a:r>
              <a:r>
                <a:rPr lang="zh-CN" altLang="en-US" sz="1100" b="0" i="0" u="none" baseline="0" dirty="0" smtClean="0">
                  <a:solidFill>
                    <a:schemeClr val="bg2"/>
                  </a:solidFill>
                  <a:latin typeface="微软雅黑" panose="020B0503020204020204" pitchFamily="34" charset="-122"/>
                  <a:ea typeface="微软雅黑" panose="020B0503020204020204" pitchFamily="34" charset="-122"/>
                </a:rPr>
                <a:t>可靠</a:t>
              </a:r>
              <a:endParaRPr lang="en" sz="1100" b="0" i="0" u="none" baseline="0" dirty="0">
                <a:solidFill>
                  <a:schemeClr val="bg2"/>
                </a:solidFill>
                <a:latin typeface="微软雅黑" panose="020B0503020204020204" pitchFamily="34" charset="-122"/>
                <a:ea typeface="微软雅黑" panose="020B0503020204020204" pitchFamily="34" charset="-122"/>
              </a:endParaRPr>
            </a:p>
          </p:txBody>
        </p:sp>
        <p:pic>
          <p:nvPicPr>
            <p:cNvPr id="27" name="Grafik 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93706" y="2972283"/>
              <a:ext cx="701779" cy="1049486"/>
            </a:xfrm>
            <a:prstGeom prst="rect">
              <a:avLst/>
            </a:prstGeom>
          </p:spPr>
        </p:pic>
      </p:grpSp>
      <p:grpSp>
        <p:nvGrpSpPr>
          <p:cNvPr id="28" name="Gruppieren 27"/>
          <p:cNvGrpSpPr/>
          <p:nvPr/>
        </p:nvGrpSpPr>
        <p:grpSpPr>
          <a:xfrm>
            <a:off x="7527911" y="807960"/>
            <a:ext cx="1296144" cy="1315678"/>
            <a:chOff x="626973" y="3060777"/>
            <a:chExt cx="1296144" cy="1315678"/>
          </a:xfrm>
        </p:grpSpPr>
        <p:sp>
          <p:nvSpPr>
            <p:cNvPr id="29" name="Rechteck 28"/>
            <p:cNvSpPr/>
            <p:nvPr/>
          </p:nvSpPr>
          <p:spPr>
            <a:xfrm>
              <a:off x="626973" y="3954825"/>
              <a:ext cx="1296144" cy="4216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r>
                <a:rPr lang="en" sz="1100" b="0" i="0" u="none" baseline="0" dirty="0">
                  <a:solidFill>
                    <a:schemeClr val="bg2"/>
                  </a:solidFill>
                </a:rPr>
                <a:t>Energy </a:t>
              </a:r>
              <a:r>
                <a:rPr lang="en" sz="1100" b="0" i="0" u="none" baseline="0" dirty="0" smtClean="0">
                  <a:solidFill>
                    <a:schemeClr val="bg2"/>
                  </a:solidFill>
                </a:rPr>
                <a:t>Efficiency </a:t>
              </a:r>
              <a:r>
                <a:rPr lang="zh-CN" altLang="en-US" sz="1100" b="0" i="0" u="none" baseline="0" dirty="0" smtClean="0">
                  <a:solidFill>
                    <a:schemeClr val="bg2"/>
                  </a:solidFill>
                  <a:latin typeface="微软雅黑" panose="020B0503020204020204" pitchFamily="34" charset="-122"/>
                  <a:ea typeface="微软雅黑" panose="020B0503020204020204" pitchFamily="34" charset="-122"/>
                </a:rPr>
                <a:t>节能</a:t>
              </a:r>
              <a:endParaRPr lang="en" sz="1100" dirty="0">
                <a:solidFill>
                  <a:schemeClr val="bg2"/>
                </a:solidFill>
                <a:latin typeface="微软雅黑" panose="020B0503020204020204" pitchFamily="34" charset="-122"/>
                <a:ea typeface="微软雅黑" panose="020B0503020204020204" pitchFamily="34" charset="-122"/>
              </a:endParaRPr>
            </a:p>
            <a:p>
              <a:pPr algn="ctr" rtl="0">
                <a:spcBef>
                  <a:spcPts val="300"/>
                </a:spcBef>
                <a:spcAft>
                  <a:spcPts val="300"/>
                </a:spcAft>
              </a:pPr>
              <a:endParaRPr lang="en" sz="1100" dirty="0" smtClean="0">
                <a:solidFill>
                  <a:schemeClr val="bg2"/>
                </a:solidFill>
              </a:endParaRPr>
            </a:p>
          </p:txBody>
        </p:sp>
        <p:pic>
          <p:nvPicPr>
            <p:cNvPr id="30" name="Grafik 2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03200" y="3060777"/>
              <a:ext cx="881339" cy="871964"/>
            </a:xfrm>
            <a:prstGeom prst="rect">
              <a:avLst/>
            </a:prstGeom>
          </p:spPr>
        </p:pic>
      </p:grpSp>
      <p:sp>
        <p:nvSpPr>
          <p:cNvPr id="31" name="Fußzeilenplatzhalter 3"/>
          <p:cNvSpPr txBox="1">
            <a:spLocks/>
          </p:cNvSpPr>
          <p:nvPr/>
        </p:nvSpPr>
        <p:spPr bwMode="gray">
          <a:xfrm>
            <a:off x="1175444" y="6535433"/>
            <a:ext cx="6623845" cy="180976"/>
          </a:xfrm>
          <a:prstGeom prst="rect">
            <a:avLst/>
          </a:prstGeom>
        </p:spPr>
        <p:txBody>
          <a:bodyPr vert="horz" lIns="0" tIns="0" rIns="0" bIns="0" rtlCol="0" anchor="b"/>
          <a:lstStyle>
            <a:defPPr>
              <a:defRPr lang="de-DE"/>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Presentation Tools &amp; Equipment (04. January 2017)</a:t>
            </a:r>
            <a:endParaRPr lang="de-DE" dirty="0"/>
          </a:p>
        </p:txBody>
      </p:sp>
      <p:grpSp>
        <p:nvGrpSpPr>
          <p:cNvPr id="32" name="Gruppieren 32"/>
          <p:cNvGrpSpPr/>
          <p:nvPr/>
        </p:nvGrpSpPr>
        <p:grpSpPr>
          <a:xfrm>
            <a:off x="6155409" y="5458315"/>
            <a:ext cx="2951609" cy="851005"/>
            <a:chOff x="6155409" y="5458315"/>
            <a:chExt cx="2951609" cy="851005"/>
          </a:xfrm>
        </p:grpSpPr>
        <p:pic>
          <p:nvPicPr>
            <p:cNvPr id="33"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603502" y="5857108"/>
              <a:ext cx="1144962" cy="452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Grafik 2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6242109" y="5844139"/>
              <a:ext cx="1145493" cy="450050"/>
            </a:xfrm>
            <a:prstGeom prst="rect">
              <a:avLst/>
            </a:prstGeom>
          </p:spPr>
        </p:pic>
        <p:sp>
          <p:nvSpPr>
            <p:cNvPr id="35" name="Rechteck 31"/>
            <p:cNvSpPr/>
            <p:nvPr/>
          </p:nvSpPr>
          <p:spPr>
            <a:xfrm>
              <a:off x="6155409" y="5458315"/>
              <a:ext cx="2951609" cy="323165"/>
            </a:xfrm>
            <a:prstGeom prst="rect">
              <a:avLst/>
            </a:prstGeom>
          </p:spPr>
          <p:txBody>
            <a:bodyPr wrap="square">
              <a:spAutoFit/>
            </a:bodyPr>
            <a:lstStyle/>
            <a:p>
              <a:pPr algn="l" rtl="0"/>
              <a:r>
                <a:rPr lang="en" sz="1500" b="1" i="0" u="none" baseline="0" dirty="0">
                  <a:solidFill>
                    <a:schemeClr val="accent2"/>
                  </a:solidFill>
                </a:rPr>
                <a:t>Oerlikon Surface Solutions</a:t>
              </a:r>
              <a:endParaRPr lang="en" sz="1500" b="1" dirty="0">
                <a:solidFill>
                  <a:schemeClr val="accent2"/>
                </a:solidFill>
              </a:endParaRPr>
            </a:p>
          </p:txBody>
        </p:sp>
      </p:grpSp>
      <p:sp>
        <p:nvSpPr>
          <p:cNvPr id="11" name="Footer Placeholder 10"/>
          <p:cNvSpPr>
            <a:spLocks noGrp="1"/>
          </p:cNvSpPr>
          <p:nvPr>
            <p:ph type="ftr" sz="quarter" idx="14"/>
          </p:nvPr>
        </p:nvSpPr>
        <p:spPr/>
        <p:txBody>
          <a:bodyPr/>
          <a:lstStyle/>
          <a:p>
            <a:r>
              <a:rPr lang="en-US" smtClean="0"/>
              <a:t>Presentation Tools &amp; Equipment (04. January 2017)</a:t>
            </a:r>
            <a:endParaRPr lang="de-DE" dirty="0"/>
          </a:p>
        </p:txBody>
      </p:sp>
    </p:spTree>
    <p:extLst>
      <p:ext uri="{BB962C8B-B14F-4D97-AF65-F5344CB8AC3E}">
        <p14:creationId xmlns:p14="http://schemas.microsoft.com/office/powerpoint/2010/main" val="230128918"/>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694847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70" name="think-cell Folie" r:id="rId19" imgW="270" imgH="270" progId="TCLayout.ActiveDocument.1">
                  <p:embed/>
                </p:oleObj>
              </mc:Choice>
              <mc:Fallback>
                <p:oleObj name="think-cell Foli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7" name="Rechteck 6"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400" smtClean="0">
              <a:solidFill>
                <a:schemeClr val="tx1"/>
              </a:solidFill>
              <a:latin typeface="Arial"/>
              <a:sym typeface="Arial"/>
            </a:endParaRPr>
          </a:p>
        </p:txBody>
      </p:sp>
      <p:cxnSp>
        <p:nvCxnSpPr>
          <p:cNvPr id="91" name="Gerade Verbindung 90"/>
          <p:cNvCxnSpPr/>
          <p:nvPr>
            <p:custDataLst>
              <p:tags r:id="rId4"/>
            </p:custDataLst>
          </p:nvPr>
        </p:nvCxnSpPr>
        <p:spPr bwMode="auto">
          <a:xfrm flipV="1">
            <a:off x="2895600" y="3457575"/>
            <a:ext cx="49530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Gerade Verbindung 91"/>
          <p:cNvCxnSpPr/>
          <p:nvPr>
            <p:custDataLst>
              <p:tags r:id="rId5"/>
            </p:custDataLst>
          </p:nvPr>
        </p:nvCxnSpPr>
        <p:spPr bwMode="auto">
          <a:xfrm flipV="1">
            <a:off x="4019550" y="3152775"/>
            <a:ext cx="49530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custDataLst>
              <p:tags r:id="rId6"/>
            </p:custDataLst>
          </p:nvPr>
        </p:nvCxnSpPr>
        <p:spPr bwMode="auto">
          <a:xfrm flipV="1">
            <a:off x="5143500" y="2838450"/>
            <a:ext cx="495300" cy="3143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custDataLst>
              <p:tags r:id="rId7"/>
            </p:custDataLst>
          </p:nvPr>
        </p:nvCxnSpPr>
        <p:spPr bwMode="auto">
          <a:xfrm flipV="1">
            <a:off x="6267450" y="2590800"/>
            <a:ext cx="495300" cy="2476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Gerade Verbindung 89"/>
          <p:cNvCxnSpPr/>
          <p:nvPr>
            <p:custDataLst>
              <p:tags r:id="rId8"/>
            </p:custDataLst>
          </p:nvPr>
        </p:nvCxnSpPr>
        <p:spPr bwMode="auto">
          <a:xfrm flipV="1">
            <a:off x="1781175" y="3762375"/>
            <a:ext cx="495300" cy="1905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2" name="Objekt 11"/>
          <p:cNvGraphicFramePr>
            <a:graphicFrameLocks/>
          </p:cNvGraphicFramePr>
          <p:nvPr>
            <p:custDataLst>
              <p:tags r:id="rId9"/>
            </p:custDataLst>
            <p:extLst>
              <p:ext uri="{D42A27DB-BD31-4B8C-83A1-F6EECF244321}">
                <p14:modId xmlns:p14="http://schemas.microsoft.com/office/powerpoint/2010/main" val="3931532274"/>
              </p:ext>
            </p:extLst>
          </p:nvPr>
        </p:nvGraphicFramePr>
        <p:xfrm>
          <a:off x="304800" y="1143000"/>
          <a:ext cx="8544035" cy="4972185"/>
        </p:xfrm>
        <a:graphic>
          <a:graphicData uri="http://schemas.openxmlformats.org/presentationml/2006/ole">
            <mc:AlternateContent xmlns:mc="http://schemas.openxmlformats.org/markup-compatibility/2006">
              <mc:Choice xmlns:v="urn:schemas-microsoft-com:vml" Requires="v">
                <p:oleObj spid="_x0000_s197671" name="Chart" r:id="rId21" imgW="8543841" imgH="4972185" progId="MSGraph.Chart.8">
                  <p:embed followColorScheme="full"/>
                </p:oleObj>
              </mc:Choice>
              <mc:Fallback>
                <p:oleObj name="Chart" r:id="rId21" imgW="8543841" imgH="4972185" progId="MSGraph.Chart.8">
                  <p:embed followColorScheme="full"/>
                  <p:pic>
                    <p:nvPicPr>
                      <p:cNvPr id="0" name=""/>
                      <p:cNvPicPr/>
                      <p:nvPr/>
                    </p:nvPicPr>
                    <p:blipFill>
                      <a:blip r:embed="rId22"/>
                      <a:stretch>
                        <a:fillRect/>
                      </a:stretch>
                    </p:blipFill>
                    <p:spPr>
                      <a:xfrm>
                        <a:off x="304800" y="1143000"/>
                        <a:ext cx="8544035" cy="4972185"/>
                      </a:xfrm>
                      <a:prstGeom prst="rect">
                        <a:avLst/>
                      </a:prstGeom>
                    </p:spPr>
                  </p:pic>
                </p:oleObj>
              </mc:Fallback>
            </mc:AlternateContent>
          </a:graphicData>
        </a:graphic>
      </p:graphicFrame>
      <p:sp>
        <p:nvSpPr>
          <p:cNvPr id="20" name="Textplatzhalter 17"/>
          <p:cNvSpPr>
            <a:spLocks noGrp="1"/>
          </p:cNvSpPr>
          <p:nvPr>
            <p:custDataLst>
              <p:tags r:id="rId10"/>
            </p:custDataLst>
          </p:nvPr>
        </p:nvSpPr>
        <p:spPr bwMode="auto">
          <a:xfrm>
            <a:off x="7988300"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BDF52ADE-613D-49D4-81D5-5BF7BAE635E8}" type="datetime'''''2''''0''''''''15'''''''''''''''''''">
              <a:rPr lang="en-US" sz="1400"/>
              <a:pPr/>
              <a:t>2015</a:t>
            </a:fld>
            <a:endParaRPr lang="en-US" sz="1400" dirty="0">
              <a:latin typeface="Arial"/>
              <a:sym typeface="Arial"/>
            </a:endParaRPr>
          </a:p>
        </p:txBody>
      </p:sp>
      <p:sp>
        <p:nvSpPr>
          <p:cNvPr id="19" name="Textplatzhalter 16"/>
          <p:cNvSpPr>
            <a:spLocks noGrp="1"/>
          </p:cNvSpPr>
          <p:nvPr>
            <p:custDataLst>
              <p:tags r:id="rId11"/>
            </p:custDataLst>
          </p:nvPr>
        </p:nvSpPr>
        <p:spPr bwMode="auto">
          <a:xfrm>
            <a:off x="6869113"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B2809504-3A90-4911-A8F7-C3F1F4173F0A}" type="datetime'2''''''''''''''''0''''''''''''1''''0'''">
              <a:rPr lang="en-US" sz="1400"/>
              <a:pPr/>
              <a:t>2010</a:t>
            </a:fld>
            <a:endParaRPr lang="en-US" sz="1400" dirty="0">
              <a:latin typeface="Arial"/>
              <a:sym typeface="Arial"/>
            </a:endParaRPr>
          </a:p>
        </p:txBody>
      </p:sp>
      <p:sp>
        <p:nvSpPr>
          <p:cNvPr id="18" name="Textplatzhalter 15"/>
          <p:cNvSpPr>
            <a:spLocks noGrp="1"/>
          </p:cNvSpPr>
          <p:nvPr>
            <p:custDataLst>
              <p:tags r:id="rId12"/>
            </p:custDataLst>
          </p:nvPr>
        </p:nvSpPr>
        <p:spPr bwMode="auto">
          <a:xfrm>
            <a:off x="5749925"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77D4C103-8088-4573-BC09-2AC2A59FB988}" type="datetime'''''''''''''''2''''''''''''''0''0''''''''''''''''''''''''4'''">
              <a:rPr lang="en-US" sz="1400">
                <a:latin typeface="Arial"/>
                <a:sym typeface="Arial"/>
              </a:rPr>
              <a:pPr algn="ctr">
                <a:spcBef>
                  <a:spcPct val="0"/>
                </a:spcBef>
                <a:spcAft>
                  <a:spcPct val="0"/>
                </a:spcAft>
              </a:pPr>
              <a:t>2004</a:t>
            </a:fld>
            <a:endParaRPr lang="en-US" sz="1400" dirty="0">
              <a:latin typeface="Arial"/>
              <a:sym typeface="Arial"/>
            </a:endParaRPr>
          </a:p>
        </p:txBody>
      </p:sp>
      <p:sp>
        <p:nvSpPr>
          <p:cNvPr id="21" name="Textplatzhalter 18"/>
          <p:cNvSpPr>
            <a:spLocks noGrp="1"/>
          </p:cNvSpPr>
          <p:nvPr>
            <p:custDataLst>
              <p:tags r:id="rId13"/>
            </p:custDataLst>
          </p:nvPr>
        </p:nvSpPr>
        <p:spPr bwMode="auto">
          <a:xfrm>
            <a:off x="3502025"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5AC8B37F-C524-45BB-9E32-55674AFD95EA}" type="datetime'''''''1''''''''''9''''''''''9''''6'''">
              <a:rPr lang="en-US" sz="1400"/>
              <a:pPr/>
              <a:t>1996</a:t>
            </a:fld>
            <a:endParaRPr lang="en-US" sz="1400" dirty="0">
              <a:latin typeface="Arial"/>
              <a:sym typeface="Arial"/>
            </a:endParaRPr>
          </a:p>
        </p:txBody>
      </p:sp>
      <p:sp>
        <p:nvSpPr>
          <p:cNvPr id="9" name="Textplatzhalter 6"/>
          <p:cNvSpPr>
            <a:spLocks noGrp="1"/>
          </p:cNvSpPr>
          <p:nvPr>
            <p:custDataLst>
              <p:tags r:id="rId14"/>
            </p:custDataLst>
          </p:nvPr>
        </p:nvSpPr>
        <p:spPr bwMode="auto">
          <a:xfrm>
            <a:off x="1263650"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E9201973-CFF3-4468-B447-9EB2A728EC5A}" type="datetime'''''''''1''''''''''''''97''''''''''''''''''''8'''''">
              <a:rPr lang="en-US" sz="1400"/>
              <a:pPr/>
              <a:t>1978</a:t>
            </a:fld>
            <a:endParaRPr lang="en-US" sz="1400" dirty="0">
              <a:sym typeface="+mn-lt"/>
            </a:endParaRPr>
          </a:p>
        </p:txBody>
      </p:sp>
      <p:sp>
        <p:nvSpPr>
          <p:cNvPr id="11" name="Textplatzhalter 8"/>
          <p:cNvSpPr>
            <a:spLocks noGrp="1"/>
          </p:cNvSpPr>
          <p:nvPr>
            <p:custDataLst>
              <p:tags r:id="rId15"/>
            </p:custDataLst>
          </p:nvPr>
        </p:nvSpPr>
        <p:spPr bwMode="auto">
          <a:xfrm>
            <a:off x="4625975"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DE6866BA-3145-4256-9F6E-19CBA56360C7}" type="datetime'2''''''''''''''''''''''0''''0''''''''''''1'''''''''''''">
              <a:rPr lang="en-US" sz="1400"/>
              <a:pPr/>
              <a:t>2001</a:t>
            </a:fld>
            <a:endParaRPr lang="en-US" sz="1400" dirty="0">
              <a:sym typeface="+mn-lt"/>
            </a:endParaRPr>
          </a:p>
        </p:txBody>
      </p:sp>
      <p:sp>
        <p:nvSpPr>
          <p:cNvPr id="10" name="Textplatzhalter 7"/>
          <p:cNvSpPr>
            <a:spLocks noGrp="1"/>
          </p:cNvSpPr>
          <p:nvPr>
            <p:custDataLst>
              <p:tags r:id="rId16"/>
            </p:custDataLst>
          </p:nvPr>
        </p:nvSpPr>
        <p:spPr bwMode="auto">
          <a:xfrm>
            <a:off x="2382838" y="5962650"/>
            <a:ext cx="406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spcBef>
                <a:spcPct val="0"/>
              </a:spcBef>
              <a:spcAft>
                <a:spcPct val="0"/>
              </a:spcAft>
            </a:pPr>
            <a:fld id="{7FDABB83-A6E5-4666-BD39-C6D1972530CC}" type="datetime'''''''''''''1''''''''9''''8''''9'''''''''''''''''''''">
              <a:rPr lang="en-US" sz="1400"/>
              <a:pPr/>
              <a:t>1989</a:t>
            </a:fld>
            <a:endParaRPr lang="en-US" sz="1400" dirty="0">
              <a:sym typeface="+mn-lt"/>
            </a:endParaRPr>
          </a:p>
        </p:txBody>
      </p:sp>
      <p:sp>
        <p:nvSpPr>
          <p:cNvPr id="2" name="Titel 1"/>
          <p:cNvSpPr>
            <a:spLocks noGrp="1"/>
          </p:cNvSpPr>
          <p:nvPr>
            <p:ph type="title"/>
          </p:nvPr>
        </p:nvSpPr>
        <p:spPr/>
        <p:txBody>
          <a:bodyPr/>
          <a:lstStyle/>
          <a:p>
            <a:r>
              <a:rPr lang="de-CH" dirty="0" smtClean="0"/>
              <a:t>Shift up a gear with BALINIT ALTENSA!</a:t>
            </a:r>
            <a:br>
              <a:rPr lang="de-CH" dirty="0" smtClean="0"/>
            </a:br>
            <a:r>
              <a:rPr lang="zh-CN" altLang="en-US" dirty="0"/>
              <a:t>采</a:t>
            </a:r>
            <a:r>
              <a:rPr lang="zh-CN" altLang="en-US" dirty="0" smtClean="0"/>
              <a:t>用</a:t>
            </a:r>
            <a:r>
              <a:rPr lang="de-CH" altLang="zh-CN" dirty="0"/>
              <a:t>BALINIT </a:t>
            </a:r>
            <a:r>
              <a:rPr lang="de-CH" altLang="zh-CN" dirty="0" smtClean="0"/>
              <a:t>ALTENSA </a:t>
            </a:r>
            <a:r>
              <a:rPr lang="zh-CN" altLang="en-US" dirty="0" smtClean="0"/>
              <a:t>提高齿轮加工速度</a:t>
            </a:r>
            <a:endParaRPr lang="en-US" dirty="0"/>
          </a:p>
        </p:txBody>
      </p:sp>
      <p:sp>
        <p:nvSpPr>
          <p:cNvPr id="42" name="Textfeld 41"/>
          <p:cNvSpPr txBox="1"/>
          <p:nvPr/>
        </p:nvSpPr>
        <p:spPr>
          <a:xfrm>
            <a:off x="395288" y="1052512"/>
            <a:ext cx="1872456" cy="215901"/>
          </a:xfrm>
          <a:prstGeom prst="rect">
            <a:avLst/>
          </a:prstGeom>
          <a:noFill/>
        </p:spPr>
        <p:txBody>
          <a:bodyPr wrap="square" lIns="0" tIns="0" rIns="0" bIns="0" rtlCol="0">
            <a:noAutofit/>
          </a:bodyPr>
          <a:lstStyle/>
          <a:p>
            <a:pPr>
              <a:spcBef>
                <a:spcPts val="300"/>
              </a:spcBef>
              <a:spcAft>
                <a:spcPts val="300"/>
              </a:spcAft>
              <a:buClr>
                <a:schemeClr val="bg2"/>
              </a:buClr>
            </a:pPr>
            <a:r>
              <a:rPr lang="de-CH" sz="1200" dirty="0" err="1" smtClean="0"/>
              <a:t>Cutting</a:t>
            </a:r>
            <a:r>
              <a:rPr lang="de-CH" sz="1200" dirty="0" smtClean="0"/>
              <a:t> </a:t>
            </a:r>
            <a:r>
              <a:rPr lang="de-CH" sz="1200" dirty="0" err="1" smtClean="0"/>
              <a:t>speed</a:t>
            </a:r>
            <a:r>
              <a:rPr lang="de-CH" sz="1200" dirty="0" smtClean="0"/>
              <a:t> (m/min)</a:t>
            </a:r>
            <a:endParaRPr lang="en-US" sz="1200" dirty="0" err="1" smtClean="0"/>
          </a:p>
        </p:txBody>
      </p:sp>
      <p:sp>
        <p:nvSpPr>
          <p:cNvPr id="82" name="Rechteck 81"/>
          <p:cNvSpPr/>
          <p:nvPr/>
        </p:nvSpPr>
        <p:spPr>
          <a:xfrm>
            <a:off x="7876134" y="1724025"/>
            <a:ext cx="611624" cy="40637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smtClean="0">
              <a:solidFill>
                <a:schemeClr val="tx1"/>
              </a:solidFill>
            </a:endParaRPr>
          </a:p>
        </p:txBody>
      </p:sp>
      <p:grpSp>
        <p:nvGrpSpPr>
          <p:cNvPr id="115" name="Gruppieren 114"/>
          <p:cNvGrpSpPr/>
          <p:nvPr/>
        </p:nvGrpSpPr>
        <p:grpSpPr>
          <a:xfrm>
            <a:off x="6372200" y="489968"/>
            <a:ext cx="2125911" cy="2074936"/>
            <a:chOff x="5881688" y="5013175"/>
            <a:chExt cx="1419826" cy="1389461"/>
          </a:xfrm>
        </p:grpSpPr>
        <p:sp>
          <p:nvSpPr>
            <p:cNvPr id="116" name="Ellipse 115"/>
            <p:cNvSpPr/>
            <p:nvPr/>
          </p:nvSpPr>
          <p:spPr>
            <a:xfrm>
              <a:off x="5881688" y="5143500"/>
              <a:ext cx="1259136" cy="1259136"/>
            </a:xfrm>
            <a:prstGeom prst="ellipse">
              <a:avLst/>
            </a:prstGeom>
            <a:solidFill>
              <a:schemeClr val="bg2"/>
            </a:solidFill>
            <a:ln w="31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smtClean="0">
                <a:solidFill>
                  <a:schemeClr val="tx1"/>
                </a:solidFill>
              </a:endParaRPr>
            </a:p>
          </p:txBody>
        </p:sp>
        <p:pic>
          <p:nvPicPr>
            <p:cNvPr id="117" name="Grafik 116"/>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588223" y="5013175"/>
              <a:ext cx="713291" cy="713291"/>
            </a:xfrm>
            <a:prstGeom prst="rect">
              <a:avLst/>
            </a:prstGeom>
          </p:spPr>
        </p:pic>
        <p:sp>
          <p:nvSpPr>
            <p:cNvPr id="118" name="Textfeld 117"/>
            <p:cNvSpPr txBox="1"/>
            <p:nvPr/>
          </p:nvSpPr>
          <p:spPr>
            <a:xfrm>
              <a:off x="6084888" y="5327937"/>
              <a:ext cx="864394" cy="797060"/>
            </a:xfrm>
            <a:prstGeom prst="rect">
              <a:avLst/>
            </a:prstGeom>
            <a:noFill/>
          </p:spPr>
          <p:txBody>
            <a:bodyPr wrap="square" lIns="0" tIns="0" rIns="0" bIns="0" rtlCol="0" anchor="ctr">
              <a:noAutofit/>
            </a:bodyPr>
            <a:lstStyle/>
            <a:p>
              <a:pPr algn="ctr">
                <a:spcBef>
                  <a:spcPts val="300"/>
                </a:spcBef>
                <a:spcAft>
                  <a:spcPts val="300"/>
                </a:spcAft>
                <a:buClr>
                  <a:schemeClr val="bg2"/>
                </a:buClr>
              </a:pPr>
              <a:r>
                <a:rPr lang="de-CH" sz="2000" b="1" dirty="0" smtClean="0">
                  <a:solidFill>
                    <a:schemeClr val="bg1"/>
                  </a:solidFill>
                  <a:latin typeface="+mn-lt"/>
                </a:rPr>
                <a:t>BALINIT</a:t>
              </a:r>
              <a:r>
                <a:rPr lang="de-CH" sz="2000" b="1" baseline="30000" dirty="0" smtClean="0">
                  <a:solidFill>
                    <a:schemeClr val="bg1"/>
                  </a:solidFill>
                  <a:latin typeface="+mn-lt"/>
                </a:rPr>
                <a:t>®</a:t>
              </a:r>
              <a:r>
                <a:rPr lang="de-CH" sz="1400" b="1" dirty="0" smtClean="0">
                  <a:solidFill>
                    <a:schemeClr val="bg1"/>
                  </a:solidFill>
                  <a:latin typeface="+mn-lt"/>
                </a:rPr>
                <a:t> </a:t>
              </a:r>
              <a:r>
                <a:rPr lang="de-CH" sz="2000" b="1" dirty="0" smtClean="0">
                  <a:solidFill>
                    <a:schemeClr val="bg1"/>
                  </a:solidFill>
                  <a:latin typeface="+mn-lt"/>
                </a:rPr>
                <a:t>ALTENSA</a:t>
              </a:r>
              <a:endParaRPr lang="en-US" sz="1400" b="1" dirty="0" err="1" smtClean="0">
                <a:solidFill>
                  <a:schemeClr val="bg1"/>
                </a:solidFill>
                <a:latin typeface="+mn-lt"/>
              </a:endParaRPr>
            </a:p>
          </p:txBody>
        </p:sp>
      </p:grpSp>
    </p:spTree>
    <p:extLst>
      <p:ext uri="{BB962C8B-B14F-4D97-AF65-F5344CB8AC3E}">
        <p14:creationId xmlns:p14="http://schemas.microsoft.com/office/powerpoint/2010/main" val="2293632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5"/>
                                        </p:tgtEl>
                                        <p:attrNameLst>
                                          <p:attrName>style.visibility</p:attrName>
                                        </p:attrNameLst>
                                      </p:cBhvr>
                                      <p:to>
                                        <p:strVal val="visible"/>
                                      </p:to>
                                    </p:set>
                                    <p:animEffect transition="in" filter="fade">
                                      <p:cBhvr>
                                        <p:cTn id="7" dur="500"/>
                                        <p:tgtEl>
                                          <p:spTgt spid="1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2"/>
                                        </p:tgtEl>
                                        <p:attrNameLst>
                                          <p:attrName>style.visibility</p:attrName>
                                        </p:attrNameLst>
                                      </p:cBhvr>
                                      <p:to>
                                        <p:strVal val="visible"/>
                                      </p:to>
                                    </p:set>
                                    <p:animEffect transition="in" filter="fade">
                                      <p:cBhvr>
                                        <p:cTn id="10"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149806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730"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1" name="Rechteck 10"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400" smtClean="0">
              <a:solidFill>
                <a:schemeClr val="tx1"/>
              </a:solidFill>
              <a:latin typeface="Arial"/>
              <a:sym typeface="Arial"/>
            </a:endParaRPr>
          </a:p>
        </p:txBody>
      </p:sp>
      <p:sp>
        <p:nvSpPr>
          <p:cNvPr id="7" name="Textfeld 6"/>
          <p:cNvSpPr txBox="1"/>
          <p:nvPr/>
        </p:nvSpPr>
        <p:spPr>
          <a:xfrm>
            <a:off x="3240336" y="2907428"/>
            <a:ext cx="5508128" cy="1600851"/>
          </a:xfrm>
          <a:prstGeom prst="rect">
            <a:avLst/>
          </a:prstGeom>
          <a:solidFill>
            <a:schemeClr val="bg1">
              <a:lumMod val="95000"/>
            </a:schemeClr>
          </a:solidFill>
        </p:spPr>
        <p:txBody>
          <a:bodyPr wrap="square" lIns="72000" tIns="72000" rIns="72000" bIns="72000" rtlCol="0" anchor="b">
            <a:noAutofit/>
          </a:bodyPr>
          <a:lstStyle/>
          <a:p>
            <a:pPr>
              <a:spcBef>
                <a:spcPts val="300"/>
              </a:spcBef>
              <a:spcAft>
                <a:spcPts val="300"/>
              </a:spcAft>
              <a:buClr>
                <a:schemeClr val="bg2"/>
              </a:buClr>
            </a:pPr>
            <a:endParaRPr lang="en-US" sz="1200" b="1" dirty="0" err="1" smtClean="0"/>
          </a:p>
        </p:txBody>
      </p:sp>
      <p:grpSp>
        <p:nvGrpSpPr>
          <p:cNvPr id="18" name="Gruppieren 17"/>
          <p:cNvGrpSpPr/>
          <p:nvPr/>
        </p:nvGrpSpPr>
        <p:grpSpPr>
          <a:xfrm>
            <a:off x="395536" y="4680710"/>
            <a:ext cx="8362702" cy="1680822"/>
            <a:chOff x="395536" y="4680710"/>
            <a:chExt cx="8362702" cy="1680822"/>
          </a:xfrm>
        </p:grpSpPr>
        <p:sp>
          <p:nvSpPr>
            <p:cNvPr id="9" name="Textfeld 8"/>
            <p:cNvSpPr txBox="1"/>
            <p:nvPr/>
          </p:nvSpPr>
          <p:spPr>
            <a:xfrm>
              <a:off x="3239742" y="4680710"/>
              <a:ext cx="5518496" cy="1628015"/>
            </a:xfrm>
            <a:prstGeom prst="rect">
              <a:avLst/>
            </a:prstGeom>
            <a:solidFill>
              <a:schemeClr val="bg1">
                <a:lumMod val="95000"/>
              </a:schemeClr>
            </a:solidFill>
          </p:spPr>
          <p:txBody>
            <a:bodyPr wrap="square" lIns="72000" tIns="72000" rIns="72000" bIns="72000" rtlCol="0">
              <a:noAutofit/>
            </a:bodyPr>
            <a:lstStyle/>
            <a:p>
              <a:pPr>
                <a:spcBef>
                  <a:spcPts val="300"/>
                </a:spcBef>
                <a:spcAft>
                  <a:spcPts val="300"/>
                </a:spcAft>
                <a:buClr>
                  <a:schemeClr val="bg2"/>
                </a:buClr>
              </a:pPr>
              <a:endParaRPr lang="en-US" b="1" dirty="0" err="1" smtClean="0"/>
            </a:p>
          </p:txBody>
        </p:sp>
        <p:sp>
          <p:nvSpPr>
            <p:cNvPr id="45" name="Rechteck 44"/>
            <p:cNvSpPr/>
            <p:nvPr/>
          </p:nvSpPr>
          <p:spPr>
            <a:xfrm>
              <a:off x="395536" y="4680710"/>
              <a:ext cx="2844800" cy="16239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r>
                <a:rPr lang="de-CH" sz="3000" b="1" dirty="0" smtClean="0">
                  <a:solidFill>
                    <a:schemeClr val="bg1"/>
                  </a:solidFill>
                </a:rPr>
                <a:t>Optimised</a:t>
              </a:r>
              <a:r>
                <a:rPr lang="zh-CN" altLang="en-US" sz="3000" b="1" dirty="0" smtClean="0">
                  <a:solidFill>
                    <a:schemeClr val="bg1"/>
                  </a:solidFill>
                </a:rPr>
                <a:t>优化</a:t>
              </a:r>
              <a:endParaRPr lang="de-CH" sz="3000" b="1" dirty="0" smtClean="0">
                <a:solidFill>
                  <a:schemeClr val="bg1"/>
                </a:solidFill>
              </a:endParaRPr>
            </a:p>
            <a:p>
              <a:pPr algn="ctr">
                <a:spcBef>
                  <a:spcPts val="300"/>
                </a:spcBef>
                <a:spcAft>
                  <a:spcPts val="300"/>
                </a:spcAft>
              </a:pPr>
              <a:r>
                <a:rPr lang="de-CH" sz="2000" b="1" dirty="0" smtClean="0"/>
                <a:t>crater </a:t>
              </a:r>
              <a:r>
                <a:rPr lang="de-CH" sz="2000" b="1" dirty="0"/>
                <a:t>wear </a:t>
              </a:r>
              <a:r>
                <a:rPr lang="de-CH" sz="2000" b="1" dirty="0" smtClean="0"/>
                <a:t>resistance</a:t>
              </a:r>
              <a:r>
                <a:rPr lang="zh-CN" altLang="en-US" sz="2000" b="1" dirty="0" smtClean="0"/>
                <a:t>抗月牙哇磨损</a:t>
              </a:r>
              <a:endParaRPr lang="de-CH" sz="2000" b="1" dirty="0"/>
            </a:p>
            <a:p>
              <a:pPr algn="ctr">
                <a:spcBef>
                  <a:spcPts val="300"/>
                </a:spcBef>
                <a:spcAft>
                  <a:spcPts val="300"/>
                </a:spcAft>
              </a:pPr>
              <a:endParaRPr lang="en-US" sz="2400" b="1" dirty="0" smtClean="0">
                <a:solidFill>
                  <a:schemeClr val="bg1"/>
                </a:solidFill>
              </a:endParaRPr>
            </a:p>
          </p:txBody>
        </p:sp>
        <p:pic>
          <p:nvPicPr>
            <p:cNvPr id="50231" name="Picture 55"/>
            <p:cNvPicPr>
              <a:picLocks noChangeAspect="1" noChangeArrowheads="1"/>
            </p:cNvPicPr>
            <p:nvPr/>
          </p:nvPicPr>
          <p:blipFill rotWithShape="1">
            <a:blip r:embed="rId9" cstate="print">
              <a:clrChange>
                <a:clrFrom>
                  <a:srgbClr val="000000"/>
                </a:clrFrom>
                <a:clrTo>
                  <a:srgbClr val="000000">
                    <a:alpha val="0"/>
                  </a:srgbClr>
                </a:clrTo>
              </a:clrChange>
              <a:extLst>
                <a:ext uri="{28A0092B-C50C-407E-A947-70E740481C1C}">
                  <a14:useLocalDpi xmlns:a14="http://schemas.microsoft.com/office/drawing/2010/main" val="0"/>
                </a:ext>
              </a:extLst>
            </a:blip>
            <a:srcRect l="7551" t="5643" r="4328" b="25615"/>
            <a:stretch/>
          </p:blipFill>
          <p:spPr bwMode="auto">
            <a:xfrm>
              <a:off x="5328224" y="4875284"/>
              <a:ext cx="1260000" cy="7465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0177" name="Gruppieren 50176"/>
            <p:cNvGrpSpPr/>
            <p:nvPr/>
          </p:nvGrpSpPr>
          <p:grpSpPr>
            <a:xfrm>
              <a:off x="3491880" y="4680710"/>
              <a:ext cx="1528678" cy="1606858"/>
              <a:chOff x="3779838" y="4680710"/>
              <a:chExt cx="1528678" cy="1606858"/>
            </a:xfrm>
          </p:grpSpPr>
          <p:pic>
            <p:nvPicPr>
              <p:cNvPr id="50236" name="Picture 60"/>
              <p:cNvPicPr>
                <a:picLocks noChangeAspect="1" noChangeArrowheads="1"/>
              </p:cNvPicPr>
              <p:nvPr/>
            </p:nvPicPr>
            <p:blipFill rotWithShape="1">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l="36671" t="17415" r="4646" b="630"/>
              <a:stretch/>
            </p:blipFill>
            <p:spPr bwMode="auto">
              <a:xfrm>
                <a:off x="3779838" y="4680710"/>
                <a:ext cx="1528678" cy="16068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176" name="Ellipse 50175"/>
              <p:cNvSpPr/>
              <p:nvPr/>
            </p:nvSpPr>
            <p:spPr>
              <a:xfrm>
                <a:off x="4499992" y="5489114"/>
                <a:ext cx="144016" cy="144016"/>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smtClean="0">
                  <a:solidFill>
                    <a:schemeClr val="tx1"/>
                  </a:solidFill>
                </a:endParaRPr>
              </a:p>
            </p:txBody>
          </p:sp>
        </p:grpSp>
        <p:cxnSp>
          <p:nvCxnSpPr>
            <p:cNvPr id="50179" name="Gerade Verbindung 50178"/>
            <p:cNvCxnSpPr>
              <a:stCxn id="50176" idx="0"/>
            </p:cNvCxnSpPr>
            <p:nvPr/>
          </p:nvCxnSpPr>
          <p:spPr>
            <a:xfrm flipV="1">
              <a:off x="4284042" y="4875284"/>
              <a:ext cx="1296070" cy="61383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p:nvCxnSpPr>
          <p:spPr>
            <a:xfrm>
              <a:off x="4290646" y="5631214"/>
              <a:ext cx="926813" cy="25652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50182" name="Textfeld 50181"/>
            <p:cNvSpPr txBox="1"/>
            <p:nvPr/>
          </p:nvSpPr>
          <p:spPr>
            <a:xfrm>
              <a:off x="5149901" y="5667372"/>
              <a:ext cx="1582339" cy="360040"/>
            </a:xfrm>
            <a:prstGeom prst="rect">
              <a:avLst/>
            </a:prstGeom>
            <a:noFill/>
          </p:spPr>
          <p:txBody>
            <a:bodyPr wrap="square" lIns="0" tIns="0" rIns="0" bIns="0" rtlCol="0">
              <a:noAutofit/>
            </a:bodyPr>
            <a:lstStyle/>
            <a:p>
              <a:pPr algn="ctr">
                <a:spcBef>
                  <a:spcPts val="300"/>
                </a:spcBef>
                <a:spcAft>
                  <a:spcPts val="300"/>
                </a:spcAft>
                <a:buClr>
                  <a:schemeClr val="bg2"/>
                </a:buClr>
              </a:pPr>
              <a:r>
                <a:rPr lang="de-CH" sz="900" b="1" dirty="0" smtClean="0"/>
                <a:t>BALINIT</a:t>
              </a:r>
              <a:r>
                <a:rPr lang="de-CH" sz="900" b="1" baseline="30000" dirty="0" smtClean="0"/>
                <a:t>®</a:t>
              </a:r>
              <a:r>
                <a:rPr lang="de-CH" sz="900" b="1" dirty="0" smtClean="0"/>
                <a:t> ALCRONA PRO</a:t>
              </a:r>
              <a:endParaRPr lang="en-US" sz="900" b="1" dirty="0" err="1" smtClean="0"/>
            </a:p>
          </p:txBody>
        </p:sp>
        <p:pic>
          <p:nvPicPr>
            <p:cNvPr id="68" name="Picture 56"/>
            <p:cNvPicPr>
              <a:picLocks noChangeAspect="1" noChangeArrowheads="1"/>
            </p:cNvPicPr>
            <p:nvPr/>
          </p:nvPicPr>
          <p:blipFill rotWithShape="1">
            <a:blip r:embed="rId11" cstate="print">
              <a:clrChange>
                <a:clrFrom>
                  <a:srgbClr val="000000"/>
                </a:clrFrom>
                <a:clrTo>
                  <a:srgbClr val="000000">
                    <a:alpha val="0"/>
                  </a:srgbClr>
                </a:clrTo>
              </a:clrChange>
              <a:extLst>
                <a:ext uri="{28A0092B-C50C-407E-A947-70E740481C1C}">
                  <a14:useLocalDpi xmlns:a14="http://schemas.microsoft.com/office/drawing/2010/main" val="0"/>
                </a:ext>
              </a:extLst>
            </a:blip>
            <a:srcRect l="7966" t="4437" r="4225" b="29372"/>
            <a:stretch/>
          </p:blipFill>
          <p:spPr bwMode="auto">
            <a:xfrm>
              <a:off x="7236296" y="4803276"/>
              <a:ext cx="1260000" cy="8049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9" name="Textfeld 68"/>
            <p:cNvSpPr txBox="1"/>
            <p:nvPr/>
          </p:nvSpPr>
          <p:spPr>
            <a:xfrm>
              <a:off x="7287501" y="5667372"/>
              <a:ext cx="1259999" cy="360040"/>
            </a:xfrm>
            <a:prstGeom prst="rect">
              <a:avLst/>
            </a:prstGeom>
            <a:noFill/>
          </p:spPr>
          <p:txBody>
            <a:bodyPr wrap="square" lIns="0" tIns="0" rIns="0" bIns="0" rtlCol="0">
              <a:noAutofit/>
            </a:bodyPr>
            <a:lstStyle/>
            <a:p>
              <a:pPr>
                <a:spcBef>
                  <a:spcPts val="300"/>
                </a:spcBef>
                <a:spcAft>
                  <a:spcPts val="300"/>
                </a:spcAft>
                <a:buClr>
                  <a:schemeClr val="bg2"/>
                </a:buClr>
              </a:pPr>
              <a:r>
                <a:rPr lang="de-CH" sz="1000" b="1" dirty="0" smtClean="0"/>
                <a:t>BALINIT</a:t>
              </a:r>
              <a:r>
                <a:rPr lang="de-CH" sz="1000" b="1" baseline="30000" dirty="0" smtClean="0"/>
                <a:t>®</a:t>
              </a:r>
              <a:r>
                <a:rPr lang="de-CH" sz="1000" b="1" dirty="0" smtClean="0"/>
                <a:t> ALTENSA</a:t>
              </a:r>
              <a:endParaRPr lang="en-US" sz="1000" b="1" dirty="0" err="1" smtClean="0"/>
            </a:p>
          </p:txBody>
        </p:sp>
        <p:pic>
          <p:nvPicPr>
            <p:cNvPr id="50243" name="Picture 67"/>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12566" y="6021288"/>
              <a:ext cx="2520000" cy="2303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190" name="Textfeld 50189"/>
            <p:cNvSpPr txBox="1"/>
            <p:nvPr/>
          </p:nvSpPr>
          <p:spPr>
            <a:xfrm>
              <a:off x="5688264" y="6065178"/>
              <a:ext cx="467912" cy="115151"/>
            </a:xfrm>
            <a:prstGeom prst="rect">
              <a:avLst/>
            </a:prstGeom>
            <a:noFill/>
          </p:spPr>
          <p:txBody>
            <a:bodyPr wrap="square" lIns="0" tIns="0" rIns="0" bIns="0" rtlCol="0">
              <a:noAutofit/>
            </a:bodyPr>
            <a:lstStyle/>
            <a:p>
              <a:pPr>
                <a:spcBef>
                  <a:spcPts val="300"/>
                </a:spcBef>
                <a:spcAft>
                  <a:spcPts val="300"/>
                </a:spcAft>
                <a:buClr>
                  <a:schemeClr val="bg2"/>
                </a:buClr>
              </a:pPr>
              <a:r>
                <a:rPr lang="de-CH" sz="600" dirty="0" err="1" smtClean="0"/>
                <a:t>height</a:t>
              </a:r>
              <a:r>
                <a:rPr lang="de-CH" sz="600" dirty="0" smtClean="0"/>
                <a:t> (µm)</a:t>
              </a:r>
              <a:endParaRPr lang="en-US" sz="600" dirty="0" err="1" smtClean="0"/>
            </a:p>
          </p:txBody>
        </p:sp>
        <p:sp>
          <p:nvSpPr>
            <p:cNvPr id="73" name="Akkord 72"/>
            <p:cNvSpPr/>
            <p:nvPr/>
          </p:nvSpPr>
          <p:spPr>
            <a:xfrm rot="6725490">
              <a:off x="5132427" y="4801991"/>
              <a:ext cx="1558256" cy="1558256"/>
            </a:xfrm>
            <a:prstGeom prst="chord">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a:solidFill>
                  <a:schemeClr val="tx1"/>
                </a:solidFill>
              </a:endParaRPr>
            </a:p>
          </p:txBody>
        </p:sp>
        <p:sp>
          <p:nvSpPr>
            <p:cNvPr id="61" name="Akkord 60"/>
            <p:cNvSpPr/>
            <p:nvPr/>
          </p:nvSpPr>
          <p:spPr>
            <a:xfrm rot="6725490">
              <a:off x="7074847" y="4803276"/>
              <a:ext cx="1558256" cy="1558256"/>
            </a:xfrm>
            <a:prstGeom prst="chord">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a:solidFill>
                  <a:schemeClr val="tx1"/>
                </a:solidFill>
              </a:endParaRPr>
            </a:p>
          </p:txBody>
        </p:sp>
      </p:grpSp>
      <p:sp>
        <p:nvSpPr>
          <p:cNvPr id="2" name="Titel 1"/>
          <p:cNvSpPr>
            <a:spLocks noGrp="1"/>
          </p:cNvSpPr>
          <p:nvPr>
            <p:ph type="title"/>
          </p:nvPr>
        </p:nvSpPr>
        <p:spPr>
          <a:xfrm>
            <a:off x="395287" y="142877"/>
            <a:ext cx="7283167" cy="909635"/>
          </a:xfrm>
        </p:spPr>
        <p:txBody>
          <a:bodyPr/>
          <a:lstStyle/>
          <a:p>
            <a:r>
              <a:rPr lang="de-CH" dirty="0" smtClean="0"/>
              <a:t>High-end coating properties for high-speed gear</a:t>
            </a:r>
            <a:r>
              <a:rPr lang="de-CH" dirty="0"/>
              <a:t>-</a:t>
            </a:r>
            <a:r>
              <a:rPr lang="de-CH" dirty="0" smtClean="0"/>
              <a:t>cutting applications</a:t>
            </a:r>
            <a:r>
              <a:rPr lang="zh-CN" altLang="en-US" dirty="0" smtClean="0"/>
              <a:t>高端涂层应用在高速齿轮加工</a:t>
            </a:r>
            <a:endParaRPr lang="en-US" dirty="0"/>
          </a:p>
        </p:txBody>
      </p:sp>
      <p:sp>
        <p:nvSpPr>
          <p:cNvPr id="6" name="Textfeld 5"/>
          <p:cNvSpPr txBox="1"/>
          <p:nvPr/>
        </p:nvSpPr>
        <p:spPr>
          <a:xfrm>
            <a:off x="3240088" y="1052514"/>
            <a:ext cx="5508376" cy="1623944"/>
          </a:xfrm>
          <a:prstGeom prst="rect">
            <a:avLst/>
          </a:prstGeom>
          <a:solidFill>
            <a:schemeClr val="bg1">
              <a:lumMod val="95000"/>
            </a:schemeClr>
          </a:solidFill>
        </p:spPr>
        <p:txBody>
          <a:bodyPr wrap="square" lIns="72000" tIns="72000" rIns="72000" bIns="72000" rtlCol="0">
            <a:noAutofit/>
          </a:bodyPr>
          <a:lstStyle/>
          <a:p>
            <a:pPr>
              <a:spcBef>
                <a:spcPts val="300"/>
              </a:spcBef>
              <a:spcAft>
                <a:spcPts val="300"/>
              </a:spcAft>
              <a:buClr>
                <a:schemeClr val="bg2"/>
              </a:buClr>
            </a:pPr>
            <a:endParaRPr lang="en-US" b="1" dirty="0" err="1" smtClean="0"/>
          </a:p>
        </p:txBody>
      </p:sp>
      <p:graphicFrame>
        <p:nvGraphicFramePr>
          <p:cNvPr id="3" name="Objekt 2"/>
          <p:cNvGraphicFramePr>
            <a:graphicFrameLocks/>
          </p:cNvGraphicFramePr>
          <p:nvPr>
            <p:custDataLst>
              <p:tags r:id="rId4"/>
            </p:custDataLst>
            <p:extLst>
              <p:ext uri="{D42A27DB-BD31-4B8C-83A1-F6EECF244321}">
                <p14:modId xmlns:p14="http://schemas.microsoft.com/office/powerpoint/2010/main" val="1792317090"/>
              </p:ext>
            </p:extLst>
          </p:nvPr>
        </p:nvGraphicFramePr>
        <p:xfrm>
          <a:off x="3619500" y="1143000"/>
          <a:ext cx="3067068" cy="1533493"/>
        </p:xfrm>
        <a:graphic>
          <a:graphicData uri="http://schemas.openxmlformats.org/presentationml/2006/ole">
            <mc:AlternateContent xmlns:mc="http://schemas.openxmlformats.org/markup-compatibility/2006">
              <mc:Choice xmlns:v="urn:schemas-microsoft-com:vml" Requires="v">
                <p:oleObj spid="_x0000_s198731" name="Chart" r:id="rId13" imgW="3067151" imgH="1533457" progId="MSGraph.Chart.8">
                  <p:embed followColorScheme="full"/>
                </p:oleObj>
              </mc:Choice>
              <mc:Fallback>
                <p:oleObj name="Chart" r:id="rId13" imgW="3067151" imgH="1533457" progId="MSGraph.Chart.8">
                  <p:embed followColorScheme="full"/>
                  <p:pic>
                    <p:nvPicPr>
                      <p:cNvPr id="0" name=""/>
                      <p:cNvPicPr/>
                      <p:nvPr/>
                    </p:nvPicPr>
                    <p:blipFill>
                      <a:blip r:embed="rId14"/>
                      <a:stretch>
                        <a:fillRect/>
                      </a:stretch>
                    </p:blipFill>
                    <p:spPr>
                      <a:xfrm>
                        <a:off x="3619500" y="1143000"/>
                        <a:ext cx="3067068" cy="1533493"/>
                      </a:xfrm>
                      <a:prstGeom prst="rect">
                        <a:avLst/>
                      </a:prstGeom>
                    </p:spPr>
                  </p:pic>
                </p:oleObj>
              </mc:Fallback>
            </mc:AlternateContent>
          </a:graphicData>
        </a:graphic>
      </p:graphicFrame>
      <p:sp>
        <p:nvSpPr>
          <p:cNvPr id="14" name="Textfeld 13"/>
          <p:cNvSpPr txBox="1"/>
          <p:nvPr/>
        </p:nvSpPr>
        <p:spPr>
          <a:xfrm>
            <a:off x="3779838" y="1439863"/>
            <a:ext cx="2736304" cy="288032"/>
          </a:xfrm>
          <a:prstGeom prst="rect">
            <a:avLst/>
          </a:prstGeom>
          <a:noFill/>
        </p:spPr>
        <p:txBody>
          <a:bodyPr wrap="square" lIns="0" tIns="0" rIns="0" bIns="0" rtlCol="0" anchor="ctr">
            <a:noAutofit/>
          </a:bodyPr>
          <a:lstStyle/>
          <a:p>
            <a:pPr>
              <a:spcBef>
                <a:spcPts val="300"/>
              </a:spcBef>
              <a:spcAft>
                <a:spcPts val="300"/>
              </a:spcAft>
              <a:buClr>
                <a:schemeClr val="bg2"/>
              </a:buClr>
            </a:pPr>
            <a:r>
              <a:rPr lang="de-CH" sz="1400" dirty="0" smtClean="0"/>
              <a:t>BALINIT</a:t>
            </a:r>
            <a:r>
              <a:rPr lang="de-CH" sz="1400" baseline="30000" dirty="0" smtClean="0"/>
              <a:t>®</a:t>
            </a:r>
            <a:r>
              <a:rPr lang="de-CH" sz="1400" dirty="0" smtClean="0"/>
              <a:t> ALCRONA PRO</a:t>
            </a:r>
            <a:endParaRPr lang="en-US" sz="1400" dirty="0" err="1" smtClean="0"/>
          </a:p>
        </p:txBody>
      </p:sp>
      <p:sp>
        <p:nvSpPr>
          <p:cNvPr id="43" name="Textfeld 42"/>
          <p:cNvSpPr txBox="1"/>
          <p:nvPr/>
        </p:nvSpPr>
        <p:spPr>
          <a:xfrm>
            <a:off x="3779838" y="2089150"/>
            <a:ext cx="2736304" cy="288032"/>
          </a:xfrm>
          <a:prstGeom prst="rect">
            <a:avLst/>
          </a:prstGeom>
          <a:noFill/>
        </p:spPr>
        <p:txBody>
          <a:bodyPr wrap="square" lIns="0" tIns="0" rIns="0" bIns="0" rtlCol="0" anchor="ctr">
            <a:noAutofit/>
          </a:bodyPr>
          <a:lstStyle/>
          <a:p>
            <a:pPr>
              <a:spcBef>
                <a:spcPts val="300"/>
              </a:spcBef>
              <a:spcAft>
                <a:spcPts val="300"/>
              </a:spcAft>
              <a:buClr>
                <a:schemeClr val="bg2"/>
              </a:buClr>
            </a:pPr>
            <a:r>
              <a:rPr lang="de-CH" sz="1400" b="1" dirty="0" smtClean="0">
                <a:solidFill>
                  <a:schemeClr val="bg1"/>
                </a:solidFill>
              </a:rPr>
              <a:t>BALINIT</a:t>
            </a:r>
            <a:r>
              <a:rPr lang="de-CH" sz="1400" b="1" baseline="30000" dirty="0" smtClean="0">
                <a:solidFill>
                  <a:schemeClr val="bg1"/>
                </a:solidFill>
              </a:rPr>
              <a:t>®</a:t>
            </a:r>
            <a:r>
              <a:rPr lang="de-CH" sz="1400" b="1" dirty="0" smtClean="0">
                <a:solidFill>
                  <a:schemeClr val="bg1"/>
                </a:solidFill>
              </a:rPr>
              <a:t> ALTENSA</a:t>
            </a:r>
            <a:endParaRPr lang="en-US" sz="1400" b="1" dirty="0" err="1" smtClean="0">
              <a:solidFill>
                <a:schemeClr val="bg1"/>
              </a:solidFill>
            </a:endParaRPr>
          </a:p>
        </p:txBody>
      </p:sp>
      <p:sp>
        <p:nvSpPr>
          <p:cNvPr id="15" name="Textfeld 14"/>
          <p:cNvSpPr txBox="1"/>
          <p:nvPr/>
        </p:nvSpPr>
        <p:spPr>
          <a:xfrm>
            <a:off x="3492500" y="1368425"/>
            <a:ext cx="216024" cy="1080120"/>
          </a:xfrm>
          <a:prstGeom prst="rect">
            <a:avLst/>
          </a:prstGeom>
          <a:noFill/>
        </p:spPr>
        <p:txBody>
          <a:bodyPr vert="vert270" wrap="square" lIns="0" tIns="0" rIns="0" bIns="0" rtlCol="0" anchor="t">
            <a:noAutofit/>
          </a:bodyPr>
          <a:lstStyle/>
          <a:p>
            <a:pPr algn="ctr">
              <a:spcBef>
                <a:spcPts val="300"/>
              </a:spcBef>
              <a:spcAft>
                <a:spcPts val="300"/>
              </a:spcAft>
              <a:buClr>
                <a:schemeClr val="bg2"/>
              </a:buClr>
            </a:pPr>
            <a:r>
              <a:rPr lang="de-CH" sz="1200" dirty="0"/>
              <a:t>a</a:t>
            </a:r>
            <a:r>
              <a:rPr lang="de-CH" sz="1200" dirty="0" smtClean="0"/>
              <a:t>t 700°C</a:t>
            </a:r>
            <a:endParaRPr lang="en-US" sz="1200" dirty="0" err="1" smtClean="0"/>
          </a:p>
        </p:txBody>
      </p:sp>
      <p:sp>
        <p:nvSpPr>
          <p:cNvPr id="16" name="Rechteck 15"/>
          <p:cNvSpPr/>
          <p:nvPr/>
        </p:nvSpPr>
        <p:spPr>
          <a:xfrm>
            <a:off x="395288" y="1052514"/>
            <a:ext cx="2844800" cy="16239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CH" b="1" dirty="0">
              <a:solidFill>
                <a:schemeClr val="tx1"/>
              </a:solidFill>
            </a:endParaRPr>
          </a:p>
          <a:p>
            <a:pPr algn="ctr">
              <a:spcBef>
                <a:spcPts val="300"/>
              </a:spcBef>
              <a:spcAft>
                <a:spcPts val="300"/>
              </a:spcAft>
            </a:pPr>
            <a:r>
              <a:rPr lang="de-CH" sz="4000" b="1" dirty="0" smtClean="0">
                <a:solidFill>
                  <a:schemeClr val="bg1"/>
                </a:solidFill>
              </a:rPr>
              <a:t>+ 22 %</a:t>
            </a:r>
          </a:p>
          <a:p>
            <a:pPr algn="ctr">
              <a:spcBef>
                <a:spcPts val="300"/>
              </a:spcBef>
              <a:spcAft>
                <a:spcPts val="300"/>
              </a:spcAft>
            </a:pPr>
            <a:r>
              <a:rPr lang="en-US" sz="2000" b="1" dirty="0" smtClean="0">
                <a:solidFill>
                  <a:schemeClr val="bg1"/>
                </a:solidFill>
              </a:rPr>
              <a:t>hot hardness</a:t>
            </a:r>
            <a:r>
              <a:rPr lang="zh-CN" altLang="en-US" sz="2000" b="1" dirty="0" smtClean="0">
                <a:solidFill>
                  <a:schemeClr val="bg1"/>
                </a:solidFill>
              </a:rPr>
              <a:t>热硬性</a:t>
            </a:r>
            <a:endParaRPr lang="en-US" sz="2000" b="1" dirty="0">
              <a:solidFill>
                <a:schemeClr val="bg1"/>
              </a:solidFill>
            </a:endParaRPr>
          </a:p>
          <a:p>
            <a:pPr algn="ctr">
              <a:spcBef>
                <a:spcPts val="300"/>
              </a:spcBef>
              <a:spcAft>
                <a:spcPts val="300"/>
              </a:spcAft>
            </a:pPr>
            <a:endParaRPr lang="en-US" sz="4000" b="1" dirty="0" smtClean="0">
              <a:solidFill>
                <a:schemeClr val="bg1"/>
              </a:solidFill>
            </a:endParaRPr>
          </a:p>
        </p:txBody>
      </p:sp>
      <p:sp>
        <p:nvSpPr>
          <p:cNvPr id="44" name="Rechteck 43"/>
          <p:cNvSpPr/>
          <p:nvPr/>
        </p:nvSpPr>
        <p:spPr>
          <a:xfrm>
            <a:off x="394941" y="2904366"/>
            <a:ext cx="2844800" cy="16239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r>
              <a:rPr lang="de-CH" sz="4000" b="1" dirty="0" smtClean="0">
                <a:solidFill>
                  <a:schemeClr val="bg1"/>
                </a:solidFill>
              </a:rPr>
              <a:t>+ 35 %</a:t>
            </a:r>
          </a:p>
          <a:p>
            <a:pPr algn="ctr">
              <a:spcBef>
                <a:spcPts val="300"/>
              </a:spcBef>
              <a:spcAft>
                <a:spcPts val="300"/>
              </a:spcAft>
            </a:pPr>
            <a:r>
              <a:rPr lang="de-CH" sz="2000" b="1" dirty="0"/>
              <a:t>abrasive wear </a:t>
            </a:r>
            <a:r>
              <a:rPr lang="de-CH" sz="2000" b="1" dirty="0" smtClean="0"/>
              <a:t>resistance</a:t>
            </a:r>
            <a:r>
              <a:rPr lang="zh-CN" altLang="en-US" sz="2000" b="1" dirty="0" smtClean="0"/>
              <a:t>抗磨损</a:t>
            </a:r>
            <a:endParaRPr lang="de-CH" sz="2000" b="1" dirty="0"/>
          </a:p>
          <a:p>
            <a:pPr algn="ctr">
              <a:spcBef>
                <a:spcPts val="300"/>
              </a:spcBef>
              <a:spcAft>
                <a:spcPts val="300"/>
              </a:spcAft>
            </a:pPr>
            <a:endParaRPr lang="en-US" sz="2400" b="1" dirty="0" smtClean="0">
              <a:solidFill>
                <a:schemeClr val="bg1"/>
              </a:solidFill>
            </a:endParaRPr>
          </a:p>
        </p:txBody>
      </p:sp>
      <p:pic>
        <p:nvPicPr>
          <p:cNvPr id="50282" name="Picture 106"/>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926503" y="3035296"/>
            <a:ext cx="1751021" cy="13209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37" name="Objekt 36"/>
          <p:cNvGraphicFramePr>
            <a:graphicFrameLocks/>
          </p:cNvGraphicFramePr>
          <p:nvPr>
            <p:custDataLst>
              <p:tags r:id="rId5"/>
            </p:custDataLst>
            <p:extLst>
              <p:ext uri="{D42A27DB-BD31-4B8C-83A1-F6EECF244321}">
                <p14:modId xmlns:p14="http://schemas.microsoft.com/office/powerpoint/2010/main" val="3120965824"/>
              </p:ext>
            </p:extLst>
          </p:nvPr>
        </p:nvGraphicFramePr>
        <p:xfrm>
          <a:off x="3657600" y="2933700"/>
          <a:ext cx="3076575" cy="1533525"/>
        </p:xfrm>
        <a:graphic>
          <a:graphicData uri="http://schemas.openxmlformats.org/presentationml/2006/ole">
            <mc:AlternateContent xmlns:mc="http://schemas.openxmlformats.org/markup-compatibility/2006">
              <mc:Choice xmlns:v="urn:schemas-microsoft-com:vml" Requires="v">
                <p:oleObj spid="_x0000_s198732" name="Chart" r:id="rId16" imgW="3076592" imgH="1533457" progId="MSGraph.Chart.8">
                  <p:embed followColorScheme="full"/>
                </p:oleObj>
              </mc:Choice>
              <mc:Fallback>
                <p:oleObj name="Chart" r:id="rId16" imgW="3076592" imgH="1533457" progId="MSGraph.Chart.8">
                  <p:embed followColorScheme="full"/>
                  <p:pic>
                    <p:nvPicPr>
                      <p:cNvPr id="0" name=""/>
                      <p:cNvPicPr/>
                      <p:nvPr/>
                    </p:nvPicPr>
                    <p:blipFill>
                      <a:blip r:embed="rId17"/>
                      <a:stretch>
                        <a:fillRect/>
                      </a:stretch>
                    </p:blipFill>
                    <p:spPr>
                      <a:xfrm>
                        <a:off x="3657600" y="2933700"/>
                        <a:ext cx="3076575" cy="1533525"/>
                      </a:xfrm>
                      <a:prstGeom prst="rect">
                        <a:avLst/>
                      </a:prstGeom>
                    </p:spPr>
                  </p:pic>
                </p:oleObj>
              </mc:Fallback>
            </mc:AlternateContent>
          </a:graphicData>
        </a:graphic>
      </p:graphicFrame>
      <p:sp>
        <p:nvSpPr>
          <p:cNvPr id="38" name="Textfeld 37"/>
          <p:cNvSpPr txBox="1"/>
          <p:nvPr/>
        </p:nvSpPr>
        <p:spPr>
          <a:xfrm>
            <a:off x="3800475" y="3240272"/>
            <a:ext cx="2736304" cy="288032"/>
          </a:xfrm>
          <a:prstGeom prst="rect">
            <a:avLst/>
          </a:prstGeom>
          <a:noFill/>
        </p:spPr>
        <p:txBody>
          <a:bodyPr wrap="square" lIns="0" tIns="0" rIns="0" bIns="0" rtlCol="0" anchor="ctr">
            <a:noAutofit/>
          </a:bodyPr>
          <a:lstStyle/>
          <a:p>
            <a:pPr>
              <a:spcBef>
                <a:spcPts val="300"/>
              </a:spcBef>
              <a:spcAft>
                <a:spcPts val="300"/>
              </a:spcAft>
              <a:buClr>
                <a:schemeClr val="bg2"/>
              </a:buClr>
            </a:pPr>
            <a:r>
              <a:rPr lang="de-CH" sz="1400" dirty="0" smtClean="0"/>
              <a:t>BALINIT</a:t>
            </a:r>
            <a:r>
              <a:rPr lang="de-CH" sz="1400" baseline="30000" dirty="0" smtClean="0"/>
              <a:t>®</a:t>
            </a:r>
            <a:r>
              <a:rPr lang="de-CH" sz="1400" dirty="0" smtClean="0"/>
              <a:t> ALCRONA PRO</a:t>
            </a:r>
            <a:endParaRPr lang="en-US" sz="1400" dirty="0" err="1" smtClean="0"/>
          </a:p>
        </p:txBody>
      </p:sp>
      <p:sp>
        <p:nvSpPr>
          <p:cNvPr id="39" name="Textfeld 38"/>
          <p:cNvSpPr txBox="1"/>
          <p:nvPr/>
        </p:nvSpPr>
        <p:spPr>
          <a:xfrm>
            <a:off x="3814763" y="3888344"/>
            <a:ext cx="2736304" cy="288032"/>
          </a:xfrm>
          <a:prstGeom prst="rect">
            <a:avLst/>
          </a:prstGeom>
          <a:noFill/>
        </p:spPr>
        <p:txBody>
          <a:bodyPr wrap="square" lIns="0" tIns="0" rIns="0" bIns="0" rtlCol="0" anchor="ctr">
            <a:noAutofit/>
          </a:bodyPr>
          <a:lstStyle/>
          <a:p>
            <a:pPr>
              <a:spcBef>
                <a:spcPts val="300"/>
              </a:spcBef>
              <a:spcAft>
                <a:spcPts val="300"/>
              </a:spcAft>
              <a:buClr>
                <a:schemeClr val="bg2"/>
              </a:buClr>
            </a:pPr>
            <a:r>
              <a:rPr lang="de-CH" sz="1400" b="1" dirty="0" smtClean="0">
                <a:solidFill>
                  <a:schemeClr val="bg1"/>
                </a:solidFill>
              </a:rPr>
              <a:t>BALINIT</a:t>
            </a:r>
            <a:r>
              <a:rPr lang="de-CH" sz="1400" b="1" baseline="30000" dirty="0" smtClean="0">
                <a:solidFill>
                  <a:schemeClr val="bg1"/>
                </a:solidFill>
              </a:rPr>
              <a:t>®</a:t>
            </a:r>
            <a:r>
              <a:rPr lang="de-CH" sz="1400" b="1" dirty="0" smtClean="0">
                <a:solidFill>
                  <a:schemeClr val="bg1"/>
                </a:solidFill>
              </a:rPr>
              <a:t> ALTENSA</a:t>
            </a:r>
            <a:endParaRPr lang="en-US" sz="1400" b="1" dirty="0" err="1" smtClean="0">
              <a:solidFill>
                <a:schemeClr val="bg1"/>
              </a:solidFill>
            </a:endParaRPr>
          </a:p>
        </p:txBody>
      </p:sp>
      <p:sp>
        <p:nvSpPr>
          <p:cNvPr id="40" name="Textfeld 39"/>
          <p:cNvSpPr txBox="1"/>
          <p:nvPr/>
        </p:nvSpPr>
        <p:spPr>
          <a:xfrm>
            <a:off x="3563814" y="3210623"/>
            <a:ext cx="216024" cy="1080120"/>
          </a:xfrm>
          <a:prstGeom prst="rect">
            <a:avLst/>
          </a:prstGeom>
          <a:noFill/>
        </p:spPr>
        <p:txBody>
          <a:bodyPr vert="vert270" wrap="square" lIns="0" tIns="0" rIns="0" bIns="0" rtlCol="0" anchor="t">
            <a:noAutofit/>
          </a:bodyPr>
          <a:lstStyle/>
          <a:p>
            <a:pPr algn="ctr">
              <a:spcBef>
                <a:spcPts val="300"/>
              </a:spcBef>
              <a:spcAft>
                <a:spcPts val="300"/>
              </a:spcAft>
              <a:buClr>
                <a:schemeClr val="bg2"/>
              </a:buClr>
            </a:pPr>
            <a:r>
              <a:rPr lang="de-CH" sz="1200" dirty="0"/>
              <a:t>a</a:t>
            </a:r>
            <a:r>
              <a:rPr lang="de-CH" sz="1200" dirty="0" smtClean="0"/>
              <a:t>t 25°C</a:t>
            </a:r>
            <a:endParaRPr lang="en-US" sz="1200" dirty="0" err="1" smtClean="0"/>
          </a:p>
        </p:txBody>
      </p:sp>
      <p:pic>
        <p:nvPicPr>
          <p:cNvPr id="41" name="Picture 12"/>
          <p:cNvPicPr>
            <a:picLocks noChangeAspect="1" noChangeArrowheads="1"/>
          </p:cNvPicPr>
          <p:nvPr/>
        </p:nvPicPr>
        <p:blipFill>
          <a:blip r:embed="rId1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16180" y="1293787"/>
            <a:ext cx="1708473" cy="13826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8" name="Objekt 7"/>
          <p:cNvGraphicFramePr>
            <a:graphicFrameLocks noChangeAspect="1"/>
          </p:cNvGraphicFramePr>
          <p:nvPr>
            <p:extLst>
              <p:ext uri="{D42A27DB-BD31-4B8C-83A1-F6EECF244321}">
                <p14:modId xmlns:p14="http://schemas.microsoft.com/office/powerpoint/2010/main" val="4125422999"/>
              </p:ext>
            </p:extLst>
          </p:nvPr>
        </p:nvGraphicFramePr>
        <p:xfrm>
          <a:off x="6588224" y="991218"/>
          <a:ext cx="2222659" cy="1742417"/>
        </p:xfrm>
        <a:graphic>
          <a:graphicData uri="http://schemas.openxmlformats.org/presentationml/2006/ole">
            <mc:AlternateContent xmlns:mc="http://schemas.openxmlformats.org/markup-compatibility/2006">
              <mc:Choice xmlns:v="urn:schemas-microsoft-com:vml" Requires="v">
                <p:oleObj spid="_x0000_s198733" name="Graph" r:id="rId19" imgW="3876480" imgH="3038400" progId="Origin50.Graph">
                  <p:embed/>
                </p:oleObj>
              </mc:Choice>
              <mc:Fallback>
                <p:oleObj name="Graph" r:id="rId19" imgW="3876480" imgH="3038400" progId="Origin50.Graph">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588224" y="991218"/>
                        <a:ext cx="2222659" cy="1742417"/>
                      </a:xfrm>
                      <a:prstGeom prst="rect">
                        <a:avLst/>
                      </a:prstGeom>
                      <a:noFill/>
                      <a:ln>
                        <a:noFill/>
                      </a:ln>
                    </p:spPr>
                  </p:pic>
                </p:oleObj>
              </mc:Fallback>
            </mc:AlternateContent>
          </a:graphicData>
        </a:graphic>
      </p:graphicFrame>
      <p:grpSp>
        <p:nvGrpSpPr>
          <p:cNvPr id="42" name="Group 21"/>
          <p:cNvGrpSpPr>
            <a:grpSpLocks noChangeAspect="1"/>
          </p:cNvGrpSpPr>
          <p:nvPr/>
        </p:nvGrpSpPr>
        <p:grpSpPr bwMode="auto">
          <a:xfrm>
            <a:off x="9744267" y="2802154"/>
            <a:ext cx="1452298" cy="1452300"/>
            <a:chOff x="634" y="1201"/>
            <a:chExt cx="2369" cy="2368"/>
          </a:xfrm>
        </p:grpSpPr>
        <p:pic>
          <p:nvPicPr>
            <p:cNvPr id="46" name="Picture 5" descr="Eindruck_cut"/>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34" y="1201"/>
              <a:ext cx="2369" cy="2368"/>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oup 8"/>
            <p:cNvGrpSpPr>
              <a:grpSpLocks/>
            </p:cNvGrpSpPr>
            <p:nvPr/>
          </p:nvGrpSpPr>
          <p:grpSpPr bwMode="auto">
            <a:xfrm>
              <a:off x="2330" y="3241"/>
              <a:ext cx="320" cy="267"/>
              <a:chOff x="2455" y="3698"/>
              <a:chExt cx="320" cy="267"/>
            </a:xfrm>
          </p:grpSpPr>
          <p:sp>
            <p:nvSpPr>
              <p:cNvPr id="48" name="Text Box 9"/>
              <p:cNvSpPr txBox="1">
                <a:spLocks noChangeArrowheads="1"/>
              </p:cNvSpPr>
              <p:nvPr/>
            </p:nvSpPr>
            <p:spPr bwMode="auto">
              <a:xfrm>
                <a:off x="2455" y="3698"/>
                <a:ext cx="320" cy="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0" hangingPunct="0"/>
                <a:r>
                  <a:rPr lang="de-DE" sz="800" dirty="0">
                    <a:solidFill>
                      <a:schemeClr val="bg1"/>
                    </a:solidFill>
                  </a:rPr>
                  <a:t>1 µm</a:t>
                </a:r>
              </a:p>
            </p:txBody>
          </p:sp>
          <p:grpSp>
            <p:nvGrpSpPr>
              <p:cNvPr id="49" name="Group 10"/>
              <p:cNvGrpSpPr>
                <a:grpSpLocks/>
              </p:cNvGrpSpPr>
              <p:nvPr/>
            </p:nvGrpSpPr>
            <p:grpSpPr bwMode="auto">
              <a:xfrm>
                <a:off x="2473" y="3869"/>
                <a:ext cx="302" cy="96"/>
                <a:chOff x="2448" y="1504"/>
                <a:chExt cx="384" cy="96"/>
              </a:xfrm>
            </p:grpSpPr>
            <p:sp>
              <p:nvSpPr>
                <p:cNvPr id="50" name="Line 11"/>
                <p:cNvSpPr>
                  <a:spLocks noChangeShapeType="1"/>
                </p:cNvSpPr>
                <p:nvPr/>
              </p:nvSpPr>
              <p:spPr bwMode="auto">
                <a:xfrm>
                  <a:off x="2448" y="1552"/>
                  <a:ext cx="384" cy="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CH"/>
                </a:p>
              </p:txBody>
            </p:sp>
            <p:sp>
              <p:nvSpPr>
                <p:cNvPr id="51" name="Line 12"/>
                <p:cNvSpPr>
                  <a:spLocks noChangeShapeType="1"/>
                </p:cNvSpPr>
                <p:nvPr/>
              </p:nvSpPr>
              <p:spPr bwMode="auto">
                <a:xfrm>
                  <a:off x="2448" y="1504"/>
                  <a:ext cx="0" cy="96"/>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CH"/>
                </a:p>
              </p:txBody>
            </p:sp>
            <p:sp>
              <p:nvSpPr>
                <p:cNvPr id="52" name="Line 13"/>
                <p:cNvSpPr>
                  <a:spLocks noChangeShapeType="1"/>
                </p:cNvSpPr>
                <p:nvPr/>
              </p:nvSpPr>
              <p:spPr bwMode="auto">
                <a:xfrm>
                  <a:off x="2832" y="1504"/>
                  <a:ext cx="0" cy="96"/>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CH"/>
                </a:p>
              </p:txBody>
            </p:sp>
          </p:grpSp>
        </p:grpSp>
      </p:grpSp>
    </p:spTree>
    <p:extLst>
      <p:ext uri="{BB962C8B-B14F-4D97-AF65-F5344CB8AC3E}">
        <p14:creationId xmlns:p14="http://schemas.microsoft.com/office/powerpoint/2010/main" val="301526117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0785212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CH" dirty="0" smtClean="0"/>
              <a:t>BALINIT ALTENSA – Benefits at a glance</a:t>
            </a:r>
            <a:br>
              <a:rPr lang="de-CH" dirty="0" smtClean="0"/>
            </a:br>
            <a:r>
              <a:rPr lang="de-CH" altLang="zh-CN" dirty="0"/>
              <a:t>BALINIT </a:t>
            </a:r>
            <a:r>
              <a:rPr lang="de-CH" altLang="zh-CN" dirty="0" smtClean="0"/>
              <a:t>ALTENSA</a:t>
            </a:r>
            <a:r>
              <a:rPr lang="en-US" altLang="zh-CN" dirty="0" smtClean="0"/>
              <a:t>—</a:t>
            </a:r>
            <a:r>
              <a:rPr lang="zh-CN" altLang="en-US" dirty="0" smtClean="0"/>
              <a:t>优势一瞥</a:t>
            </a:r>
            <a:endParaRPr lang="en-US" dirty="0"/>
          </a:p>
        </p:txBody>
      </p:sp>
      <p:graphicFrame>
        <p:nvGraphicFramePr>
          <p:cNvPr id="6" name="Tabelle 5"/>
          <p:cNvGraphicFramePr>
            <a:graphicFrameLocks noGrp="1"/>
          </p:cNvGraphicFramePr>
          <p:nvPr>
            <p:extLst>
              <p:ext uri="{D42A27DB-BD31-4B8C-83A1-F6EECF244321}">
                <p14:modId xmlns:p14="http://schemas.microsoft.com/office/powerpoint/2010/main" val="1837130054"/>
              </p:ext>
            </p:extLst>
          </p:nvPr>
        </p:nvGraphicFramePr>
        <p:xfrm>
          <a:off x="395286" y="1052512"/>
          <a:ext cx="8353425" cy="5694618"/>
        </p:xfrm>
        <a:graphic>
          <a:graphicData uri="http://schemas.openxmlformats.org/drawingml/2006/table">
            <a:tbl>
              <a:tblPr bandRow="1">
                <a:effectLst>
                  <a:outerShdw blurRad="50800" dist="38100" dir="2700000" algn="tl" rotWithShape="0">
                    <a:prstClr val="black">
                      <a:alpha val="40000"/>
                    </a:prstClr>
                  </a:outerShdw>
                </a:effectLst>
                <a:tableStyleId>{5C22544A-7EE6-4342-B048-85BDC9FD1C3A}</a:tableStyleId>
              </a:tblPr>
              <a:tblGrid>
                <a:gridCol w="3816674"/>
                <a:gridCol w="648072"/>
                <a:gridCol w="3888679"/>
              </a:tblGrid>
              <a:tr h="922846">
                <a:tc>
                  <a:txBody>
                    <a:bodyPr/>
                    <a:lstStyle/>
                    <a:p>
                      <a:r>
                        <a:rPr lang="de-CH" b="0" dirty="0" smtClean="0"/>
                        <a:t>Improved hot hardness</a:t>
                      </a:r>
                      <a:r>
                        <a:rPr lang="zh-CN" altLang="en-US" b="0" dirty="0" smtClean="0"/>
                        <a:t>改善热硬性</a:t>
                      </a:r>
                      <a:endParaRPr lang="en-US" b="0" dirty="0"/>
                    </a:p>
                  </a:txBody>
                  <a:tcPr anchor="ctr">
                    <a:lnL w="317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r>
                        <a:rPr lang="de-CH" sz="4000" b="0" dirty="0" smtClean="0">
                          <a:solidFill>
                            <a:schemeClr val="bg2"/>
                          </a:solidFill>
                        </a:rPr>
                        <a:t>&gt;</a:t>
                      </a:r>
                      <a:endParaRPr lang="en-US" sz="4000" b="0" dirty="0">
                        <a:solidFill>
                          <a:schemeClr val="bg2"/>
                        </a:solidFill>
                      </a:endParaRPr>
                    </a:p>
                  </a:txBody>
                  <a:tcPr anchor="ctr">
                    <a:lnT w="3175"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de-CH" dirty="0" smtClean="0"/>
                        <a:t>Reduced wear at high cutting speed</a:t>
                      </a:r>
                    </a:p>
                    <a:p>
                      <a:r>
                        <a:rPr lang="zh-CN" altLang="en-US" dirty="0" smtClean="0"/>
                        <a:t>高速加工时减少磨损</a:t>
                      </a:r>
                      <a:endParaRPr lang="en-US" dirty="0"/>
                    </a:p>
                  </a:txBody>
                  <a:tcPr anchor="ctr">
                    <a:lnR w="317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r>
              <a:tr h="9228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800" b="0" dirty="0" smtClean="0"/>
                        <a:t>Increased abrasive wear resistance</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b="0" dirty="0" smtClean="0"/>
                        <a:t>提高耐磨损能力</a:t>
                      </a:r>
                      <a:endParaRPr lang="de-CH" sz="1800" b="0" dirty="0" smtClean="0"/>
                    </a:p>
                  </a:txBody>
                  <a:tcPr anchor="ctr">
                    <a:lnL w="3175" cap="flat" cmpd="sng" algn="ctr">
                      <a:solidFill>
                        <a:schemeClr val="bg1">
                          <a:lumMod val="75000"/>
                        </a:schemeClr>
                      </a:solidFill>
                      <a:prstDash val="solid"/>
                      <a:round/>
                      <a:headEnd type="none" w="med" len="med"/>
                      <a:tailEnd type="none" w="med" len="med"/>
                    </a:lnL>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4000" b="0" dirty="0" smtClean="0">
                          <a:solidFill>
                            <a:schemeClr val="bg2"/>
                          </a:solidFill>
                        </a:rPr>
                        <a:t>&gt;</a:t>
                      </a:r>
                      <a:endParaRPr lang="en-US" sz="4000" b="0" dirty="0" smtClean="0">
                        <a:solidFill>
                          <a:schemeClr val="bg2"/>
                        </a:solidFill>
                      </a:endParaRP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dirty="0" smtClean="0"/>
                        <a:t>Reduced flank wear at moderate and high cutting speed</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在中速和高速加工下减少后刀面磨损</a:t>
                      </a:r>
                      <a:endParaRPr lang="en-US" dirty="0"/>
                    </a:p>
                  </a:txBody>
                  <a:tcPr anchor="ctr">
                    <a:lnR w="317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r>
              <a:tr h="9228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800" b="0" dirty="0" smtClean="0"/>
                        <a:t>Lower thermal conductivity</a:t>
                      </a:r>
                    </a:p>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800" b="0" dirty="0" smtClean="0"/>
                        <a:t>低的热传导率</a:t>
                      </a:r>
                      <a:endParaRPr lang="en-US" sz="1800" b="0" dirty="0" smtClean="0"/>
                    </a:p>
                  </a:txBody>
                  <a:tcPr anchor="ctr">
                    <a:lnL w="3175" cap="flat" cmpd="sng" algn="ctr">
                      <a:solidFill>
                        <a:schemeClr val="bg1">
                          <a:lumMod val="75000"/>
                        </a:schemeClr>
                      </a:solidFill>
                      <a:prstDash val="solid"/>
                      <a:round/>
                      <a:headEnd type="none" w="med" len="med"/>
                      <a:tailEnd type="none" w="med" len="med"/>
                    </a:lnL>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4000" b="0" dirty="0" smtClean="0">
                          <a:solidFill>
                            <a:schemeClr val="bg2"/>
                          </a:solidFill>
                        </a:rPr>
                        <a:t>&gt;</a:t>
                      </a:r>
                      <a:endParaRPr lang="en-US" sz="4000" b="0" dirty="0" smtClean="0">
                        <a:solidFill>
                          <a:schemeClr val="bg2"/>
                        </a:solidFill>
                      </a:endParaRPr>
                    </a:p>
                  </a:txBody>
                  <a:tcPr anchor="ct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de-CH" dirty="0" smtClean="0"/>
                        <a:t>Reduced thermal impact on tool substrate (especially for PM-HSS)</a:t>
                      </a:r>
                    </a:p>
                    <a:p>
                      <a:r>
                        <a:rPr lang="zh-CN" altLang="en-US" dirty="0" smtClean="0"/>
                        <a:t>在刀具基体上减少热影响（特别是</a:t>
                      </a:r>
                      <a:r>
                        <a:rPr lang="en-US" altLang="zh-CN" dirty="0" smtClean="0"/>
                        <a:t>PM-HSS)</a:t>
                      </a:r>
                      <a:endParaRPr lang="en-US" dirty="0"/>
                    </a:p>
                  </a:txBody>
                  <a:tcPr anchor="ctr">
                    <a:lnR w="317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lnB w="19050" cap="flat" cmpd="sng" algn="ctr">
                      <a:solidFill>
                        <a:schemeClr val="bg1">
                          <a:lumMod val="75000"/>
                        </a:schemeClr>
                      </a:solidFill>
                      <a:prstDash val="solid"/>
                      <a:round/>
                      <a:headEnd type="none" w="med" len="med"/>
                      <a:tailEnd type="none" w="med" len="med"/>
                    </a:lnB>
                    <a:solidFill>
                      <a:schemeClr val="bg1"/>
                    </a:solidFill>
                  </a:tcPr>
                </a:tc>
              </a:tr>
              <a:tr h="922846">
                <a:tc>
                  <a:txBody>
                    <a:bodyPr/>
                    <a:lstStyle/>
                    <a:p>
                      <a:r>
                        <a:rPr lang="de-CH" b="0" dirty="0" smtClean="0"/>
                        <a:t>Optimised oxidation resistance</a:t>
                      </a:r>
                    </a:p>
                    <a:p>
                      <a:r>
                        <a:rPr lang="zh-CN" altLang="en-US" b="0" dirty="0" smtClean="0"/>
                        <a:t>优化抗氧化能力</a:t>
                      </a:r>
                      <a:endParaRPr lang="en-US" b="0" dirty="0"/>
                    </a:p>
                  </a:txBody>
                  <a:tcPr anchor="ctr">
                    <a:lnL w="3175" cap="flat" cmpd="sng" algn="ctr">
                      <a:solidFill>
                        <a:schemeClr val="bg1">
                          <a:lumMod val="75000"/>
                        </a:schemeClr>
                      </a:solidFill>
                      <a:prstDash val="solid"/>
                      <a:round/>
                      <a:headEnd type="none" w="med" len="med"/>
                      <a:tailEnd type="none" w="med" len="med"/>
                    </a:lnL>
                    <a:lnT w="1905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CH" sz="4000" b="0" dirty="0" smtClean="0">
                          <a:solidFill>
                            <a:schemeClr val="bg2"/>
                          </a:solidFill>
                        </a:rPr>
                        <a:t>&gt;</a:t>
                      </a:r>
                      <a:endParaRPr lang="en-US" sz="4000" b="0" dirty="0" smtClean="0">
                        <a:solidFill>
                          <a:schemeClr val="bg2"/>
                        </a:solidFill>
                      </a:endParaRPr>
                    </a:p>
                  </a:txBody>
                  <a:tcPr anchor="ctr">
                    <a:lnT w="19050" cap="flat" cmpd="sng" algn="ctr">
                      <a:solidFill>
                        <a:schemeClr val="bg1">
                          <a:lumMod val="75000"/>
                        </a:schemeClr>
                      </a:solidFill>
                      <a:prstDash val="solid"/>
                      <a:round/>
                      <a:headEnd type="none" w="med" len="med"/>
                      <a:tailEnd type="none" w="med" len="med"/>
                    </a:lnT>
                    <a:solidFill>
                      <a:schemeClr val="bg1"/>
                    </a:solidFill>
                  </a:tcPr>
                </a:tc>
                <a:tc>
                  <a:txBody>
                    <a:bodyPr/>
                    <a:lstStyle/>
                    <a:p>
                      <a:r>
                        <a:rPr lang="de-CH" dirty="0" smtClean="0"/>
                        <a:t>Longer tool life at dry cutting conditions</a:t>
                      </a:r>
                      <a:r>
                        <a:rPr lang="de-CH" baseline="0" dirty="0" smtClean="0"/>
                        <a:t> and high cutting speed</a:t>
                      </a:r>
                    </a:p>
                    <a:p>
                      <a:r>
                        <a:rPr lang="zh-CN" altLang="en-US" baseline="0" dirty="0" smtClean="0"/>
                        <a:t>长的刀具寿命在干式和高速加工</a:t>
                      </a:r>
                      <a:endParaRPr lang="en-US" dirty="0"/>
                    </a:p>
                  </a:txBody>
                  <a:tcPr anchor="ctr">
                    <a:lnR w="3175" cap="flat" cmpd="sng" algn="ctr">
                      <a:solidFill>
                        <a:schemeClr val="bg1">
                          <a:lumMod val="75000"/>
                        </a:schemeClr>
                      </a:solidFill>
                      <a:prstDash val="solid"/>
                      <a:round/>
                      <a:headEnd type="none" w="med" len="med"/>
                      <a:tailEnd type="none" w="med" len="med"/>
                    </a:lnR>
                    <a:lnT w="19050" cap="flat" cmpd="sng" algn="ctr">
                      <a:solidFill>
                        <a:schemeClr val="bg1">
                          <a:lumMod val="75000"/>
                        </a:schemeClr>
                      </a:solidFill>
                      <a:prstDash val="solid"/>
                      <a:round/>
                      <a:headEnd type="none" w="med" len="med"/>
                      <a:tailEnd type="none" w="med" len="med"/>
                    </a:lnT>
                    <a:solidFill>
                      <a:schemeClr val="bg1"/>
                    </a:solidFill>
                  </a:tcPr>
                </a:tc>
              </a:tr>
              <a:tr h="1564827">
                <a:tc gridSpan="3">
                  <a:txBody>
                    <a:bodyPr/>
                    <a:lstStyle/>
                    <a:p>
                      <a:pPr marL="285750" indent="-285750">
                        <a:buFont typeface="Wingdings" panose="05000000000000000000" pitchFamily="2" charset="2"/>
                        <a:buChar char="§"/>
                      </a:pPr>
                      <a:r>
                        <a:rPr lang="de-CH" b="1" dirty="0" smtClean="0">
                          <a:solidFill>
                            <a:schemeClr val="bg1"/>
                          </a:solidFill>
                        </a:rPr>
                        <a:t>Improved</a:t>
                      </a:r>
                      <a:r>
                        <a:rPr lang="de-CH" b="1" baseline="0" dirty="0" smtClean="0">
                          <a:solidFill>
                            <a:schemeClr val="bg1"/>
                          </a:solidFill>
                        </a:rPr>
                        <a:t> tool life at </a:t>
                      </a:r>
                      <a:r>
                        <a:rPr lang="de-CH" b="1" dirty="0" smtClean="0">
                          <a:solidFill>
                            <a:schemeClr val="bg1"/>
                          </a:solidFill>
                        </a:rPr>
                        <a:t>moderate cutting speed</a:t>
                      </a:r>
                      <a:r>
                        <a:rPr lang="zh-CN" altLang="en-US" b="1" dirty="0" smtClean="0">
                          <a:solidFill>
                            <a:schemeClr val="bg1"/>
                          </a:solidFill>
                        </a:rPr>
                        <a:t>在中速加工时提高刀具寿命</a:t>
                      </a:r>
                      <a:endParaRPr lang="de-CH" b="1" dirty="0" smtClean="0">
                        <a:solidFill>
                          <a:schemeClr val="bg1"/>
                        </a:solidFill>
                      </a:endParaRPr>
                    </a:p>
                    <a:p>
                      <a:pPr marL="285750" indent="-285750">
                        <a:buFont typeface="Wingdings" panose="05000000000000000000" pitchFamily="2" charset="2"/>
                        <a:buChar char="§"/>
                      </a:pPr>
                      <a:r>
                        <a:rPr lang="de-CH" b="1" dirty="0" smtClean="0">
                          <a:solidFill>
                            <a:schemeClr val="bg1"/>
                          </a:solidFill>
                        </a:rPr>
                        <a:t>Significant  </a:t>
                      </a:r>
                      <a:r>
                        <a:rPr lang="de-CH" b="1" baseline="0" dirty="0" smtClean="0">
                          <a:solidFill>
                            <a:schemeClr val="bg1"/>
                          </a:solidFill>
                        </a:rPr>
                        <a:t>improvement for highest cutting speed conditions for all substrate materials (PM-HSS, MC90, carbide)</a:t>
                      </a:r>
                    </a:p>
                    <a:p>
                      <a:pPr marL="0" indent="0">
                        <a:buFont typeface="Wingdings" panose="05000000000000000000" pitchFamily="2" charset="2"/>
                        <a:buNone/>
                      </a:pPr>
                      <a:r>
                        <a:rPr lang="zh-CN" altLang="en-US" b="1" baseline="0" dirty="0" smtClean="0">
                          <a:solidFill>
                            <a:schemeClr val="bg1"/>
                          </a:solidFill>
                        </a:rPr>
                        <a:t>    有效改善各种刀具材料的最高的切削速度（</a:t>
                      </a:r>
                      <a:r>
                        <a:rPr lang="en-US" altLang="zh-CN" b="1" baseline="0" dirty="0" smtClean="0">
                          <a:solidFill>
                            <a:schemeClr val="bg1"/>
                          </a:solidFill>
                        </a:rPr>
                        <a:t>PM-HSS,MC90,</a:t>
                      </a:r>
                      <a:r>
                        <a:rPr lang="zh-CN" altLang="en-US" b="1" baseline="0" dirty="0" smtClean="0">
                          <a:solidFill>
                            <a:schemeClr val="bg1"/>
                          </a:solidFill>
                        </a:rPr>
                        <a:t>硬质合金）</a:t>
                      </a:r>
                      <a:endParaRPr lang="de-CH" b="1" baseline="0" dirty="0" smtClean="0">
                        <a:solidFill>
                          <a:schemeClr val="bg1"/>
                        </a:solidFill>
                      </a:endParaRPr>
                    </a:p>
                    <a:p>
                      <a:pPr marL="285750" indent="-285750">
                        <a:buFont typeface="Wingdings" panose="05000000000000000000" pitchFamily="2" charset="2"/>
                        <a:buChar char="§"/>
                      </a:pPr>
                      <a:r>
                        <a:rPr lang="de-CH" b="1" baseline="0" dirty="0" smtClean="0">
                          <a:solidFill>
                            <a:schemeClr val="bg1"/>
                          </a:solidFill>
                        </a:rPr>
                        <a:t>Enables higher cutting speeds and increase in productivity </a:t>
                      </a:r>
                    </a:p>
                    <a:p>
                      <a:pPr marL="0" indent="0">
                        <a:buFont typeface="Wingdings" panose="05000000000000000000" pitchFamily="2" charset="2"/>
                        <a:buNone/>
                      </a:pPr>
                      <a:r>
                        <a:rPr lang="de-CH" altLang="zh-CN" b="1" baseline="0" dirty="0" smtClean="0">
                          <a:solidFill>
                            <a:schemeClr val="bg1"/>
                          </a:solidFill>
                        </a:rPr>
                        <a:t>    </a:t>
                      </a:r>
                      <a:r>
                        <a:rPr lang="zh-CN" altLang="en-US" b="1" baseline="0" dirty="0" smtClean="0">
                          <a:solidFill>
                            <a:schemeClr val="bg1"/>
                          </a:solidFill>
                        </a:rPr>
                        <a:t>更高的切削速度和提高生产率</a:t>
                      </a:r>
                      <a:endParaRPr lang="en-US" b="1" dirty="0">
                        <a:solidFill>
                          <a:schemeClr val="bg1"/>
                        </a:solidFill>
                      </a:endParaRPr>
                    </a:p>
                  </a:txBody>
                  <a:tcPr anchor="ctr">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B w="3175" cap="flat" cmpd="sng" algn="ctr">
                      <a:solidFill>
                        <a:schemeClr val="bg1">
                          <a:lumMod val="75000"/>
                        </a:schemeClr>
                      </a:solidFill>
                      <a:prstDash val="solid"/>
                      <a:round/>
                      <a:headEnd type="none" w="med" len="med"/>
                      <a:tailEnd type="none" w="med" len="med"/>
                    </a:lnB>
                    <a:solidFill>
                      <a:schemeClr val="bg2"/>
                    </a:solidFill>
                  </a:tcPr>
                </a:tc>
                <a:tc hMerge="1">
                  <a:txBody>
                    <a:bodyPr/>
                    <a:lstStyle/>
                    <a:p>
                      <a:endParaRPr lang="en-US"/>
                    </a:p>
                  </a:txBody>
                  <a:tcPr/>
                </a:tc>
                <a:tc hMerge="1">
                  <a:txBody>
                    <a:bodyPr/>
                    <a:lstStyle/>
                    <a:p>
                      <a:endParaRPr lang="en-US" dirty="0"/>
                    </a:p>
                  </a:txBody>
                  <a:tcPr/>
                </a:tc>
              </a:tr>
            </a:tbl>
          </a:graphicData>
        </a:graphic>
      </p:graphicFrame>
    </p:spTree>
    <p:extLst>
      <p:ext uri="{BB962C8B-B14F-4D97-AF65-F5344CB8AC3E}">
        <p14:creationId xmlns:p14="http://schemas.microsoft.com/office/powerpoint/2010/main" val="425010526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545162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CH" dirty="0" smtClean="0"/>
              <a:t>BALINIT ALTENSA impresses in various high-end gear</a:t>
            </a:r>
            <a:r>
              <a:rPr lang="de-CH" dirty="0"/>
              <a:t>-</a:t>
            </a:r>
            <a:r>
              <a:rPr lang="de-CH" dirty="0" smtClean="0"/>
              <a:t>cutting applications</a:t>
            </a:r>
            <a:br>
              <a:rPr lang="de-CH" dirty="0" smtClean="0"/>
            </a:br>
            <a:r>
              <a:rPr lang="de-CH" altLang="zh-CN" dirty="0"/>
              <a:t>BALINIT </a:t>
            </a:r>
            <a:r>
              <a:rPr lang="de-CH" altLang="zh-CN" dirty="0" smtClean="0"/>
              <a:t>ALTENSA</a:t>
            </a:r>
            <a:r>
              <a:rPr lang="zh-CN" altLang="en-US" dirty="0" smtClean="0"/>
              <a:t>应用于各种高端齿轮加工</a:t>
            </a:r>
            <a:r>
              <a:rPr lang="de-CH" dirty="0" smtClean="0"/>
              <a:t/>
            </a:r>
            <a:br>
              <a:rPr lang="de-CH" dirty="0" smtClean="0"/>
            </a:br>
            <a:endParaRPr lang="en-US" b="0" dirty="0"/>
          </a:p>
        </p:txBody>
      </p:sp>
      <p:grpSp>
        <p:nvGrpSpPr>
          <p:cNvPr id="4" name="Gruppieren 3"/>
          <p:cNvGrpSpPr/>
          <p:nvPr/>
        </p:nvGrpSpPr>
        <p:grpSpPr>
          <a:xfrm>
            <a:off x="376581" y="1484784"/>
            <a:ext cx="8587907" cy="4824536"/>
            <a:chOff x="376581" y="980728"/>
            <a:chExt cx="8587907" cy="4824536"/>
          </a:xfrm>
        </p:grpSpPr>
        <p:grpSp>
          <p:nvGrpSpPr>
            <p:cNvPr id="3" name="Gruppieren 2"/>
            <p:cNvGrpSpPr/>
            <p:nvPr/>
          </p:nvGrpSpPr>
          <p:grpSpPr>
            <a:xfrm>
              <a:off x="376581" y="980728"/>
              <a:ext cx="8372133" cy="4824536"/>
              <a:chOff x="376581" y="980728"/>
              <a:chExt cx="8372133" cy="4824536"/>
            </a:xfrm>
          </p:grpSpPr>
          <p:sp>
            <p:nvSpPr>
              <p:cNvPr id="18" name="Textfeld 17"/>
              <p:cNvSpPr txBox="1"/>
              <p:nvPr/>
            </p:nvSpPr>
            <p:spPr>
              <a:xfrm>
                <a:off x="6083379" y="1340768"/>
                <a:ext cx="2663825" cy="796354"/>
              </a:xfrm>
              <a:prstGeom prst="rect">
                <a:avLst/>
              </a:prstGeom>
              <a:solidFill>
                <a:schemeClr val="bg2"/>
              </a:solidFill>
            </p:spPr>
            <p:txBody>
              <a:bodyPr wrap="square" lIns="108000" tIns="108000" rIns="108000" bIns="108000" rtlCol="0" anchor="ctr">
                <a:noAutofit/>
              </a:bodyPr>
              <a:lstStyle/>
              <a:p>
                <a:pPr>
                  <a:spcBef>
                    <a:spcPts val="300"/>
                  </a:spcBef>
                  <a:spcAft>
                    <a:spcPts val="300"/>
                  </a:spcAft>
                  <a:buClr>
                    <a:schemeClr val="bg2"/>
                  </a:buClr>
                </a:pPr>
                <a:r>
                  <a:rPr lang="de-CH" sz="1600" b="1" dirty="0" err="1" smtClean="0">
                    <a:solidFill>
                      <a:schemeClr val="bg1"/>
                    </a:solidFill>
                  </a:rPr>
                  <a:t>Gear</a:t>
                </a:r>
                <a:r>
                  <a:rPr lang="de-CH" sz="1600" b="1" dirty="0" smtClean="0">
                    <a:solidFill>
                      <a:schemeClr val="bg1"/>
                    </a:solidFill>
                  </a:rPr>
                  <a:t> </a:t>
                </a:r>
              </a:p>
              <a:p>
                <a:pPr>
                  <a:spcBef>
                    <a:spcPts val="300"/>
                  </a:spcBef>
                  <a:spcAft>
                    <a:spcPts val="300"/>
                  </a:spcAft>
                  <a:buClr>
                    <a:schemeClr val="bg2"/>
                  </a:buClr>
                </a:pPr>
                <a:r>
                  <a:rPr lang="de-CH" sz="1600" b="1" dirty="0" err="1" smtClean="0">
                    <a:solidFill>
                      <a:schemeClr val="bg1"/>
                    </a:solidFill>
                  </a:rPr>
                  <a:t>shaping</a:t>
                </a:r>
                <a:endParaRPr lang="en-US" b="1" dirty="0" err="1" smtClean="0">
                  <a:solidFill>
                    <a:schemeClr val="bg1"/>
                  </a:solidFill>
                </a:endParaRPr>
              </a:p>
            </p:txBody>
          </p:sp>
          <p:sp>
            <p:nvSpPr>
              <p:cNvPr id="16" name="Textfeld 15"/>
              <p:cNvSpPr txBox="1"/>
              <p:nvPr/>
            </p:nvSpPr>
            <p:spPr>
              <a:xfrm>
                <a:off x="376581" y="1340768"/>
                <a:ext cx="2663825" cy="795760"/>
              </a:xfrm>
              <a:prstGeom prst="rect">
                <a:avLst/>
              </a:prstGeom>
              <a:solidFill>
                <a:schemeClr val="bg2"/>
              </a:solidFill>
            </p:spPr>
            <p:txBody>
              <a:bodyPr wrap="square" lIns="108000" tIns="108000" rIns="108000" bIns="108000" rtlCol="0">
                <a:noAutofit/>
              </a:bodyPr>
              <a:lstStyle/>
              <a:p>
                <a:pPr>
                  <a:spcBef>
                    <a:spcPts val="300"/>
                  </a:spcBef>
                  <a:spcAft>
                    <a:spcPts val="300"/>
                  </a:spcAft>
                  <a:buClr>
                    <a:schemeClr val="bg2"/>
                  </a:buClr>
                </a:pPr>
                <a:r>
                  <a:rPr lang="de-CH" sz="1600" b="1" dirty="0" err="1" smtClean="0">
                    <a:solidFill>
                      <a:schemeClr val="bg1"/>
                    </a:solidFill>
                  </a:rPr>
                  <a:t>Bevel</a:t>
                </a:r>
                <a:r>
                  <a:rPr lang="de-CH" sz="1600" b="1" dirty="0" smtClean="0">
                    <a:solidFill>
                      <a:schemeClr val="bg1"/>
                    </a:solidFill>
                  </a:rPr>
                  <a:t> </a:t>
                </a:r>
                <a:r>
                  <a:rPr lang="de-CH" sz="1600" b="1" dirty="0" err="1" smtClean="0">
                    <a:solidFill>
                      <a:schemeClr val="bg1"/>
                    </a:solidFill>
                  </a:rPr>
                  <a:t>gear</a:t>
                </a:r>
                <a:r>
                  <a:rPr lang="de-CH" sz="1600" b="1" dirty="0" smtClean="0">
                    <a:solidFill>
                      <a:schemeClr val="bg1"/>
                    </a:solidFill>
                  </a:rPr>
                  <a:t> </a:t>
                </a:r>
              </a:p>
              <a:p>
                <a:pPr>
                  <a:spcBef>
                    <a:spcPts val="300"/>
                  </a:spcBef>
                  <a:spcAft>
                    <a:spcPts val="300"/>
                  </a:spcAft>
                  <a:buClr>
                    <a:schemeClr val="bg2"/>
                  </a:buClr>
                </a:pPr>
                <a:r>
                  <a:rPr lang="de-CH" sz="1600" b="1" dirty="0" err="1" smtClean="0">
                    <a:solidFill>
                      <a:schemeClr val="bg1"/>
                    </a:solidFill>
                  </a:rPr>
                  <a:t>cutting</a:t>
                </a:r>
                <a:endParaRPr lang="en-US" sz="1600" b="1" dirty="0" err="1" smtClean="0">
                  <a:solidFill>
                    <a:schemeClr val="bg1"/>
                  </a:solidFill>
                </a:endParaRPr>
              </a:p>
            </p:txBody>
          </p:sp>
          <p:sp>
            <p:nvSpPr>
              <p:cNvPr id="7" name="Textfeld 6"/>
              <p:cNvSpPr txBox="1"/>
              <p:nvPr/>
            </p:nvSpPr>
            <p:spPr>
              <a:xfrm>
                <a:off x="3240087" y="1340768"/>
                <a:ext cx="2663825" cy="796354"/>
              </a:xfrm>
              <a:prstGeom prst="rect">
                <a:avLst/>
              </a:prstGeom>
              <a:solidFill>
                <a:schemeClr val="bg2"/>
              </a:solidFill>
            </p:spPr>
            <p:txBody>
              <a:bodyPr wrap="square" lIns="108000" tIns="108000" rIns="108000" bIns="108000" rtlCol="0" anchor="ctr">
                <a:noAutofit/>
              </a:bodyPr>
              <a:lstStyle/>
              <a:p>
                <a:pPr>
                  <a:spcBef>
                    <a:spcPts val="300"/>
                  </a:spcBef>
                  <a:spcAft>
                    <a:spcPts val="300"/>
                  </a:spcAft>
                  <a:buClr>
                    <a:schemeClr val="bg2"/>
                  </a:buClr>
                </a:pPr>
                <a:r>
                  <a:rPr lang="de-CH" sz="1600" b="1" dirty="0" err="1" smtClean="0">
                    <a:solidFill>
                      <a:schemeClr val="bg1"/>
                    </a:solidFill>
                  </a:rPr>
                  <a:t>Hobbing</a:t>
                </a:r>
                <a:endParaRPr lang="en-US" b="1" dirty="0" err="1" smtClean="0">
                  <a:solidFill>
                    <a:schemeClr val="bg1"/>
                  </a:solidFill>
                </a:endParaRPr>
              </a:p>
            </p:txBody>
          </p:sp>
          <p:pic>
            <p:nvPicPr>
              <p:cNvPr id="37890" name="Picture 2" descr="O:\80_Communications\01_Team\03_Tool Coatings\CUT_BALINIT ALTENSA_Algear\Presentations\Kegelrad.jpg"/>
              <p:cNvPicPr>
                <a:picLocks noChangeAspect="1" noChangeArrowheads="1"/>
              </p:cNvPicPr>
              <p:nvPr/>
            </p:nvPicPr>
            <p:blipFill rotWithShape="1">
              <a:blip r:embed="rId6" cstate="print">
                <a:duotone>
                  <a:schemeClr val="accent4">
                    <a:shade val="45000"/>
                    <a:satMod val="135000"/>
                  </a:schemeClr>
                  <a:prstClr val="white"/>
                </a:duotone>
                <a:extLst>
                  <a:ext uri="{BEBA8EAE-BF5A-486C-A8C5-ECC9F3942E4B}">
                    <a14:imgProps xmlns:a14="http://schemas.microsoft.com/office/drawing/2010/main">
                      <a14:imgLayer r:embed="rId7">
                        <a14:imgEffect>
                          <a14:colorTemperature colorTemp="7200"/>
                        </a14:imgEffect>
                        <a14:imgEffect>
                          <a14:saturation sat="400000"/>
                        </a14:imgEffect>
                      </a14:imgLayer>
                    </a14:imgProps>
                  </a:ext>
                  <a:ext uri="{28A0092B-C50C-407E-A947-70E740481C1C}">
                    <a14:useLocalDpi xmlns:a14="http://schemas.microsoft.com/office/drawing/2010/main" val="0"/>
                  </a:ext>
                </a:extLst>
              </a:blip>
              <a:srcRect l="7901" r="25674"/>
              <a:stretch/>
            </p:blipFill>
            <p:spPr bwMode="auto">
              <a:xfrm>
                <a:off x="395288" y="2136527"/>
                <a:ext cx="2663826" cy="366814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7891" name="Picture 3" descr="O:\80_Communications\01_Team\03_Tool Coatings\CUT_BALINIT ALTENSA_Algear\Presentations\waeltfraesen.jpg"/>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saturation sat="0"/>
                        </a14:imgEffect>
                        <a14:imgEffect>
                          <a14:brightnessContrast contrast="-59000"/>
                        </a14:imgEffect>
                      </a14:imgLayer>
                    </a14:imgProps>
                  </a:ext>
                  <a:ext uri="{28A0092B-C50C-407E-A947-70E740481C1C}">
                    <a14:useLocalDpi xmlns:a14="http://schemas.microsoft.com/office/drawing/2010/main" val="0"/>
                  </a:ext>
                </a:extLst>
              </a:blip>
              <a:srcRect l="13915" r="25551" b="8867"/>
              <a:stretch/>
            </p:blipFill>
            <p:spPr bwMode="auto">
              <a:xfrm>
                <a:off x="3240088" y="2137122"/>
                <a:ext cx="2663825" cy="366814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7892" name="Picture 4" descr="O:\80_Communications\01_Team\03_Tool Coatings\CUT_BALINIT ALTENSA_Algear\Presentations\waelzstossen.jpg"/>
              <p:cNvPicPr>
                <a:picLocks noChangeAspect="1" noChangeArrowheads="1"/>
              </p:cNvPicPr>
              <p:nvPr/>
            </p:nvPicPr>
            <p:blipFill rotWithShape="1">
              <a:blip r:embed="rId10" cstate="print">
                <a:extLst>
                  <a:ext uri="{BEBA8EAE-BF5A-486C-A8C5-ECC9F3942E4B}">
                    <a14:imgProps xmlns:a14="http://schemas.microsoft.com/office/drawing/2010/main">
                      <a14:imgLayer r:embed="rId11">
                        <a14:imgEffect>
                          <a14:saturation sat="33000"/>
                        </a14:imgEffect>
                        <a14:imgEffect>
                          <a14:brightnessContrast bright="30000"/>
                        </a14:imgEffect>
                      </a14:imgLayer>
                    </a14:imgProps>
                  </a:ext>
                  <a:ext uri="{28A0092B-C50C-407E-A947-70E740481C1C}">
                    <a14:useLocalDpi xmlns:a14="http://schemas.microsoft.com/office/drawing/2010/main" val="0"/>
                  </a:ext>
                </a:extLst>
              </a:blip>
              <a:srcRect t="1129" r="34262"/>
              <a:stretch/>
            </p:blipFill>
            <p:spPr bwMode="auto">
              <a:xfrm>
                <a:off x="6081870" y="2136528"/>
                <a:ext cx="2666844" cy="366873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7894" name="Picture 6" descr="O:\80_Communications\01_Team\03_Tool Coatings\CUT_BALINIT ALTENSA_Algear\Presentations\shaper_cutter_kegelrad.jpg"/>
              <p:cNvPicPr>
                <a:picLocks noChangeAspect="1" noChangeArrowheads="1"/>
              </p:cNvPicPr>
              <p:nvPr/>
            </p:nvPicPr>
            <p:blipFill rotWithShape="1">
              <a:blip r:embed="rId12">
                <a:extLst>
                  <a:ext uri="{28A0092B-C50C-407E-A947-70E740481C1C}">
                    <a14:useLocalDpi xmlns:a14="http://schemas.microsoft.com/office/drawing/2010/main" val="0"/>
                  </a:ext>
                </a:extLst>
              </a:blip>
              <a:srcRect l="-9856" r="-9524"/>
              <a:stretch/>
            </p:blipFill>
            <p:spPr bwMode="auto">
              <a:xfrm>
                <a:off x="1519940" y="980728"/>
                <a:ext cx="1683908" cy="1660376"/>
              </a:xfrm>
              <a:prstGeom prst="ellipse">
                <a:avLst/>
              </a:prstGeom>
              <a:solidFill>
                <a:schemeClr val="bg1"/>
              </a:solidFill>
              <a:ln>
                <a:solidFill>
                  <a:schemeClr val="accent1"/>
                </a:solidFill>
              </a:ln>
              <a:effectLst>
                <a:outerShdw blurRad="50800" dist="38100" dir="2700000" algn="tl" rotWithShape="0">
                  <a:prstClr val="black">
                    <a:alpha val="40000"/>
                  </a:prstClr>
                </a:outerShdw>
              </a:effectLst>
            </p:spPr>
          </p:pic>
          <p:pic>
            <p:nvPicPr>
              <p:cNvPr id="19" name="Grafik 1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741713">
                <a:off x="8027254" y="1622398"/>
                <a:ext cx="687331" cy="687331"/>
              </a:xfrm>
              <a:prstGeom prst="rect">
                <a:avLst/>
              </a:prstGeom>
            </p:spPr>
          </p:pic>
          <p:pic>
            <p:nvPicPr>
              <p:cNvPr id="20" name="Grafik 1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741713">
                <a:off x="3979647" y="2649807"/>
                <a:ext cx="583736" cy="583736"/>
              </a:xfrm>
              <a:prstGeom prst="rect">
                <a:avLst/>
              </a:prstGeom>
            </p:spPr>
          </p:pic>
          <p:pic>
            <p:nvPicPr>
              <p:cNvPr id="21" name="Grafik 2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741713">
                <a:off x="979862" y="3781944"/>
                <a:ext cx="687331" cy="687331"/>
              </a:xfrm>
              <a:prstGeom prst="rect">
                <a:avLst/>
              </a:prstGeom>
            </p:spPr>
          </p:pic>
          <p:pic>
            <p:nvPicPr>
              <p:cNvPr id="37912" name="Picture 2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rot="10800000">
                <a:off x="4499991" y="995804"/>
                <a:ext cx="1569100" cy="1569100"/>
              </a:xfrm>
              <a:prstGeom prst="ellipse">
                <a:avLst/>
              </a:prstGeom>
              <a:noFill/>
              <a:ln>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pic>
          <p:nvPicPr>
            <p:cNvPr id="37893" name="Picture 5" descr="O:\80_Communications\01_Team\03_Tool Coatings\CUT_BALINIT ALTENSA_Algear\Presentations\schneidrad_waelzstossen.jpg"/>
            <p:cNvPicPr>
              <a:picLocks noChangeAspect="1" noChangeArrowheads="1"/>
            </p:cNvPicPr>
            <p:nvPr/>
          </p:nvPicPr>
          <p:blipFill rotWithShape="1">
            <a:blip r:embed="rId16">
              <a:extLst>
                <a:ext uri="{28A0092B-C50C-407E-A947-70E740481C1C}">
                  <a14:useLocalDpi xmlns:a14="http://schemas.microsoft.com/office/drawing/2010/main" val="0"/>
                </a:ext>
              </a:extLst>
            </a:blip>
            <a:srcRect l="-482" r="17460"/>
            <a:stretch/>
          </p:blipFill>
          <p:spPr bwMode="auto">
            <a:xfrm>
              <a:off x="7318375" y="1052736"/>
              <a:ext cx="1646113" cy="1656000"/>
            </a:xfrm>
            <a:prstGeom prst="ellipse">
              <a:avLst/>
            </a:prstGeom>
            <a:noFill/>
            <a:ln>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66832283"/>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4475947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1766" name="think-cell Folie" r:id="rId13" imgW="270" imgH="270" progId="TCLayout.ActiveDocument.1">
                  <p:embed/>
                </p:oleObj>
              </mc:Choice>
              <mc:Fallback>
                <p:oleObj name="think-cell Foli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de-CH" sz="1400" b="1" smtClean="0">
              <a:solidFill>
                <a:prstClr val="black"/>
              </a:solidFill>
              <a:latin typeface="Arial"/>
              <a:sym typeface="Arial"/>
            </a:endParaRPr>
          </a:p>
        </p:txBody>
      </p:sp>
      <p:sp>
        <p:nvSpPr>
          <p:cNvPr id="15" name="Rechteck 14"/>
          <p:cNvSpPr/>
          <p:nvPr/>
        </p:nvSpPr>
        <p:spPr>
          <a:xfrm>
            <a:off x="395288" y="1062038"/>
            <a:ext cx="5508625" cy="5246687"/>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fontAlgn="auto">
              <a:spcBef>
                <a:spcPts val="300"/>
              </a:spcBef>
              <a:spcAft>
                <a:spcPts val="300"/>
              </a:spcAft>
            </a:pPr>
            <a:endParaRPr lang="de-CH" b="1" smtClean="0">
              <a:solidFill>
                <a:prstClr val="black"/>
              </a:solidFill>
            </a:endParaRPr>
          </a:p>
        </p:txBody>
      </p:sp>
      <p:graphicFrame>
        <p:nvGraphicFramePr>
          <p:cNvPr id="16" name="Tabelle 15"/>
          <p:cNvGraphicFramePr>
            <a:graphicFrameLocks noGrp="1"/>
          </p:cNvGraphicFramePr>
          <p:nvPr>
            <p:extLst>
              <p:ext uri="{D42A27DB-BD31-4B8C-83A1-F6EECF244321}">
                <p14:modId xmlns:p14="http://schemas.microsoft.com/office/powerpoint/2010/main" val="3996863055"/>
              </p:ext>
            </p:extLst>
          </p:nvPr>
        </p:nvGraphicFramePr>
        <p:xfrm>
          <a:off x="6091319" y="1052514"/>
          <a:ext cx="2657394" cy="522343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657394"/>
              </a:tblGrid>
              <a:tr h="900211">
                <a:tc>
                  <a:txBody>
                    <a:bodyPr/>
                    <a:lstStyle/>
                    <a:p>
                      <a:pPr algn="l"/>
                      <a:r>
                        <a:rPr lang="de-CH" sz="1400" b="1" dirty="0" smtClean="0">
                          <a:solidFill>
                            <a:sysClr val="windowText" lastClr="000000"/>
                          </a:solidFill>
                        </a:rPr>
                        <a:t>Tool:</a:t>
                      </a:r>
                    </a:p>
                    <a:p>
                      <a:pPr algn="l"/>
                      <a:r>
                        <a:rPr lang="en-GB" sz="1400" b="0" dirty="0" smtClean="0">
                          <a:solidFill>
                            <a:schemeClr val="tx1"/>
                          </a:solidFill>
                        </a:rPr>
                        <a:t>PM-HSS hob (S390)</a:t>
                      </a:r>
                      <a:endParaRPr lang="de-CH" sz="1400" b="0" dirty="0" smtClean="0">
                        <a:solidFill>
                          <a:schemeClr val="tx1"/>
                        </a:solidFill>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90021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b="1" dirty="0" err="1" smtClean="0"/>
                        <a:t>Workpiece</a:t>
                      </a:r>
                      <a:r>
                        <a:rPr lang="de-CH" sz="1400" b="1" dirty="0" smtClean="0"/>
                        <a:t>:</a:t>
                      </a:r>
                    </a:p>
                    <a:p>
                      <a:pPr defTabSz="180975"/>
                      <a:r>
                        <a:rPr lang="en-GB" sz="1400" b="0" i="0" dirty="0" smtClean="0">
                          <a:solidFill>
                            <a:srgbClr val="000000"/>
                          </a:solidFill>
                        </a:rPr>
                        <a:t>Steel 1.7131</a:t>
                      </a:r>
                      <a:r>
                        <a:rPr lang="en-GB" sz="1400" b="0" i="0" baseline="0" dirty="0" smtClean="0">
                          <a:solidFill>
                            <a:srgbClr val="000000"/>
                          </a:solidFill>
                        </a:rPr>
                        <a:t> (</a:t>
                      </a:r>
                      <a:r>
                        <a:rPr lang="en-GB" sz="1400" b="0" i="0" dirty="0" err="1" smtClean="0">
                          <a:solidFill>
                            <a:srgbClr val="000000"/>
                          </a:solidFill>
                        </a:rPr>
                        <a:t>AlSI</a:t>
                      </a:r>
                      <a:r>
                        <a:rPr lang="en-GB" sz="1400" b="0" i="0" dirty="0" smtClean="0">
                          <a:solidFill>
                            <a:srgbClr val="000000"/>
                          </a:solidFill>
                        </a:rPr>
                        <a:t> 5115)</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1584176">
                <a:tc>
                  <a:txBody>
                    <a:bodyPr/>
                    <a:lstStyle/>
                    <a:p>
                      <a:pPr algn="l"/>
                      <a:r>
                        <a:rPr lang="de-CH" sz="1400" b="1" dirty="0" err="1" smtClean="0"/>
                        <a:t>Cutting</a:t>
                      </a:r>
                      <a:r>
                        <a:rPr lang="de-CH" sz="1400" b="1" dirty="0" smtClean="0"/>
                        <a:t> </a:t>
                      </a:r>
                      <a:r>
                        <a:rPr lang="de-CH" sz="1400" b="1" dirty="0" err="1" smtClean="0"/>
                        <a:t>data</a:t>
                      </a:r>
                      <a:r>
                        <a:rPr lang="de-CH" sz="1400" b="1" dirty="0" smtClean="0"/>
                        <a:t>:</a:t>
                      </a:r>
                    </a:p>
                    <a:p>
                      <a:pPr defTabSz="180975"/>
                      <a:r>
                        <a:rPr lang="sv-SE" sz="1400" b="1" i="0" dirty="0" smtClean="0">
                          <a:solidFill>
                            <a:schemeClr val="bg2"/>
                          </a:solidFill>
                        </a:rPr>
                        <a:t>v</a:t>
                      </a:r>
                      <a:r>
                        <a:rPr lang="sv-SE" sz="1400" b="1" i="0" baseline="-25000" dirty="0" smtClean="0">
                          <a:solidFill>
                            <a:schemeClr val="bg2"/>
                          </a:solidFill>
                        </a:rPr>
                        <a:t>c</a:t>
                      </a:r>
                      <a:r>
                        <a:rPr lang="sv-SE" sz="1400" b="1" i="0" dirty="0" smtClean="0">
                          <a:solidFill>
                            <a:schemeClr val="bg2"/>
                          </a:solidFill>
                        </a:rPr>
                        <a:t>= 260 m/min</a:t>
                      </a:r>
                    </a:p>
                    <a:p>
                      <a:pPr defTabSz="180975"/>
                      <a:r>
                        <a:rPr lang="sv-SE" sz="1400" b="0" i="0" baseline="0" dirty="0" smtClean="0">
                          <a:solidFill>
                            <a:srgbClr val="000000"/>
                          </a:solidFill>
                          <a:sym typeface="Wingdings" panose="05000000000000000000" pitchFamily="2" charset="2"/>
                        </a:rPr>
                        <a:t>m</a:t>
                      </a:r>
                      <a:r>
                        <a:rPr lang="sv-SE" sz="1400" b="0" i="0" baseline="-25000" dirty="0" smtClean="0">
                          <a:solidFill>
                            <a:srgbClr val="000000"/>
                          </a:solidFill>
                          <a:sym typeface="Wingdings" panose="05000000000000000000" pitchFamily="2" charset="2"/>
                        </a:rPr>
                        <a:t>n</a:t>
                      </a:r>
                      <a:r>
                        <a:rPr lang="sv-SE" sz="1400" b="0" i="0" baseline="0" dirty="0" smtClean="0">
                          <a:solidFill>
                            <a:srgbClr val="000000"/>
                          </a:solidFill>
                          <a:sym typeface="Wingdings" panose="05000000000000000000" pitchFamily="2" charset="2"/>
                        </a:rPr>
                        <a:t> = 2.56</a:t>
                      </a:r>
                    </a:p>
                    <a:p>
                      <a:pPr defTabSz="180975"/>
                      <a:r>
                        <a:rPr lang="sv-SE" sz="1400" b="0" i="0" baseline="0" dirty="0" smtClean="0">
                          <a:solidFill>
                            <a:srgbClr val="000000"/>
                          </a:solidFill>
                          <a:sym typeface="Wingdings" panose="05000000000000000000" pitchFamily="2" charset="2"/>
                        </a:rPr>
                        <a:t>f</a:t>
                      </a:r>
                      <a:r>
                        <a:rPr lang="sv-SE" sz="1400" b="0" i="0" baseline="-25000" dirty="0" smtClean="0">
                          <a:solidFill>
                            <a:srgbClr val="000000"/>
                          </a:solidFill>
                          <a:sym typeface="Wingdings" panose="05000000000000000000" pitchFamily="2" charset="2"/>
                        </a:rPr>
                        <a:t>a</a:t>
                      </a:r>
                      <a:r>
                        <a:rPr lang="sv-SE" sz="1400" b="0" i="0" baseline="0" dirty="0" smtClean="0">
                          <a:solidFill>
                            <a:srgbClr val="000000"/>
                          </a:solidFill>
                          <a:sym typeface="Wingdings" panose="05000000000000000000" pitchFamily="2" charset="2"/>
                        </a:rPr>
                        <a:t> = 4.8 mm</a:t>
                      </a:r>
                    </a:p>
                    <a:p>
                      <a:pPr defTabSz="180975"/>
                      <a:r>
                        <a:rPr lang="sv-SE" sz="1400" b="0" i="0" baseline="0" dirty="0" smtClean="0">
                          <a:solidFill>
                            <a:srgbClr val="000000"/>
                          </a:solidFill>
                          <a:sym typeface="Wingdings" panose="05000000000000000000" pitchFamily="2" charset="2"/>
                        </a:rPr>
                        <a:t>H</a:t>
                      </a:r>
                      <a:r>
                        <a:rPr lang="sv-SE" sz="1400" b="0" i="0" baseline="-25000" dirty="0" smtClean="0">
                          <a:solidFill>
                            <a:srgbClr val="000000"/>
                          </a:solidFill>
                          <a:sym typeface="Wingdings" panose="05000000000000000000" pitchFamily="2" charset="2"/>
                        </a:rPr>
                        <a:t>cu,max</a:t>
                      </a:r>
                      <a:r>
                        <a:rPr lang="sv-SE" sz="1400" b="0" i="0" baseline="0" dirty="0" smtClean="0">
                          <a:solidFill>
                            <a:srgbClr val="000000"/>
                          </a:solidFill>
                          <a:sym typeface="Wingdings" panose="05000000000000000000" pitchFamily="2" charset="2"/>
                        </a:rPr>
                        <a:t> = 0.25 mm</a:t>
                      </a:r>
                    </a:p>
                    <a:p>
                      <a:pPr defTabSz="180975"/>
                      <a:r>
                        <a:rPr lang="sv-SE" sz="1400" b="0" i="0" baseline="0" dirty="0" smtClean="0">
                          <a:solidFill>
                            <a:srgbClr val="000000"/>
                          </a:solidFill>
                          <a:sym typeface="Wingdings" panose="05000000000000000000" pitchFamily="2" charset="2"/>
                        </a:rPr>
                        <a:t>dry</a:t>
                      </a:r>
                      <a:endParaRPr lang="sv-SE" sz="1400" b="0" i="0" dirty="0" smtClean="0">
                        <a:solidFill>
                          <a:srgbClr val="000000"/>
                        </a:solidFill>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872586">
                <a:tc>
                  <a:txBody>
                    <a:bodyPr/>
                    <a:lstStyle/>
                    <a:p>
                      <a:pPr algn="l"/>
                      <a:r>
                        <a:rPr lang="de-CH" sz="1400" b="1" dirty="0" err="1" smtClean="0"/>
                        <a:t>Benefit</a:t>
                      </a:r>
                      <a:r>
                        <a:rPr lang="de-CH" sz="1400" b="1" dirty="0" smtClean="0"/>
                        <a:t>:</a:t>
                      </a:r>
                    </a:p>
                    <a:p>
                      <a:pPr algn="l"/>
                      <a:r>
                        <a:rPr lang="de-CH" sz="1400" dirty="0" smtClean="0"/>
                        <a:t>+60% </a:t>
                      </a:r>
                      <a:r>
                        <a:rPr lang="de-CH" sz="1400" dirty="0" err="1" smtClean="0"/>
                        <a:t>tool</a:t>
                      </a:r>
                      <a:r>
                        <a:rPr lang="de-CH" sz="1400" dirty="0" smtClean="0"/>
                        <a:t> </a:t>
                      </a:r>
                      <a:r>
                        <a:rPr lang="de-CH" sz="1400" dirty="0" err="1" smtClean="0"/>
                        <a:t>life</a:t>
                      </a:r>
                      <a:r>
                        <a:rPr lang="de-CH" sz="1400" dirty="0" smtClean="0"/>
                        <a:t> at high </a:t>
                      </a:r>
                      <a:r>
                        <a:rPr lang="de-CH" sz="1400" dirty="0" err="1" smtClean="0"/>
                        <a:t>cutting</a:t>
                      </a:r>
                      <a:r>
                        <a:rPr lang="de-CH" sz="1400" dirty="0" smtClean="0"/>
                        <a:t> </a:t>
                      </a:r>
                      <a:r>
                        <a:rPr lang="de-CH" sz="1400" dirty="0" err="1" smtClean="0"/>
                        <a:t>speed</a:t>
                      </a:r>
                      <a:endParaRPr lang="de-CH" sz="1400" dirty="0" smtClean="0"/>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66250">
                <a:tc>
                  <a:txBody>
                    <a:bodyPr/>
                    <a:lstStyle/>
                    <a:p>
                      <a:pPr algn="l"/>
                      <a:r>
                        <a:rPr lang="de-CH" sz="1400" b="1" dirty="0" smtClean="0"/>
                        <a:t>Source:</a:t>
                      </a:r>
                    </a:p>
                    <a:p>
                      <a:pPr algn="l"/>
                      <a:r>
                        <a:rPr lang="de-CH" sz="1400" dirty="0" smtClean="0"/>
                        <a:t>Oerlikon Balzers  </a:t>
                      </a:r>
                    </a:p>
                    <a:p>
                      <a:pPr algn="l"/>
                      <a:r>
                        <a:rPr lang="de-CH" sz="1400" dirty="0" smtClean="0"/>
                        <a:t>WZL Aachen</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r>
            </a:tbl>
          </a:graphicData>
        </a:graphic>
      </p:graphicFrame>
      <p:sp>
        <p:nvSpPr>
          <p:cNvPr id="265218" name="Text Box 2"/>
          <p:cNvSpPr txBox="1">
            <a:spLocks noChangeArrowheads="1"/>
          </p:cNvSpPr>
          <p:nvPr/>
        </p:nvSpPr>
        <p:spPr bwMode="auto">
          <a:xfrm>
            <a:off x="468313" y="1816100"/>
            <a:ext cx="1841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auto">
              <a:spcBef>
                <a:spcPts val="0"/>
              </a:spcBef>
              <a:spcAft>
                <a:spcPts val="0"/>
              </a:spcAft>
            </a:pPr>
            <a:endParaRPr lang="en-GB" sz="1600">
              <a:solidFill>
                <a:prstClr val="black"/>
              </a:solidFill>
              <a:latin typeface="Arial"/>
            </a:endParaRPr>
          </a:p>
        </p:txBody>
      </p:sp>
      <p:sp>
        <p:nvSpPr>
          <p:cNvPr id="2" name="Titel 1"/>
          <p:cNvSpPr>
            <a:spLocks noGrp="1"/>
          </p:cNvSpPr>
          <p:nvPr>
            <p:ph type="title"/>
          </p:nvPr>
        </p:nvSpPr>
        <p:spPr>
          <a:xfrm>
            <a:off x="285560" y="142877"/>
            <a:ext cx="7724584" cy="909635"/>
          </a:xfrm>
        </p:spPr>
        <p:txBody>
          <a:bodyPr/>
          <a:lstStyle/>
          <a:p>
            <a:r>
              <a:rPr lang="en-GB" dirty="0" smtClean="0"/>
              <a:t>Lab tests: convincing </a:t>
            </a:r>
            <a:r>
              <a:rPr lang="en-GB" dirty="0"/>
              <a:t>results at </a:t>
            </a:r>
            <a:r>
              <a:rPr lang="en-GB" dirty="0" smtClean="0"/>
              <a:t>high-speed cutting</a:t>
            </a:r>
            <a:br>
              <a:rPr lang="en-GB" dirty="0" smtClean="0"/>
            </a:br>
            <a:r>
              <a:rPr lang="zh-CN" altLang="en-US" dirty="0"/>
              <a:t>实验</a:t>
            </a:r>
            <a:r>
              <a:rPr lang="zh-CN" altLang="en-US" dirty="0" smtClean="0"/>
              <a:t>室测试：在高速加工中令人信服的结果</a:t>
            </a:r>
            <a:endParaRPr lang="de-DE" dirty="0"/>
          </a:p>
        </p:txBody>
      </p:sp>
      <p:sp>
        <p:nvSpPr>
          <p:cNvPr id="18" name="Rectangle 12"/>
          <p:cNvSpPr/>
          <p:nvPr/>
        </p:nvSpPr>
        <p:spPr>
          <a:xfrm>
            <a:off x="539750" y="1204913"/>
            <a:ext cx="1530350" cy="276999"/>
          </a:xfrm>
          <a:prstGeom prst="rect">
            <a:avLst/>
          </a:prstGeom>
        </p:spPr>
        <p:txBody>
          <a:bodyPr wrap="square" lIns="0">
            <a:spAutoFit/>
          </a:bodyPr>
          <a:lstStyle/>
          <a:p>
            <a:pPr fontAlgn="auto">
              <a:spcBef>
                <a:spcPts val="0"/>
              </a:spcBef>
              <a:spcAft>
                <a:spcPts val="0"/>
              </a:spcAft>
            </a:pPr>
            <a:r>
              <a:rPr lang="en-GB" sz="1200" dirty="0" smtClean="0">
                <a:solidFill>
                  <a:srgbClr val="000000"/>
                </a:solidFill>
                <a:latin typeface="Arial"/>
              </a:rPr>
              <a:t>Tool life (m/tooth)</a:t>
            </a:r>
          </a:p>
        </p:txBody>
      </p:sp>
      <p:graphicFrame>
        <p:nvGraphicFramePr>
          <p:cNvPr id="12" name="Object 11"/>
          <p:cNvGraphicFramePr>
            <a:graphicFrameLocks/>
          </p:cNvGraphicFramePr>
          <p:nvPr>
            <p:custDataLst>
              <p:tags r:id="rId4"/>
            </p:custDataLst>
            <p:extLst>
              <p:ext uri="{D42A27DB-BD31-4B8C-83A1-F6EECF244321}">
                <p14:modId xmlns:p14="http://schemas.microsoft.com/office/powerpoint/2010/main" val="3322738439"/>
              </p:ext>
            </p:extLst>
          </p:nvPr>
        </p:nvGraphicFramePr>
        <p:xfrm>
          <a:off x="609599" y="1409700"/>
          <a:ext cx="5219779" cy="4714943"/>
        </p:xfrm>
        <a:graphic>
          <a:graphicData uri="http://schemas.openxmlformats.org/presentationml/2006/ole">
            <mc:AlternateContent xmlns:mc="http://schemas.openxmlformats.org/markup-compatibility/2006">
              <mc:Choice xmlns:v="urn:schemas-microsoft-com:vml" Requires="v">
                <p:oleObj spid="_x0000_s201767" name="Chart" r:id="rId15" imgW="5219633" imgH="4714943" progId="MSGraph.Chart.8">
                  <p:embed followColorScheme="full"/>
                </p:oleObj>
              </mc:Choice>
              <mc:Fallback>
                <p:oleObj name="Chart" r:id="rId15" imgW="5219633" imgH="4714943" progId="MSGraph.Chart.8">
                  <p:embed followColorScheme="full"/>
                  <p:pic>
                    <p:nvPicPr>
                      <p:cNvPr id="0" name=""/>
                      <p:cNvPicPr/>
                      <p:nvPr/>
                    </p:nvPicPr>
                    <p:blipFill>
                      <a:blip r:embed="rId16"/>
                      <a:stretch>
                        <a:fillRect/>
                      </a:stretch>
                    </p:blipFill>
                    <p:spPr>
                      <a:xfrm>
                        <a:off x="609599" y="1409700"/>
                        <a:ext cx="5219779" cy="4714943"/>
                      </a:xfrm>
                      <a:prstGeom prst="rect">
                        <a:avLst/>
                      </a:prstGeom>
                    </p:spPr>
                  </p:pic>
                </p:oleObj>
              </mc:Fallback>
            </mc:AlternateContent>
          </a:graphicData>
        </a:graphic>
      </p:graphicFrame>
      <p:cxnSp>
        <p:nvCxnSpPr>
          <p:cNvPr id="10" name="Gerade Verbindung 9"/>
          <p:cNvCxnSpPr/>
          <p:nvPr>
            <p:custDataLst>
              <p:tags r:id="rId5"/>
            </p:custDataLst>
          </p:nvPr>
        </p:nvCxnSpPr>
        <p:spPr bwMode="gray">
          <a:xfrm>
            <a:off x="2200275" y="1724025"/>
            <a:ext cx="2347913"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custDataLst>
              <p:tags r:id="rId6"/>
            </p:custDataLst>
          </p:nvPr>
        </p:nvCxnSpPr>
        <p:spPr bwMode="gray">
          <a:xfrm>
            <a:off x="4548188" y="1724025"/>
            <a:ext cx="0" cy="152400"/>
          </a:xfrm>
          <a:prstGeom prst="line">
            <a:avLst/>
          </a:prstGeom>
          <a:ln w="12700">
            <a:solidFill>
              <a:schemeClr val="bg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p:custDataLst>
              <p:tags r:id="rId7"/>
            </p:custDataLst>
          </p:nvPr>
        </p:nvCxnSpPr>
        <p:spPr bwMode="gray">
          <a:xfrm flipV="1">
            <a:off x="2200275" y="1724025"/>
            <a:ext cx="0" cy="1590675"/>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 name="Ellipse 6"/>
          <p:cNvSpPr/>
          <p:nvPr>
            <p:custDataLst>
              <p:tags r:id="rId8"/>
            </p:custDataLst>
          </p:nvPr>
        </p:nvSpPr>
        <p:spPr bwMode="auto">
          <a:xfrm>
            <a:off x="3049588" y="1587500"/>
            <a:ext cx="649288" cy="273050"/>
          </a:xfrm>
          <a:prstGeom prst="ellipse">
            <a:avLst/>
          </a:prstGeom>
          <a:solidFill>
            <a:srgbClr val="FFFFFF"/>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0"/>
              </a:spcAft>
            </a:pPr>
            <a:r>
              <a:rPr lang="en-US" sz="1400" b="1" dirty="0" smtClean="0">
                <a:solidFill>
                  <a:srgbClr val="000000"/>
                </a:solidFill>
              </a:rPr>
              <a:t>+60%</a:t>
            </a:r>
            <a:endParaRPr lang="en-US" sz="1400" b="1" dirty="0" smtClean="0">
              <a:solidFill>
                <a:srgbClr val="000000"/>
              </a:solidFill>
              <a:sym typeface="HelveticaNeueLT Com 45 Lt"/>
            </a:endParaRPr>
          </a:p>
        </p:txBody>
      </p:sp>
      <p:sp>
        <p:nvSpPr>
          <p:cNvPr id="28" name="Rechteck 27"/>
          <p:cNvSpPr/>
          <p:nvPr>
            <p:custDataLst>
              <p:tags r:id="rId9"/>
            </p:custDataLst>
          </p:nvPr>
        </p:nvSpPr>
        <p:spPr bwMode="auto">
          <a:xfrm>
            <a:off x="3709988" y="5991226"/>
            <a:ext cx="167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r>
              <a:rPr lang="en-US" sz="1400" b="1" dirty="0"/>
              <a:t>BALINIT</a:t>
            </a:r>
            <a:r>
              <a:rPr lang="en-US" sz="1400" b="1" baseline="30000" dirty="0" smtClean="0"/>
              <a:t>® </a:t>
            </a:r>
            <a:r>
              <a:rPr lang="en-US" sz="1400" b="1" dirty="0" smtClean="0"/>
              <a:t>ALTENSA</a:t>
            </a:r>
            <a:endParaRPr lang="de-CH" sz="1400" b="1" dirty="0" smtClean="0">
              <a:solidFill>
                <a:prstClr val="black"/>
              </a:solidFill>
              <a:latin typeface="Arial"/>
              <a:sym typeface="Arial"/>
            </a:endParaRPr>
          </a:p>
        </p:txBody>
      </p:sp>
      <p:sp>
        <p:nvSpPr>
          <p:cNvPr id="29" name="Rechteck 28"/>
          <p:cNvSpPr/>
          <p:nvPr>
            <p:custDataLst>
              <p:tags r:id="rId10"/>
            </p:custDataLst>
          </p:nvPr>
        </p:nvSpPr>
        <p:spPr bwMode="auto">
          <a:xfrm>
            <a:off x="1117600" y="5991225"/>
            <a:ext cx="2166938" cy="42545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r>
              <a:rPr lang="en-US" sz="1400" b="1" dirty="0"/>
              <a:t>BALINIT</a:t>
            </a:r>
            <a:r>
              <a:rPr lang="en-US" sz="1400" b="1" baseline="30000" dirty="0"/>
              <a:t>®</a:t>
            </a:r>
            <a:r>
              <a:rPr lang="en-US" sz="1400" b="1" dirty="0"/>
              <a:t> </a:t>
            </a:r>
            <a:r>
              <a:rPr lang="en-US" sz="1400" b="1" dirty="0" smtClean="0"/>
              <a:t>ALCRONA PRO</a:t>
            </a:r>
            <a:endParaRPr lang="en-US" sz="1400" b="1" dirty="0"/>
          </a:p>
          <a:p>
            <a:pPr algn="ctr" fontAlgn="auto">
              <a:spcBef>
                <a:spcPts val="0"/>
              </a:spcBef>
              <a:spcAft>
                <a:spcPts val="0"/>
              </a:spcAft>
            </a:pPr>
            <a:endParaRPr lang="de-CH" sz="1400" b="1" dirty="0" smtClean="0">
              <a:solidFill>
                <a:srgbClr val="000000"/>
              </a:solidFill>
              <a:latin typeface="Arial"/>
              <a:sym typeface="Arial"/>
            </a:endParaRPr>
          </a:p>
        </p:txBody>
      </p:sp>
      <p:pic>
        <p:nvPicPr>
          <p:cNvPr id="19" name="Picture 24"/>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rot="10800000">
            <a:off x="7524328" y="4963713"/>
            <a:ext cx="1569100" cy="1569100"/>
          </a:xfrm>
          <a:prstGeom prst="ellipse">
            <a:avLst/>
          </a:prstGeom>
          <a:noFill/>
          <a:ln>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553044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13433366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2790" name="think-cell Folie" r:id="rId25" imgW="270" imgH="270" progId="TCLayout.ActiveDocument.1">
                  <p:embed/>
                </p:oleObj>
              </mc:Choice>
              <mc:Fallback>
                <p:oleObj name="think-cell Folie" r:id="rId25" imgW="270" imgH="270" progId="TCLayout.ActiveDocument.1">
                  <p:embed/>
                  <p:pic>
                    <p:nvPicPr>
                      <p:cNvPr id="0" name=""/>
                      <p:cNvPicPr/>
                      <p:nvPr/>
                    </p:nvPicPr>
                    <p:blipFill>
                      <a:blip r:embed="rId26"/>
                      <a:stretch>
                        <a:fillRect/>
                      </a:stretch>
                    </p:blipFill>
                    <p:spPr>
                      <a:xfrm>
                        <a:off x="0" y="0"/>
                        <a:ext cx="158750" cy="158750"/>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de-CH" sz="1400" b="1" smtClean="0">
              <a:solidFill>
                <a:prstClr val="black"/>
              </a:solidFill>
              <a:latin typeface="Arial"/>
              <a:sym typeface="Arial"/>
            </a:endParaRPr>
          </a:p>
        </p:txBody>
      </p:sp>
      <p:sp>
        <p:nvSpPr>
          <p:cNvPr id="36" name="Rechteck 35"/>
          <p:cNvSpPr/>
          <p:nvPr/>
        </p:nvSpPr>
        <p:spPr>
          <a:xfrm>
            <a:off x="395288" y="1062038"/>
            <a:ext cx="5508625" cy="5246687"/>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fontAlgn="auto">
              <a:spcBef>
                <a:spcPts val="300"/>
              </a:spcBef>
              <a:spcAft>
                <a:spcPts val="300"/>
              </a:spcAft>
            </a:pPr>
            <a:endParaRPr lang="de-CH" b="1" smtClean="0">
              <a:solidFill>
                <a:prstClr val="black"/>
              </a:solidFill>
            </a:endParaRPr>
          </a:p>
        </p:txBody>
      </p:sp>
      <p:graphicFrame>
        <p:nvGraphicFramePr>
          <p:cNvPr id="16" name="Tabelle 15"/>
          <p:cNvGraphicFramePr>
            <a:graphicFrameLocks noGrp="1"/>
          </p:cNvGraphicFramePr>
          <p:nvPr>
            <p:extLst>
              <p:ext uri="{D42A27DB-BD31-4B8C-83A1-F6EECF244321}">
                <p14:modId xmlns:p14="http://schemas.microsoft.com/office/powerpoint/2010/main" val="4152972733"/>
              </p:ext>
            </p:extLst>
          </p:nvPr>
        </p:nvGraphicFramePr>
        <p:xfrm>
          <a:off x="6091319" y="1052514"/>
          <a:ext cx="2657394" cy="5223434"/>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657394"/>
              </a:tblGrid>
              <a:tr h="900000">
                <a:tc>
                  <a:txBody>
                    <a:bodyPr/>
                    <a:lstStyle/>
                    <a:p>
                      <a:pPr algn="l"/>
                      <a:r>
                        <a:rPr lang="de-CH" sz="1400" b="1" dirty="0" smtClean="0">
                          <a:solidFill>
                            <a:sysClr val="windowText" lastClr="000000"/>
                          </a:solidFill>
                        </a:rPr>
                        <a:t>Tool:</a:t>
                      </a:r>
                    </a:p>
                    <a:p>
                      <a:pPr marL="0" algn="l" defTabSz="914400" rtl="0" eaLnBrk="1" latinLnBrk="0" hangingPunct="1"/>
                      <a:r>
                        <a:rPr lang="en-GB" sz="1400" b="0" kern="1200" dirty="0" smtClean="0">
                          <a:solidFill>
                            <a:schemeClr val="tx1"/>
                          </a:solidFill>
                          <a:latin typeface="+mn-lt"/>
                          <a:ea typeface="+mn-ea"/>
                          <a:cs typeface="+mn-cs"/>
                        </a:rPr>
                        <a:t>PM-HSS hob (S390)</a:t>
                      </a:r>
                    </a:p>
                    <a:p>
                      <a:pPr algn="l"/>
                      <a:r>
                        <a:rPr lang="en-GB" sz="1400" b="0" dirty="0" smtClean="0">
                          <a:solidFill>
                            <a:schemeClr val="tx1"/>
                          </a:solidFill>
                        </a:rPr>
                        <a:t>D = 90 mm</a:t>
                      </a:r>
                      <a:endParaRPr lang="de-CH" sz="1400" b="0" dirty="0" smtClean="0">
                        <a:solidFill>
                          <a:schemeClr val="tx1"/>
                        </a:solidFill>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900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b="1" dirty="0" err="1" smtClean="0"/>
                        <a:t>Workpiece</a:t>
                      </a:r>
                      <a:r>
                        <a:rPr lang="de-CH" sz="1400" b="1" dirty="0" smtClean="0"/>
                        <a:t>:</a:t>
                      </a:r>
                    </a:p>
                    <a:p>
                      <a:pPr defTabSz="180975"/>
                      <a:r>
                        <a:rPr lang="en-GB" sz="1400" b="0" i="0" dirty="0" smtClean="0">
                          <a:solidFill>
                            <a:srgbClr val="000000"/>
                          </a:solidFill>
                        </a:rPr>
                        <a:t>Steel 1.7131</a:t>
                      </a:r>
                      <a:r>
                        <a:rPr lang="en-GB" sz="1400" b="0" i="0" baseline="0" dirty="0" smtClean="0">
                          <a:solidFill>
                            <a:srgbClr val="000000"/>
                          </a:solidFill>
                        </a:rPr>
                        <a:t> (</a:t>
                      </a:r>
                      <a:r>
                        <a:rPr lang="en-GB" sz="1400" b="0" i="0" dirty="0" err="1" smtClean="0">
                          <a:solidFill>
                            <a:srgbClr val="000000"/>
                          </a:solidFill>
                        </a:rPr>
                        <a:t>AlSI</a:t>
                      </a:r>
                      <a:r>
                        <a:rPr lang="en-GB" sz="1400" b="0" i="0" dirty="0" smtClean="0">
                          <a:solidFill>
                            <a:srgbClr val="000000"/>
                          </a:solidFill>
                        </a:rPr>
                        <a:t> 5115)</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1512590">
                <a:tc>
                  <a:txBody>
                    <a:bodyPr/>
                    <a:lstStyle/>
                    <a:p>
                      <a:pPr algn="l"/>
                      <a:r>
                        <a:rPr lang="de-CH" sz="1400" b="1" dirty="0" err="1" smtClean="0"/>
                        <a:t>Cutting</a:t>
                      </a:r>
                      <a:r>
                        <a:rPr lang="de-CH" sz="1400" b="1" dirty="0" smtClean="0"/>
                        <a:t> </a:t>
                      </a:r>
                      <a:r>
                        <a:rPr lang="de-CH" sz="1400" b="1" dirty="0" err="1" smtClean="0"/>
                        <a:t>data</a:t>
                      </a:r>
                      <a:r>
                        <a:rPr lang="de-CH" sz="1400" b="1" dirty="0" smtClean="0"/>
                        <a:t>:</a:t>
                      </a:r>
                    </a:p>
                    <a:p>
                      <a:pPr defTabSz="180975"/>
                      <a:r>
                        <a:rPr lang="sv-SE" sz="1400" b="1" i="0" dirty="0" smtClean="0">
                          <a:solidFill>
                            <a:schemeClr val="bg2"/>
                          </a:solidFill>
                        </a:rPr>
                        <a:t>v</a:t>
                      </a:r>
                      <a:r>
                        <a:rPr lang="sv-SE" sz="1400" b="1" i="0" baseline="-25000" dirty="0" smtClean="0">
                          <a:solidFill>
                            <a:schemeClr val="bg2"/>
                          </a:solidFill>
                        </a:rPr>
                        <a:t>c</a:t>
                      </a:r>
                      <a:r>
                        <a:rPr lang="sv-SE" sz="1400" b="1" i="0" dirty="0" smtClean="0">
                          <a:solidFill>
                            <a:schemeClr val="bg2"/>
                          </a:solidFill>
                        </a:rPr>
                        <a:t>= 200</a:t>
                      </a:r>
                      <a:r>
                        <a:rPr lang="sv-SE" sz="1400" b="1" i="0" baseline="0" dirty="0" smtClean="0">
                          <a:solidFill>
                            <a:schemeClr val="bg2"/>
                          </a:solidFill>
                        </a:rPr>
                        <a:t> </a:t>
                      </a:r>
                      <a:r>
                        <a:rPr lang="sv-SE" sz="1400" b="1" i="0" baseline="0" dirty="0" smtClean="0">
                          <a:solidFill>
                            <a:schemeClr val="bg2"/>
                          </a:solidFill>
                          <a:sym typeface="Wingdings" panose="05000000000000000000" pitchFamily="2" charset="2"/>
                        </a:rPr>
                        <a:t> v</a:t>
                      </a:r>
                      <a:r>
                        <a:rPr lang="sv-SE" sz="1400" b="1" i="0" baseline="-25000" dirty="0" smtClean="0">
                          <a:solidFill>
                            <a:schemeClr val="bg2"/>
                          </a:solidFill>
                          <a:sym typeface="Wingdings" panose="05000000000000000000" pitchFamily="2" charset="2"/>
                        </a:rPr>
                        <a:t>c</a:t>
                      </a:r>
                      <a:r>
                        <a:rPr lang="sv-SE" sz="1400" b="1" i="0" baseline="0" dirty="0" smtClean="0">
                          <a:solidFill>
                            <a:schemeClr val="bg2"/>
                          </a:solidFill>
                          <a:sym typeface="Wingdings" panose="05000000000000000000" pitchFamily="2" charset="2"/>
                        </a:rPr>
                        <a:t> = 260</a:t>
                      </a:r>
                    </a:p>
                    <a:p>
                      <a:pPr defTabSz="180975"/>
                      <a:r>
                        <a:rPr lang="sv-SE" sz="1400" b="0" i="0" baseline="0" dirty="0" smtClean="0">
                          <a:solidFill>
                            <a:srgbClr val="000000"/>
                          </a:solidFill>
                          <a:sym typeface="Wingdings" panose="05000000000000000000" pitchFamily="2" charset="2"/>
                        </a:rPr>
                        <a:t>m</a:t>
                      </a:r>
                      <a:r>
                        <a:rPr lang="sv-SE" sz="1400" b="0" i="0" baseline="-25000" dirty="0" smtClean="0">
                          <a:solidFill>
                            <a:srgbClr val="000000"/>
                          </a:solidFill>
                          <a:sym typeface="Wingdings" panose="05000000000000000000" pitchFamily="2" charset="2"/>
                        </a:rPr>
                        <a:t>n</a:t>
                      </a:r>
                      <a:r>
                        <a:rPr lang="sv-SE" sz="1400" b="0" i="0" baseline="0" dirty="0" smtClean="0">
                          <a:solidFill>
                            <a:srgbClr val="000000"/>
                          </a:solidFill>
                          <a:sym typeface="Wingdings" panose="05000000000000000000" pitchFamily="2" charset="2"/>
                        </a:rPr>
                        <a:t> = 1.62</a:t>
                      </a:r>
                    </a:p>
                    <a:p>
                      <a:pPr defTabSz="180975"/>
                      <a:r>
                        <a:rPr lang="sv-SE" sz="1400" b="0" i="0" baseline="0" dirty="0" smtClean="0">
                          <a:solidFill>
                            <a:srgbClr val="000000"/>
                          </a:solidFill>
                          <a:sym typeface="Wingdings" panose="05000000000000000000" pitchFamily="2" charset="2"/>
                        </a:rPr>
                        <a:t>f</a:t>
                      </a:r>
                      <a:r>
                        <a:rPr lang="sv-SE" sz="1400" b="0" i="0" baseline="-25000" dirty="0" smtClean="0">
                          <a:solidFill>
                            <a:srgbClr val="000000"/>
                          </a:solidFill>
                          <a:sym typeface="Wingdings" panose="05000000000000000000" pitchFamily="2" charset="2"/>
                        </a:rPr>
                        <a:t>a</a:t>
                      </a:r>
                      <a:r>
                        <a:rPr lang="sv-SE" sz="1400" b="0" i="0" baseline="0" dirty="0" smtClean="0">
                          <a:solidFill>
                            <a:srgbClr val="000000"/>
                          </a:solidFill>
                          <a:sym typeface="Wingdings" panose="05000000000000000000" pitchFamily="2" charset="2"/>
                        </a:rPr>
                        <a:t> = 6.0 mm</a:t>
                      </a:r>
                    </a:p>
                    <a:p>
                      <a:pPr defTabSz="180975"/>
                      <a:r>
                        <a:rPr lang="sv-SE" sz="1400" b="0" i="0" baseline="0" dirty="0" smtClean="0">
                          <a:solidFill>
                            <a:srgbClr val="000000"/>
                          </a:solidFill>
                          <a:sym typeface="Wingdings" panose="05000000000000000000" pitchFamily="2" charset="2"/>
                        </a:rPr>
                        <a:t>dry</a:t>
                      </a:r>
                      <a:endParaRPr lang="sv-SE" sz="1400" b="0" i="0" dirty="0" smtClean="0">
                        <a:solidFill>
                          <a:srgbClr val="000000"/>
                        </a:solidFill>
                      </a:endParaRPr>
                    </a:p>
                    <a:p>
                      <a:pPr defTabSz="180975"/>
                      <a:r>
                        <a:rPr lang="sv-SE" sz="1400" b="0" i="0" dirty="0" smtClean="0">
                          <a:solidFill>
                            <a:srgbClr val="000000"/>
                          </a:solidFill>
                        </a:rPr>
                        <a:t>Gearbox for passenger car</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44594">
                <a:tc>
                  <a:txBody>
                    <a:bodyPr/>
                    <a:lstStyle/>
                    <a:p>
                      <a:pPr algn="l"/>
                      <a:r>
                        <a:rPr lang="de-CH" sz="1400" b="1" dirty="0" err="1" smtClean="0"/>
                        <a:t>Benefit</a:t>
                      </a:r>
                      <a:r>
                        <a:rPr lang="de-CH" sz="1400" b="1" dirty="0" smtClean="0"/>
                        <a:t>:</a:t>
                      </a:r>
                    </a:p>
                    <a:p>
                      <a:pPr algn="l"/>
                      <a:r>
                        <a:rPr lang="de-CH" sz="1400" dirty="0" smtClean="0"/>
                        <a:t>+30% </a:t>
                      </a:r>
                      <a:r>
                        <a:rPr lang="de-CH" sz="1400" dirty="0" err="1" smtClean="0"/>
                        <a:t>cutting</a:t>
                      </a:r>
                      <a:r>
                        <a:rPr lang="de-CH" sz="1400" dirty="0" smtClean="0"/>
                        <a:t> </a:t>
                      </a:r>
                      <a:r>
                        <a:rPr lang="de-CH" sz="1400" dirty="0" err="1" smtClean="0"/>
                        <a:t>speed</a:t>
                      </a:r>
                      <a:r>
                        <a:rPr lang="de-CH" sz="1400" baseline="0" dirty="0" smtClean="0"/>
                        <a:t> </a:t>
                      </a:r>
                      <a:r>
                        <a:rPr lang="de-CH" sz="1400" baseline="0" dirty="0" err="1" smtClean="0"/>
                        <a:t>and</a:t>
                      </a:r>
                      <a:r>
                        <a:rPr lang="de-CH" sz="1400" baseline="0" dirty="0" smtClean="0"/>
                        <a:t> &gt; 20% </a:t>
                      </a:r>
                      <a:r>
                        <a:rPr lang="de-CH" sz="1400" baseline="0" dirty="0" err="1" smtClean="0"/>
                        <a:t>longer</a:t>
                      </a:r>
                      <a:r>
                        <a:rPr lang="de-CH" sz="1400" baseline="0" dirty="0" smtClean="0"/>
                        <a:t> </a:t>
                      </a:r>
                      <a:r>
                        <a:rPr lang="de-CH" sz="1400" baseline="0" dirty="0" err="1" smtClean="0"/>
                        <a:t>tool</a:t>
                      </a:r>
                      <a:r>
                        <a:rPr lang="de-CH" sz="1400" baseline="0" dirty="0" smtClean="0"/>
                        <a:t> </a:t>
                      </a:r>
                      <a:r>
                        <a:rPr lang="de-CH" sz="1400" baseline="0" dirty="0" err="1" smtClean="0"/>
                        <a:t>life</a:t>
                      </a:r>
                      <a:r>
                        <a:rPr lang="de-CH" sz="1400" baseline="0" dirty="0" smtClean="0"/>
                        <a:t> </a:t>
                      </a:r>
                      <a:endParaRPr lang="de-CH" sz="1400" dirty="0" smtClean="0"/>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66250">
                <a:tc>
                  <a:txBody>
                    <a:bodyPr/>
                    <a:lstStyle/>
                    <a:p>
                      <a:pPr algn="l"/>
                      <a:r>
                        <a:rPr lang="de-CH" sz="1400" b="1" dirty="0" smtClean="0"/>
                        <a:t>Source:</a:t>
                      </a:r>
                    </a:p>
                    <a:p>
                      <a:pPr algn="l"/>
                      <a:r>
                        <a:rPr lang="de-CH" sz="1400" dirty="0" smtClean="0"/>
                        <a:t>Automotive </a:t>
                      </a:r>
                    </a:p>
                    <a:p>
                      <a:pPr algn="l"/>
                      <a:r>
                        <a:rPr lang="de-CH" sz="1400" dirty="0" smtClean="0"/>
                        <a:t>Enduser</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r>
            </a:tbl>
          </a:graphicData>
        </a:graphic>
      </p:graphicFrame>
      <p:sp>
        <p:nvSpPr>
          <p:cNvPr id="265218" name="Text Box 2"/>
          <p:cNvSpPr txBox="1">
            <a:spLocks noChangeArrowheads="1"/>
          </p:cNvSpPr>
          <p:nvPr/>
        </p:nvSpPr>
        <p:spPr bwMode="auto">
          <a:xfrm>
            <a:off x="468313" y="1816100"/>
            <a:ext cx="1841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auto">
              <a:spcBef>
                <a:spcPts val="0"/>
              </a:spcBef>
              <a:spcAft>
                <a:spcPts val="0"/>
              </a:spcAft>
            </a:pPr>
            <a:endParaRPr lang="en-GB" sz="1600">
              <a:solidFill>
                <a:prstClr val="black"/>
              </a:solidFill>
              <a:latin typeface="Arial"/>
            </a:endParaRPr>
          </a:p>
        </p:txBody>
      </p:sp>
      <p:sp>
        <p:nvSpPr>
          <p:cNvPr id="2" name="Titel 1"/>
          <p:cNvSpPr>
            <a:spLocks noGrp="1"/>
          </p:cNvSpPr>
          <p:nvPr>
            <p:ph type="title"/>
          </p:nvPr>
        </p:nvSpPr>
        <p:spPr>
          <a:xfrm>
            <a:off x="395288" y="142877"/>
            <a:ext cx="7322248" cy="909635"/>
          </a:xfrm>
        </p:spPr>
        <p:txBody>
          <a:bodyPr/>
          <a:lstStyle/>
          <a:p>
            <a:r>
              <a:rPr lang="en-GB" sz="2000" dirty="0" smtClean="0"/>
              <a:t>Customer test 1: 30% increase in cutting speed results in 20% longer tool life</a:t>
            </a:r>
            <a:br>
              <a:rPr lang="en-GB" sz="2000" dirty="0" smtClean="0"/>
            </a:br>
            <a:r>
              <a:rPr lang="zh-CN" altLang="en-US" sz="2000" dirty="0"/>
              <a:t>客</a:t>
            </a:r>
            <a:r>
              <a:rPr lang="zh-CN" altLang="en-US" sz="2000" dirty="0" smtClean="0"/>
              <a:t>户测试</a:t>
            </a:r>
            <a:r>
              <a:rPr lang="en-US" altLang="zh-CN" sz="2000" dirty="0" smtClean="0"/>
              <a:t>1</a:t>
            </a:r>
            <a:r>
              <a:rPr lang="zh-CN" altLang="en-US" sz="2000" dirty="0" smtClean="0"/>
              <a:t>：切削速度提高</a:t>
            </a:r>
            <a:r>
              <a:rPr lang="en-US" altLang="zh-CN" sz="2000" dirty="0" smtClean="0"/>
              <a:t>30%</a:t>
            </a:r>
            <a:r>
              <a:rPr lang="zh-CN" altLang="en-US" sz="2000" dirty="0" smtClean="0"/>
              <a:t>，结果提高</a:t>
            </a:r>
            <a:r>
              <a:rPr lang="en-US" altLang="zh-CN" sz="2000" dirty="0" smtClean="0"/>
              <a:t>20%</a:t>
            </a:r>
            <a:r>
              <a:rPr lang="zh-CN" altLang="en-US" sz="2000" dirty="0" smtClean="0"/>
              <a:t>刀具寿命</a:t>
            </a:r>
            <a:r>
              <a:rPr lang="en-GB" sz="2000" dirty="0" smtClean="0"/>
              <a:t> </a:t>
            </a:r>
            <a:endParaRPr lang="de-DE" sz="2000" dirty="0"/>
          </a:p>
        </p:txBody>
      </p:sp>
      <p:graphicFrame>
        <p:nvGraphicFramePr>
          <p:cNvPr id="19" name="Object 18"/>
          <p:cNvGraphicFramePr>
            <a:graphicFrameLocks/>
          </p:cNvGraphicFramePr>
          <p:nvPr>
            <p:custDataLst>
              <p:tags r:id="rId4"/>
            </p:custDataLst>
            <p:extLst>
              <p:ext uri="{D42A27DB-BD31-4B8C-83A1-F6EECF244321}">
                <p14:modId xmlns:p14="http://schemas.microsoft.com/office/powerpoint/2010/main" val="596708620"/>
              </p:ext>
            </p:extLst>
          </p:nvPr>
        </p:nvGraphicFramePr>
        <p:xfrm>
          <a:off x="838200" y="1562100"/>
          <a:ext cx="4990976" cy="4381500"/>
        </p:xfrm>
        <a:graphic>
          <a:graphicData uri="http://schemas.openxmlformats.org/presentationml/2006/ole">
            <mc:AlternateContent xmlns:mc="http://schemas.openxmlformats.org/markup-compatibility/2006">
              <mc:Choice xmlns:v="urn:schemas-microsoft-com:vml" Requires="v">
                <p:oleObj spid="_x0000_s202791" name="Chart" r:id="rId27" imgW="4991167" imgH="4381500" progId="MSGraph.Chart.8">
                  <p:embed followColorScheme="full"/>
                </p:oleObj>
              </mc:Choice>
              <mc:Fallback>
                <p:oleObj name="Chart" r:id="rId27" imgW="4991167" imgH="4381500" progId="MSGraph.Chart.8">
                  <p:embed followColorScheme="full"/>
                  <p:pic>
                    <p:nvPicPr>
                      <p:cNvPr id="0" name=""/>
                      <p:cNvPicPr/>
                      <p:nvPr/>
                    </p:nvPicPr>
                    <p:blipFill>
                      <a:blip r:embed="rId28"/>
                      <a:stretch>
                        <a:fillRect/>
                      </a:stretch>
                    </p:blipFill>
                    <p:spPr>
                      <a:xfrm>
                        <a:off x="838200" y="1562100"/>
                        <a:ext cx="4990976" cy="4381500"/>
                      </a:xfrm>
                      <a:prstGeom prst="rect">
                        <a:avLst/>
                      </a:prstGeom>
                    </p:spPr>
                  </p:pic>
                </p:oleObj>
              </mc:Fallback>
            </mc:AlternateContent>
          </a:graphicData>
        </a:graphic>
      </p:graphicFrame>
      <p:sp>
        <p:nvSpPr>
          <p:cNvPr id="56" name="Text Placeholder 31"/>
          <p:cNvSpPr>
            <a:spLocks noGrp="1"/>
          </p:cNvSpPr>
          <p:nvPr>
            <p:custDataLst>
              <p:tags r:id="rId5"/>
            </p:custDataLst>
          </p:nvPr>
        </p:nvSpPr>
        <p:spPr bwMode="gray">
          <a:xfrm>
            <a:off x="655638" y="4995863"/>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275F3AD6-77DB-418F-9849-DD7477C7DF13}" type="datetime'''4''''''''''''''0''''''''''''''''''''''''''''''''0'">
              <a:rPr lang="en-US" sz="1200">
                <a:latin typeface="Arial"/>
                <a:sym typeface="Arial"/>
              </a:rPr>
              <a:pPr algn="r">
                <a:spcBef>
                  <a:spcPct val="0"/>
                </a:spcBef>
                <a:spcAft>
                  <a:spcPct val="0"/>
                </a:spcAft>
              </a:pPr>
              <a:t>400</a:t>
            </a:fld>
            <a:endParaRPr lang="de-CH" sz="1200" dirty="0">
              <a:latin typeface="Arial"/>
              <a:sym typeface="Arial"/>
            </a:endParaRPr>
          </a:p>
        </p:txBody>
      </p:sp>
      <p:sp>
        <p:nvSpPr>
          <p:cNvPr id="27" name="Text Placeholder 3"/>
          <p:cNvSpPr>
            <a:spLocks noGrp="1"/>
          </p:cNvSpPr>
          <p:nvPr>
            <p:custDataLst>
              <p:tags r:id="rId6"/>
            </p:custDataLst>
          </p:nvPr>
        </p:nvSpPr>
        <p:spPr bwMode="gray">
          <a:xfrm>
            <a:off x="823913" y="5748338"/>
            <a:ext cx="84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62EA7047-15FD-4FFB-AB79-657E3C0825E9}" type="datetime'''''''''''''0'''''''''''''''''''''''''''''''''''''">
              <a:rPr lang="en-US" sz="1200">
                <a:latin typeface="Arial"/>
                <a:sym typeface="Arial"/>
              </a:rPr>
              <a:pPr algn="r">
                <a:spcBef>
                  <a:spcPct val="0"/>
                </a:spcBef>
                <a:spcAft>
                  <a:spcPct val="0"/>
                </a:spcAft>
              </a:pPr>
              <a:t>0</a:t>
            </a:fld>
            <a:endParaRPr lang="de-CH" sz="1200" dirty="0">
              <a:latin typeface="Arial"/>
              <a:sym typeface="Arial"/>
            </a:endParaRPr>
          </a:p>
        </p:txBody>
      </p:sp>
      <p:sp>
        <p:nvSpPr>
          <p:cNvPr id="49" name="Text Placeholder 24"/>
          <p:cNvSpPr>
            <a:spLocks noGrp="1"/>
          </p:cNvSpPr>
          <p:nvPr>
            <p:custDataLst>
              <p:tags r:id="rId7"/>
            </p:custDataLst>
          </p:nvPr>
        </p:nvSpPr>
        <p:spPr bwMode="gray">
          <a:xfrm>
            <a:off x="528638" y="19859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300C4BA9-7BED-4FF4-94A7-CCB3A616B570}" type="datetime'''''''''2,''''''''''''''''''''''0''''''0''''''''''''''0'">
              <a:rPr lang="en-US" sz="1200">
                <a:latin typeface="Arial"/>
                <a:sym typeface="Arial"/>
              </a:rPr>
              <a:pPr algn="r">
                <a:spcBef>
                  <a:spcPct val="0"/>
                </a:spcBef>
                <a:spcAft>
                  <a:spcPct val="0"/>
                </a:spcAft>
              </a:pPr>
              <a:t>2,000</a:t>
            </a:fld>
            <a:endParaRPr lang="de-CH" sz="1200" dirty="0">
              <a:latin typeface="Arial"/>
              <a:sym typeface="Arial"/>
            </a:endParaRPr>
          </a:p>
        </p:txBody>
      </p:sp>
      <p:sp>
        <p:nvSpPr>
          <p:cNvPr id="61" name="Text Placeholder 36"/>
          <p:cNvSpPr>
            <a:spLocks noGrp="1"/>
          </p:cNvSpPr>
          <p:nvPr>
            <p:custDataLst>
              <p:tags r:id="rId8"/>
            </p:custDataLst>
          </p:nvPr>
        </p:nvSpPr>
        <p:spPr bwMode="gray">
          <a:xfrm>
            <a:off x="528638" y="2738438"/>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A37F3EE4-E334-4D42-BBE7-6D0F882034EC}" type="datetime'''''''''''''''''''''''''1'''''''''',6''''''''''00'''''">
              <a:rPr lang="en-US" sz="1200">
                <a:latin typeface="Arial"/>
                <a:sym typeface="Arial"/>
              </a:rPr>
              <a:pPr algn="r">
                <a:spcBef>
                  <a:spcPct val="0"/>
                </a:spcBef>
                <a:spcAft>
                  <a:spcPct val="0"/>
                </a:spcAft>
              </a:pPr>
              <a:t>1,600</a:t>
            </a:fld>
            <a:endParaRPr lang="de-CH" sz="1200" dirty="0">
              <a:latin typeface="Arial"/>
              <a:sym typeface="Arial"/>
            </a:endParaRPr>
          </a:p>
        </p:txBody>
      </p:sp>
      <p:sp>
        <p:nvSpPr>
          <p:cNvPr id="59" name="Text Placeholder 34"/>
          <p:cNvSpPr>
            <a:spLocks noGrp="1"/>
          </p:cNvSpPr>
          <p:nvPr>
            <p:custDataLst>
              <p:tags r:id="rId9"/>
            </p:custDataLst>
          </p:nvPr>
        </p:nvSpPr>
        <p:spPr bwMode="gray">
          <a:xfrm>
            <a:off x="528638" y="349091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BAD88CC2-1D26-4D6D-B480-46946E6D7DA3}" type="datetime'''1'''',''''2''''''''''''''''0''0'''''''''''''">
              <a:rPr lang="en-US" sz="1200">
                <a:latin typeface="Arial"/>
                <a:sym typeface="Arial"/>
              </a:rPr>
              <a:pPr algn="r">
                <a:spcBef>
                  <a:spcPct val="0"/>
                </a:spcBef>
                <a:spcAft>
                  <a:spcPct val="0"/>
                </a:spcAft>
              </a:pPr>
              <a:t>1,200</a:t>
            </a:fld>
            <a:endParaRPr lang="de-CH" sz="1200" dirty="0">
              <a:latin typeface="Arial"/>
              <a:sym typeface="Arial"/>
            </a:endParaRPr>
          </a:p>
        </p:txBody>
      </p:sp>
      <p:sp>
        <p:nvSpPr>
          <p:cNvPr id="58" name="Text Placeholder 33"/>
          <p:cNvSpPr>
            <a:spLocks noGrp="1"/>
          </p:cNvSpPr>
          <p:nvPr>
            <p:custDataLst>
              <p:tags r:id="rId10"/>
            </p:custDataLst>
          </p:nvPr>
        </p:nvSpPr>
        <p:spPr bwMode="gray">
          <a:xfrm>
            <a:off x="655638" y="424338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9A6BCBCC-D9D5-4A47-9298-AC402F442403}" type="datetime'''8''''''''0''''''''''''''''''0'''''''''''''''''''''''''''''">
              <a:rPr lang="en-US" sz="1200">
                <a:latin typeface="Arial"/>
                <a:sym typeface="Arial"/>
              </a:rPr>
              <a:pPr algn="r">
                <a:spcBef>
                  <a:spcPct val="0"/>
                </a:spcBef>
                <a:spcAft>
                  <a:spcPct val="0"/>
                </a:spcAft>
              </a:pPr>
              <a:t>800</a:t>
            </a:fld>
            <a:endParaRPr lang="de-CH" sz="1200" dirty="0">
              <a:latin typeface="Arial"/>
              <a:sym typeface="Arial"/>
            </a:endParaRPr>
          </a:p>
        </p:txBody>
      </p:sp>
      <p:sp>
        <p:nvSpPr>
          <p:cNvPr id="43" name="Textplatzhalter 21"/>
          <p:cNvSpPr>
            <a:spLocks noGrp="1"/>
          </p:cNvSpPr>
          <p:nvPr>
            <p:custDataLst>
              <p:tags r:id="rId11"/>
            </p:custDataLst>
          </p:nvPr>
        </p:nvSpPr>
        <p:spPr bwMode="gray">
          <a:xfrm>
            <a:off x="528638" y="2357438"/>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B6CC9FE9-3F6E-490C-B9AB-5870E8B4254C}" type="datetime'''''''''1'''''',8''''0''''''''''''''''''''''''''''0'''''''''''">
              <a:rPr lang="en-US" sz="1200">
                <a:latin typeface="Arial"/>
                <a:sym typeface="Arial"/>
              </a:rPr>
              <a:pPr algn="r">
                <a:spcBef>
                  <a:spcPct val="0"/>
                </a:spcBef>
                <a:spcAft>
                  <a:spcPct val="0"/>
                </a:spcAft>
              </a:pPr>
              <a:t>1,800</a:t>
            </a:fld>
            <a:endParaRPr lang="de-CH" sz="1200" dirty="0">
              <a:latin typeface="Arial"/>
              <a:sym typeface="Arial"/>
            </a:endParaRPr>
          </a:p>
        </p:txBody>
      </p:sp>
      <p:sp>
        <p:nvSpPr>
          <p:cNvPr id="41" name="Textplatzhalter 19"/>
          <p:cNvSpPr>
            <a:spLocks noGrp="1"/>
          </p:cNvSpPr>
          <p:nvPr>
            <p:custDataLst>
              <p:tags r:id="rId12"/>
            </p:custDataLst>
          </p:nvPr>
        </p:nvSpPr>
        <p:spPr bwMode="gray">
          <a:xfrm>
            <a:off x="528638" y="3862388"/>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A8B158C1-E0B9-4E01-B47C-3806ED31FD47}" type="datetime'1,''''''''0''''''''''0''''''0'''''''''''''''''">
              <a:rPr lang="en-US" sz="1200">
                <a:latin typeface="Arial"/>
                <a:sym typeface="Arial"/>
              </a:rPr>
              <a:pPr algn="r">
                <a:spcBef>
                  <a:spcPct val="0"/>
                </a:spcBef>
                <a:spcAft>
                  <a:spcPct val="0"/>
                </a:spcAft>
              </a:pPr>
              <a:t>1,000</a:t>
            </a:fld>
            <a:endParaRPr lang="de-CH" sz="1200" dirty="0">
              <a:latin typeface="Arial"/>
              <a:sym typeface="Arial"/>
            </a:endParaRPr>
          </a:p>
        </p:txBody>
      </p:sp>
      <p:sp>
        <p:nvSpPr>
          <p:cNvPr id="38" name="Textplatzhalter 17"/>
          <p:cNvSpPr>
            <a:spLocks noGrp="1"/>
          </p:cNvSpPr>
          <p:nvPr>
            <p:custDataLst>
              <p:tags r:id="rId13"/>
            </p:custDataLst>
          </p:nvPr>
        </p:nvSpPr>
        <p:spPr bwMode="gray">
          <a:xfrm>
            <a:off x="655638" y="536733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65BCF5D2-8A13-4231-B88C-66FBEDCEF4A4}" type="datetime'''''2''''''''''''''''0''''''''''''0'''''''''''''''''''''''''">
              <a:rPr lang="en-US" sz="1200">
                <a:latin typeface="Arial"/>
                <a:sym typeface="Arial"/>
              </a:rPr>
              <a:pPr algn="r">
                <a:spcBef>
                  <a:spcPct val="0"/>
                </a:spcBef>
                <a:spcAft>
                  <a:spcPct val="0"/>
                </a:spcAft>
              </a:pPr>
              <a:t>200</a:t>
            </a:fld>
            <a:endParaRPr lang="de-CH" sz="1200" dirty="0">
              <a:latin typeface="Arial"/>
              <a:sym typeface="Arial"/>
            </a:endParaRPr>
          </a:p>
        </p:txBody>
      </p:sp>
      <p:sp>
        <p:nvSpPr>
          <p:cNvPr id="39" name="Textplatzhalter 18"/>
          <p:cNvSpPr>
            <a:spLocks noGrp="1"/>
          </p:cNvSpPr>
          <p:nvPr>
            <p:custDataLst>
              <p:tags r:id="rId14"/>
            </p:custDataLst>
          </p:nvPr>
        </p:nvSpPr>
        <p:spPr bwMode="gray">
          <a:xfrm>
            <a:off x="655638" y="4614863"/>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1730A23E-DA2C-4A63-B10C-579F7DF43C71}" type="datetime'''''''''''''''''''''6''''00'''''''''''''''''''''''''''">
              <a:rPr lang="en-US" sz="1200">
                <a:latin typeface="Arial"/>
                <a:sym typeface="Arial"/>
              </a:rPr>
              <a:pPr algn="r">
                <a:spcBef>
                  <a:spcPct val="0"/>
                </a:spcBef>
                <a:spcAft>
                  <a:spcPct val="0"/>
                </a:spcAft>
              </a:pPr>
              <a:t>600</a:t>
            </a:fld>
            <a:endParaRPr lang="de-CH" sz="1200" dirty="0">
              <a:latin typeface="Arial"/>
              <a:sym typeface="Arial"/>
            </a:endParaRPr>
          </a:p>
        </p:txBody>
      </p:sp>
      <p:sp>
        <p:nvSpPr>
          <p:cNvPr id="42" name="Textplatzhalter 20"/>
          <p:cNvSpPr>
            <a:spLocks noGrp="1"/>
          </p:cNvSpPr>
          <p:nvPr>
            <p:custDataLst>
              <p:tags r:id="rId15"/>
            </p:custDataLst>
          </p:nvPr>
        </p:nvSpPr>
        <p:spPr bwMode="gray">
          <a:xfrm>
            <a:off x="528638" y="310991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2DB5CDF9-DCE7-4DD4-8BC2-1A2C847F1106}" type="datetime'''''''''1'''''''',40''''0'''''''''''''''''''''''''''">
              <a:rPr lang="en-US" sz="1200">
                <a:latin typeface="Arial"/>
                <a:sym typeface="Arial"/>
              </a:rPr>
              <a:pPr algn="r">
                <a:spcBef>
                  <a:spcPct val="0"/>
                </a:spcBef>
                <a:spcAft>
                  <a:spcPct val="0"/>
                </a:spcAft>
              </a:pPr>
              <a:t>1,400</a:t>
            </a:fld>
            <a:endParaRPr lang="de-CH" sz="1200" dirty="0">
              <a:latin typeface="Arial"/>
              <a:sym typeface="Arial"/>
            </a:endParaRPr>
          </a:p>
        </p:txBody>
      </p:sp>
      <p:sp>
        <p:nvSpPr>
          <p:cNvPr id="44" name="Textplatzhalter 22"/>
          <p:cNvSpPr>
            <a:spLocks noGrp="1"/>
          </p:cNvSpPr>
          <p:nvPr>
            <p:custDataLst>
              <p:tags r:id="rId16"/>
            </p:custDataLst>
          </p:nvPr>
        </p:nvSpPr>
        <p:spPr bwMode="gray">
          <a:xfrm>
            <a:off x="528638" y="16049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96CC47E6-59ED-44B3-9694-607450CDDE7E}" type="datetime'''2'''''''''''''''''''''',''2''''''''''''''''0''''''''''0'">
              <a:rPr lang="en-US" sz="1200">
                <a:latin typeface="Arial"/>
                <a:sym typeface="Arial"/>
              </a:rPr>
              <a:pPr algn="r">
                <a:spcBef>
                  <a:spcPct val="0"/>
                </a:spcBef>
                <a:spcAft>
                  <a:spcPct val="0"/>
                </a:spcAft>
              </a:pPr>
              <a:t>2,200</a:t>
            </a:fld>
            <a:endParaRPr lang="de-CH" sz="1200" dirty="0">
              <a:latin typeface="Arial"/>
              <a:sym typeface="Arial"/>
            </a:endParaRPr>
          </a:p>
        </p:txBody>
      </p:sp>
      <p:cxnSp>
        <p:nvCxnSpPr>
          <p:cNvPr id="21" name="Gerade Verbindung 10"/>
          <p:cNvCxnSpPr/>
          <p:nvPr>
            <p:custDataLst>
              <p:tags r:id="rId17"/>
            </p:custDataLst>
          </p:nvPr>
        </p:nvCxnSpPr>
        <p:spPr bwMode="gray">
          <a:xfrm>
            <a:off x="4548188" y="1504950"/>
            <a:ext cx="0" cy="152400"/>
          </a:xfrm>
          <a:prstGeom prst="line">
            <a:avLst/>
          </a:prstGeom>
          <a:ln w="12700">
            <a:solidFill>
              <a:schemeClr val="bg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 Verbindung 9"/>
          <p:cNvCxnSpPr/>
          <p:nvPr>
            <p:custDataLst>
              <p:tags r:id="rId18"/>
            </p:custDataLst>
          </p:nvPr>
        </p:nvCxnSpPr>
        <p:spPr bwMode="gray">
          <a:xfrm>
            <a:off x="2200275" y="1504950"/>
            <a:ext cx="2347913"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Gerade Verbindung 8"/>
          <p:cNvCxnSpPr/>
          <p:nvPr>
            <p:custDataLst>
              <p:tags r:id="rId19"/>
            </p:custDataLst>
          </p:nvPr>
        </p:nvCxnSpPr>
        <p:spPr bwMode="gray">
          <a:xfrm flipV="1">
            <a:off x="2200275" y="1504950"/>
            <a:ext cx="0" cy="89535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5" name="Rechteck 28"/>
          <p:cNvSpPr/>
          <p:nvPr>
            <p:custDataLst>
              <p:tags r:id="rId20"/>
            </p:custDataLst>
          </p:nvPr>
        </p:nvSpPr>
        <p:spPr bwMode="auto">
          <a:xfrm>
            <a:off x="1117600" y="6000750"/>
            <a:ext cx="21669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r>
              <a:rPr lang="en-US" sz="1400" b="1" dirty="0"/>
              <a:t>BALINIT</a:t>
            </a:r>
            <a:r>
              <a:rPr lang="en-US" sz="1400" b="1" baseline="30000" dirty="0"/>
              <a:t>®</a:t>
            </a:r>
            <a:r>
              <a:rPr lang="en-US" sz="1400" b="1" dirty="0"/>
              <a:t> </a:t>
            </a:r>
            <a:r>
              <a:rPr lang="en-US" sz="1400" b="1" dirty="0" smtClean="0"/>
              <a:t>ALCRONA </a:t>
            </a:r>
            <a:r>
              <a:rPr lang="en-US" sz="1400" b="1" dirty="0"/>
              <a:t>PRO</a:t>
            </a:r>
          </a:p>
        </p:txBody>
      </p:sp>
      <p:sp>
        <p:nvSpPr>
          <p:cNvPr id="23" name="Ellipse 6"/>
          <p:cNvSpPr/>
          <p:nvPr>
            <p:custDataLst>
              <p:tags r:id="rId21"/>
            </p:custDataLst>
          </p:nvPr>
        </p:nvSpPr>
        <p:spPr bwMode="auto">
          <a:xfrm>
            <a:off x="3049588" y="1368425"/>
            <a:ext cx="649288" cy="273050"/>
          </a:xfrm>
          <a:prstGeom prst="ellipse">
            <a:avLst/>
          </a:prstGeom>
          <a:solidFill>
            <a:srgbClr val="FFFFFF"/>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0"/>
              </a:spcAft>
            </a:pPr>
            <a:fld id="{D726F370-792B-4ABD-B825-D84040E91924}" type="datetime'''''''''''''+''''''''''2''''2''%'">
              <a:rPr lang="en-US" sz="1400" b="1">
                <a:solidFill>
                  <a:srgbClr val="000000"/>
                </a:solidFill>
              </a:rPr>
              <a:pPr/>
              <a:t>+22%</a:t>
            </a:fld>
            <a:endParaRPr lang="en-US" sz="1400" b="1" dirty="0" smtClean="0">
              <a:solidFill>
                <a:srgbClr val="000000"/>
              </a:solidFill>
              <a:sym typeface="HelveticaNeueLT Com 45 Lt"/>
            </a:endParaRPr>
          </a:p>
        </p:txBody>
      </p:sp>
      <p:sp>
        <p:nvSpPr>
          <p:cNvPr id="24" name="Rechteck 27"/>
          <p:cNvSpPr/>
          <p:nvPr>
            <p:custDataLst>
              <p:tags r:id="rId22"/>
            </p:custDataLst>
          </p:nvPr>
        </p:nvSpPr>
        <p:spPr bwMode="auto">
          <a:xfrm>
            <a:off x="3709988" y="6000750"/>
            <a:ext cx="167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r>
              <a:rPr lang="en-US" sz="1400" b="1" dirty="0"/>
              <a:t>BALINIT</a:t>
            </a:r>
            <a:r>
              <a:rPr lang="en-US" sz="1400" b="1" baseline="30000" dirty="0"/>
              <a:t>® </a:t>
            </a:r>
            <a:r>
              <a:rPr lang="en-US" sz="1400" b="1" dirty="0"/>
              <a:t>ALTENSA</a:t>
            </a:r>
            <a:endParaRPr lang="de-CH" sz="1400" b="1" dirty="0">
              <a:solidFill>
                <a:prstClr val="black"/>
              </a:solidFill>
              <a:sym typeface="Arial"/>
            </a:endParaRPr>
          </a:p>
        </p:txBody>
      </p:sp>
      <p:sp>
        <p:nvSpPr>
          <p:cNvPr id="34" name="Ellipse 33"/>
          <p:cNvSpPr/>
          <p:nvPr/>
        </p:nvSpPr>
        <p:spPr>
          <a:xfrm>
            <a:off x="2260609" y="2066925"/>
            <a:ext cx="982654" cy="982654"/>
          </a:xfrm>
          <a:prstGeom prst="ellipse">
            <a:avLst/>
          </a:prstGeom>
          <a:solidFill>
            <a:schemeClr val="tx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a:spcBef>
                <a:spcPts val="300"/>
              </a:spcBef>
              <a:spcAft>
                <a:spcPts val="300"/>
              </a:spcAft>
            </a:pPr>
            <a:r>
              <a:rPr lang="de-CH" sz="1000" b="1" dirty="0" err="1">
                <a:solidFill>
                  <a:schemeClr val="tx1"/>
                </a:solidFill>
              </a:rPr>
              <a:t>V</a:t>
            </a:r>
            <a:r>
              <a:rPr lang="de-CH" sz="1000" b="1" baseline="-25000" dirty="0" err="1">
                <a:solidFill>
                  <a:schemeClr val="tx1"/>
                </a:solidFill>
              </a:rPr>
              <a:t>c</a:t>
            </a:r>
            <a:r>
              <a:rPr lang="de-CH" sz="1000" b="1" dirty="0">
                <a:solidFill>
                  <a:schemeClr val="tx1"/>
                </a:solidFill>
              </a:rPr>
              <a:t>= </a:t>
            </a:r>
            <a:r>
              <a:rPr lang="de-CH" sz="1000" b="1" dirty="0" smtClean="0">
                <a:solidFill>
                  <a:schemeClr val="tx1"/>
                </a:solidFill>
              </a:rPr>
              <a:t>200 m/min</a:t>
            </a:r>
            <a:endParaRPr lang="de-CH" sz="1000" b="1" dirty="0">
              <a:solidFill>
                <a:schemeClr val="tx1"/>
              </a:solidFill>
            </a:endParaRPr>
          </a:p>
        </p:txBody>
      </p:sp>
      <p:sp>
        <p:nvSpPr>
          <p:cNvPr id="37" name="Ellipse 36"/>
          <p:cNvSpPr/>
          <p:nvPr/>
        </p:nvSpPr>
        <p:spPr>
          <a:xfrm>
            <a:off x="4619357" y="1458849"/>
            <a:ext cx="890031" cy="890031"/>
          </a:xfrm>
          <a:prstGeom prst="ellipse">
            <a:avLst/>
          </a:prstGeom>
          <a:solidFill>
            <a:schemeClr val="bg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spcBef>
                <a:spcPts val="300"/>
              </a:spcBef>
              <a:spcAft>
                <a:spcPts val="300"/>
              </a:spcAft>
            </a:pPr>
            <a:r>
              <a:rPr lang="de-CH" sz="1050" b="1" dirty="0" err="1" smtClean="0">
                <a:solidFill>
                  <a:srgbClr val="FFFFFF"/>
                </a:solidFill>
              </a:rPr>
              <a:t>V</a:t>
            </a:r>
            <a:r>
              <a:rPr lang="de-CH" sz="1050" b="1" baseline="-25000" dirty="0" err="1" smtClean="0">
                <a:solidFill>
                  <a:srgbClr val="FFFFFF"/>
                </a:solidFill>
              </a:rPr>
              <a:t>c</a:t>
            </a:r>
            <a:r>
              <a:rPr lang="de-CH" sz="1050" b="1" baseline="-25000" dirty="0" smtClean="0">
                <a:solidFill>
                  <a:srgbClr val="FFFFFF"/>
                </a:solidFill>
              </a:rPr>
              <a:t> =</a:t>
            </a:r>
            <a:r>
              <a:rPr lang="de-CH" sz="1050" b="1" dirty="0">
                <a:solidFill>
                  <a:srgbClr val="FFFFFF"/>
                </a:solidFill>
              </a:rPr>
              <a:t/>
            </a:r>
            <a:br>
              <a:rPr lang="de-CH" sz="1050" b="1" dirty="0">
                <a:solidFill>
                  <a:srgbClr val="FFFFFF"/>
                </a:solidFill>
              </a:rPr>
            </a:br>
            <a:r>
              <a:rPr lang="de-CH" sz="1050" b="1" dirty="0" smtClean="0">
                <a:solidFill>
                  <a:srgbClr val="FFFFFF"/>
                </a:solidFill>
              </a:rPr>
              <a:t>260</a:t>
            </a:r>
            <a:r>
              <a:rPr lang="de-CH" sz="1050" b="1" dirty="0">
                <a:solidFill>
                  <a:schemeClr val="tx1"/>
                </a:solidFill>
              </a:rPr>
              <a:t> </a:t>
            </a:r>
            <a:r>
              <a:rPr lang="de-CH" sz="1050" b="1" dirty="0" smtClean="0">
                <a:solidFill>
                  <a:srgbClr val="FFFFFF"/>
                </a:solidFill>
              </a:rPr>
              <a:t>m/min</a:t>
            </a:r>
          </a:p>
        </p:txBody>
      </p:sp>
      <p:pic>
        <p:nvPicPr>
          <p:cNvPr id="40" name="Grafik 39"/>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084538" y="1360665"/>
            <a:ext cx="495574" cy="495574"/>
          </a:xfrm>
          <a:prstGeom prst="rect">
            <a:avLst/>
          </a:prstGeom>
        </p:spPr>
      </p:pic>
      <p:sp>
        <p:nvSpPr>
          <p:cNvPr id="35" name="Rectangle 12"/>
          <p:cNvSpPr/>
          <p:nvPr/>
        </p:nvSpPr>
        <p:spPr>
          <a:xfrm>
            <a:off x="539750" y="1204913"/>
            <a:ext cx="2088034" cy="276999"/>
          </a:xfrm>
          <a:prstGeom prst="rect">
            <a:avLst/>
          </a:prstGeom>
        </p:spPr>
        <p:txBody>
          <a:bodyPr wrap="square" lIns="0">
            <a:spAutoFit/>
          </a:bodyPr>
          <a:lstStyle/>
          <a:p>
            <a:pPr fontAlgn="auto">
              <a:spcBef>
                <a:spcPts val="0"/>
              </a:spcBef>
              <a:spcAft>
                <a:spcPts val="0"/>
              </a:spcAft>
            </a:pPr>
            <a:r>
              <a:rPr lang="en-GB" sz="1200" dirty="0" smtClean="0">
                <a:solidFill>
                  <a:srgbClr val="000000"/>
                </a:solidFill>
                <a:latin typeface="Arial"/>
              </a:rPr>
              <a:t>Tool life (no. of gears)</a:t>
            </a:r>
          </a:p>
        </p:txBody>
      </p:sp>
      <p:pic>
        <p:nvPicPr>
          <p:cNvPr id="46" name="Picture 24"/>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rot="10800000">
            <a:off x="7524328" y="4963713"/>
            <a:ext cx="1569100" cy="1569100"/>
          </a:xfrm>
          <a:prstGeom prst="ellipse">
            <a:avLst/>
          </a:prstGeom>
          <a:noFill/>
          <a:ln>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3677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3382072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3814" name="think-cell Folie" r:id="rId20" imgW="270" imgH="270" progId="TCLayout.ActiveDocument.1">
                  <p:embed/>
                </p:oleObj>
              </mc:Choice>
              <mc:Fallback>
                <p:oleObj name="think-cell Folie" r:id="rId20" imgW="270" imgH="270" progId="TCLayout.ActiveDocument.1">
                  <p:embed/>
                  <p:pic>
                    <p:nvPicPr>
                      <p:cNvPr id="0" name=""/>
                      <p:cNvPicPr/>
                      <p:nvPr/>
                    </p:nvPicPr>
                    <p:blipFill>
                      <a:blip r:embed="rId21"/>
                      <a:stretch>
                        <a:fillRect/>
                      </a:stretch>
                    </p:blipFill>
                    <p:spPr>
                      <a:xfrm>
                        <a:off x="0" y="0"/>
                        <a:ext cx="158750" cy="158750"/>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de-CH" sz="1400" b="1" smtClean="0">
              <a:solidFill>
                <a:prstClr val="black"/>
              </a:solidFill>
              <a:latin typeface="Arial"/>
              <a:sym typeface="Arial"/>
            </a:endParaRPr>
          </a:p>
        </p:txBody>
      </p:sp>
      <p:sp>
        <p:nvSpPr>
          <p:cNvPr id="45" name="Rechteck 44"/>
          <p:cNvSpPr/>
          <p:nvPr/>
        </p:nvSpPr>
        <p:spPr>
          <a:xfrm>
            <a:off x="395288" y="1062038"/>
            <a:ext cx="5508625" cy="5246687"/>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fontAlgn="auto">
              <a:spcBef>
                <a:spcPts val="300"/>
              </a:spcBef>
              <a:spcAft>
                <a:spcPts val="300"/>
              </a:spcAft>
            </a:pPr>
            <a:endParaRPr lang="de-CH" b="1" smtClean="0">
              <a:solidFill>
                <a:prstClr val="black"/>
              </a:solidFill>
            </a:endParaRPr>
          </a:p>
        </p:txBody>
      </p:sp>
      <p:graphicFrame>
        <p:nvGraphicFramePr>
          <p:cNvPr id="16" name="Tabelle 15"/>
          <p:cNvGraphicFramePr>
            <a:graphicFrameLocks noGrp="1"/>
          </p:cNvGraphicFramePr>
          <p:nvPr>
            <p:extLst>
              <p:ext uri="{D42A27DB-BD31-4B8C-83A1-F6EECF244321}">
                <p14:modId xmlns:p14="http://schemas.microsoft.com/office/powerpoint/2010/main" val="2483035231"/>
              </p:ext>
            </p:extLst>
          </p:nvPr>
        </p:nvGraphicFramePr>
        <p:xfrm>
          <a:off x="6091319" y="1052513"/>
          <a:ext cx="2657394" cy="525621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657394"/>
              </a:tblGrid>
              <a:tr h="945538">
                <a:tc>
                  <a:txBody>
                    <a:bodyPr/>
                    <a:lstStyle/>
                    <a:p>
                      <a:pPr algn="l"/>
                      <a:r>
                        <a:rPr lang="de-CH" sz="1400" b="1" dirty="0" smtClean="0">
                          <a:solidFill>
                            <a:sysClr val="windowText" lastClr="000000"/>
                          </a:solidFill>
                        </a:rPr>
                        <a:t>Tool:</a:t>
                      </a:r>
                    </a:p>
                    <a:p>
                      <a:pPr marL="0" algn="l" defTabSz="914400" rtl="0" eaLnBrk="1" latinLnBrk="0" hangingPunct="1"/>
                      <a:r>
                        <a:rPr lang="en-GB" sz="1400" b="0" kern="1200" dirty="0" smtClean="0">
                          <a:solidFill>
                            <a:schemeClr val="tx1"/>
                          </a:solidFill>
                          <a:latin typeface="+mn-lt"/>
                          <a:ea typeface="+mn-ea"/>
                          <a:cs typeface="+mn-cs"/>
                        </a:rPr>
                        <a:t>PM-HSS hob (S390)</a:t>
                      </a:r>
                    </a:p>
                    <a:p>
                      <a:pPr algn="l"/>
                      <a:r>
                        <a:rPr lang="en-GB" sz="1400" b="0" dirty="0" smtClean="0">
                          <a:solidFill>
                            <a:schemeClr val="tx1"/>
                          </a:solidFill>
                        </a:rPr>
                        <a:t>D = 90 mm</a:t>
                      </a:r>
                      <a:endParaRPr lang="de-CH" sz="1400" b="0" dirty="0" smtClean="0">
                        <a:solidFill>
                          <a:schemeClr val="tx1"/>
                        </a:solidFill>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9972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b="1" dirty="0" err="1" smtClean="0"/>
                        <a:t>Workpiece</a:t>
                      </a:r>
                      <a:r>
                        <a:rPr lang="de-CH" sz="1400" b="1" dirty="0" smtClean="0"/>
                        <a:t>:</a:t>
                      </a:r>
                    </a:p>
                    <a:p>
                      <a:pPr marL="0" marR="0" indent="0" algn="l" defTabSz="180975" rtl="0" eaLnBrk="1" fontAlgn="auto" latinLnBrk="0" hangingPunct="1">
                        <a:lnSpc>
                          <a:spcPct val="100000"/>
                        </a:lnSpc>
                        <a:spcBef>
                          <a:spcPts val="0"/>
                        </a:spcBef>
                        <a:spcAft>
                          <a:spcPts val="0"/>
                        </a:spcAft>
                        <a:buClrTx/>
                        <a:buSzTx/>
                        <a:buFontTx/>
                        <a:buNone/>
                        <a:tabLst/>
                        <a:defRPr/>
                      </a:pPr>
                      <a:r>
                        <a:rPr lang="en-GB" sz="1400" b="0" i="0" dirty="0" smtClean="0">
                          <a:solidFill>
                            <a:srgbClr val="000000"/>
                          </a:solidFill>
                        </a:rPr>
                        <a:t>Steel 1.7131</a:t>
                      </a:r>
                      <a:r>
                        <a:rPr lang="en-GB" sz="1400" b="0" i="0" baseline="0" dirty="0" smtClean="0">
                          <a:solidFill>
                            <a:srgbClr val="000000"/>
                          </a:solidFill>
                        </a:rPr>
                        <a:t>  (</a:t>
                      </a:r>
                      <a:r>
                        <a:rPr lang="en-GB" sz="1400" b="0" i="0" dirty="0" err="1" smtClean="0">
                          <a:solidFill>
                            <a:srgbClr val="000000"/>
                          </a:solidFill>
                        </a:rPr>
                        <a:t>AlSI</a:t>
                      </a:r>
                      <a:r>
                        <a:rPr lang="en-GB" sz="1400" b="0" i="0" dirty="0" smtClean="0">
                          <a:solidFill>
                            <a:srgbClr val="000000"/>
                          </a:solidFill>
                        </a:rPr>
                        <a:t> 5115)</a:t>
                      </a:r>
                    </a:p>
                    <a:p>
                      <a:pPr defTabSz="180975"/>
                      <a:endParaRPr lang="en-GB" sz="1400" b="0" i="0" dirty="0" smtClean="0">
                        <a:solidFill>
                          <a:srgbClr val="000000"/>
                        </a:solidFill>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1415601">
                <a:tc>
                  <a:txBody>
                    <a:bodyPr/>
                    <a:lstStyle/>
                    <a:p>
                      <a:pPr algn="l"/>
                      <a:r>
                        <a:rPr lang="de-CH" sz="1400" b="1" dirty="0" err="1" smtClean="0"/>
                        <a:t>Cutting</a:t>
                      </a:r>
                      <a:r>
                        <a:rPr lang="de-CH" sz="1400" b="1" dirty="0" smtClean="0"/>
                        <a:t> </a:t>
                      </a:r>
                      <a:r>
                        <a:rPr lang="de-CH" sz="1400" b="1" dirty="0" err="1" smtClean="0"/>
                        <a:t>data</a:t>
                      </a:r>
                      <a:r>
                        <a:rPr lang="de-CH" sz="1400" b="1" dirty="0" smtClean="0"/>
                        <a:t>:</a:t>
                      </a:r>
                    </a:p>
                    <a:p>
                      <a:pPr defTabSz="180975"/>
                      <a:r>
                        <a:rPr lang="sv-SE" sz="1400" b="1" i="0" baseline="0" dirty="0" smtClean="0">
                          <a:solidFill>
                            <a:schemeClr val="bg2"/>
                          </a:solidFill>
                          <a:sym typeface="Wingdings" panose="05000000000000000000" pitchFamily="2" charset="2"/>
                        </a:rPr>
                        <a:t>v</a:t>
                      </a:r>
                      <a:r>
                        <a:rPr lang="sv-SE" sz="1400" b="1" i="0" baseline="-25000" dirty="0" smtClean="0">
                          <a:solidFill>
                            <a:schemeClr val="bg2"/>
                          </a:solidFill>
                        </a:rPr>
                        <a:t>c </a:t>
                      </a:r>
                      <a:r>
                        <a:rPr lang="sv-SE" sz="1400" b="1" i="0" dirty="0" smtClean="0">
                          <a:solidFill>
                            <a:schemeClr val="bg2"/>
                          </a:solidFill>
                        </a:rPr>
                        <a:t>= 200</a:t>
                      </a:r>
                      <a:r>
                        <a:rPr lang="sv-SE" sz="1400" b="1" i="0" baseline="0" dirty="0" smtClean="0">
                          <a:solidFill>
                            <a:schemeClr val="bg2"/>
                          </a:solidFill>
                        </a:rPr>
                        <a:t> </a:t>
                      </a:r>
                      <a:r>
                        <a:rPr lang="sv-SE" sz="1400" b="1" i="0" baseline="0" dirty="0" smtClean="0">
                          <a:solidFill>
                            <a:schemeClr val="bg2"/>
                          </a:solidFill>
                          <a:sym typeface="Wingdings" panose="05000000000000000000" pitchFamily="2" charset="2"/>
                        </a:rPr>
                        <a:t> v</a:t>
                      </a:r>
                      <a:r>
                        <a:rPr lang="sv-SE" sz="1400" b="1" i="0" baseline="-25000" dirty="0" smtClean="0">
                          <a:solidFill>
                            <a:schemeClr val="bg2"/>
                          </a:solidFill>
                          <a:sym typeface="Wingdings" panose="05000000000000000000" pitchFamily="2" charset="2"/>
                        </a:rPr>
                        <a:t>c</a:t>
                      </a:r>
                      <a:r>
                        <a:rPr lang="sv-SE" sz="1400" b="1" i="0" baseline="0" dirty="0" smtClean="0">
                          <a:solidFill>
                            <a:schemeClr val="bg2"/>
                          </a:solidFill>
                          <a:sym typeface="Wingdings" panose="05000000000000000000" pitchFamily="2" charset="2"/>
                        </a:rPr>
                        <a:t> = 300</a:t>
                      </a:r>
                      <a:endParaRPr lang="sv-SE" sz="1400" b="1" i="0" dirty="0" smtClean="0">
                        <a:solidFill>
                          <a:schemeClr val="bg2"/>
                        </a:solidFill>
                      </a:endParaRPr>
                    </a:p>
                    <a:p>
                      <a:pPr defTabSz="180975"/>
                      <a:r>
                        <a:rPr lang="sv-SE" sz="1400" b="0" i="0" baseline="0" dirty="0" smtClean="0">
                          <a:solidFill>
                            <a:srgbClr val="000000"/>
                          </a:solidFill>
                          <a:sym typeface="Wingdings" panose="05000000000000000000" pitchFamily="2" charset="2"/>
                        </a:rPr>
                        <a:t>m</a:t>
                      </a:r>
                      <a:r>
                        <a:rPr lang="sv-SE" sz="1400" b="0" i="0" baseline="-25000" dirty="0" smtClean="0">
                          <a:solidFill>
                            <a:srgbClr val="000000"/>
                          </a:solidFill>
                          <a:sym typeface="Wingdings" panose="05000000000000000000" pitchFamily="2" charset="2"/>
                        </a:rPr>
                        <a:t>n</a:t>
                      </a:r>
                      <a:r>
                        <a:rPr lang="sv-SE" sz="1400" b="0" i="0" baseline="0" dirty="0" smtClean="0">
                          <a:solidFill>
                            <a:srgbClr val="000000"/>
                          </a:solidFill>
                          <a:sym typeface="Wingdings" panose="05000000000000000000" pitchFamily="2" charset="2"/>
                        </a:rPr>
                        <a:t> = 1.62</a:t>
                      </a:r>
                    </a:p>
                    <a:p>
                      <a:pPr defTabSz="180975"/>
                      <a:r>
                        <a:rPr lang="sv-SE" sz="1400" b="0" i="0" baseline="0" dirty="0" smtClean="0">
                          <a:solidFill>
                            <a:srgbClr val="000000"/>
                          </a:solidFill>
                          <a:sym typeface="Wingdings" panose="05000000000000000000" pitchFamily="2" charset="2"/>
                        </a:rPr>
                        <a:t>f</a:t>
                      </a:r>
                      <a:r>
                        <a:rPr lang="sv-SE" sz="1400" b="0" i="0" baseline="-25000" dirty="0" smtClean="0">
                          <a:solidFill>
                            <a:srgbClr val="000000"/>
                          </a:solidFill>
                          <a:sym typeface="Wingdings" panose="05000000000000000000" pitchFamily="2" charset="2"/>
                        </a:rPr>
                        <a:t>a</a:t>
                      </a:r>
                      <a:r>
                        <a:rPr lang="sv-SE" sz="1400" b="0" i="0" baseline="0" dirty="0" smtClean="0">
                          <a:solidFill>
                            <a:srgbClr val="000000"/>
                          </a:solidFill>
                          <a:sym typeface="Wingdings" panose="05000000000000000000" pitchFamily="2" charset="2"/>
                        </a:rPr>
                        <a:t> = 6.0 mm</a:t>
                      </a:r>
                    </a:p>
                    <a:p>
                      <a:pPr defTabSz="180975"/>
                      <a:r>
                        <a:rPr lang="sv-SE" sz="1400" b="0" i="0" baseline="0" dirty="0" smtClean="0">
                          <a:solidFill>
                            <a:srgbClr val="000000"/>
                          </a:solidFill>
                          <a:sym typeface="Wingdings" panose="05000000000000000000" pitchFamily="2" charset="2"/>
                        </a:rPr>
                        <a:t>dry</a:t>
                      </a:r>
                      <a:endParaRPr lang="sv-SE" sz="1400" b="0" i="0" dirty="0" smtClean="0">
                        <a:solidFill>
                          <a:srgbClr val="000000"/>
                        </a:solidFill>
                      </a:endParaRPr>
                    </a:p>
                    <a:p>
                      <a:pPr defTabSz="180975"/>
                      <a:r>
                        <a:rPr lang="sv-SE" sz="1400" b="0" i="0" dirty="0" smtClean="0">
                          <a:solidFill>
                            <a:srgbClr val="000000"/>
                          </a:solidFill>
                        </a:rPr>
                        <a:t>Gearbox for passenger car</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00578">
                <a:tc>
                  <a:txBody>
                    <a:bodyPr/>
                    <a:lstStyle/>
                    <a:p>
                      <a:pPr algn="l"/>
                      <a:r>
                        <a:rPr lang="de-CH" sz="1400" b="1" dirty="0" err="1" smtClean="0"/>
                        <a:t>Benefit</a:t>
                      </a:r>
                      <a:r>
                        <a:rPr lang="de-CH" sz="1400" b="1" dirty="0" smtClean="0"/>
                        <a:t>:</a:t>
                      </a:r>
                    </a:p>
                    <a:p>
                      <a:pPr algn="l"/>
                      <a:r>
                        <a:rPr lang="de-CH" sz="1400" dirty="0" smtClean="0"/>
                        <a:t>+50% </a:t>
                      </a:r>
                      <a:r>
                        <a:rPr lang="de-CH" sz="1400" dirty="0" err="1" smtClean="0"/>
                        <a:t>cutting</a:t>
                      </a:r>
                      <a:r>
                        <a:rPr lang="de-CH" sz="1400" dirty="0" smtClean="0"/>
                        <a:t> </a:t>
                      </a:r>
                      <a:r>
                        <a:rPr lang="de-CH" sz="1400" dirty="0" err="1" smtClean="0"/>
                        <a:t>speed</a:t>
                      </a:r>
                      <a:r>
                        <a:rPr lang="de-CH" sz="1400" baseline="0" dirty="0" smtClean="0"/>
                        <a:t> at same </a:t>
                      </a:r>
                      <a:r>
                        <a:rPr lang="de-CH" sz="1400" baseline="0" dirty="0" err="1" smtClean="0"/>
                        <a:t>tool</a:t>
                      </a:r>
                      <a:r>
                        <a:rPr lang="de-CH" sz="1400" baseline="0" dirty="0" smtClean="0"/>
                        <a:t> </a:t>
                      </a:r>
                      <a:r>
                        <a:rPr lang="de-CH" sz="1400" baseline="0" dirty="0" err="1" smtClean="0"/>
                        <a:t>life</a:t>
                      </a:r>
                      <a:endParaRPr lang="de-CH" sz="1400" dirty="0" smtClean="0"/>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97247">
                <a:tc>
                  <a:txBody>
                    <a:bodyPr/>
                    <a:lstStyle/>
                    <a:p>
                      <a:pPr algn="l"/>
                      <a:r>
                        <a:rPr lang="de-CH" sz="1400" b="1" dirty="0" smtClean="0"/>
                        <a:t>Source:</a:t>
                      </a:r>
                    </a:p>
                    <a:p>
                      <a:pPr algn="l"/>
                      <a:r>
                        <a:rPr lang="de-CH" sz="1400" dirty="0" smtClean="0"/>
                        <a:t>Automotive </a:t>
                      </a:r>
                    </a:p>
                    <a:p>
                      <a:pPr algn="l"/>
                      <a:r>
                        <a:rPr lang="de-CH" sz="1400" dirty="0" smtClean="0"/>
                        <a:t>Enduser</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r>
            </a:tbl>
          </a:graphicData>
        </a:graphic>
      </p:graphicFrame>
      <p:sp>
        <p:nvSpPr>
          <p:cNvPr id="265218" name="Text Box 2"/>
          <p:cNvSpPr txBox="1">
            <a:spLocks noChangeArrowheads="1"/>
          </p:cNvSpPr>
          <p:nvPr/>
        </p:nvSpPr>
        <p:spPr bwMode="auto">
          <a:xfrm>
            <a:off x="468313" y="1816100"/>
            <a:ext cx="1841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auto">
              <a:spcBef>
                <a:spcPts val="0"/>
              </a:spcBef>
              <a:spcAft>
                <a:spcPts val="0"/>
              </a:spcAft>
            </a:pPr>
            <a:endParaRPr lang="en-GB" sz="1600">
              <a:solidFill>
                <a:prstClr val="black"/>
              </a:solidFill>
              <a:latin typeface="Arial"/>
            </a:endParaRPr>
          </a:p>
        </p:txBody>
      </p:sp>
      <p:sp>
        <p:nvSpPr>
          <p:cNvPr id="2" name="Titel 1"/>
          <p:cNvSpPr>
            <a:spLocks noGrp="1"/>
          </p:cNvSpPr>
          <p:nvPr>
            <p:ph type="title"/>
          </p:nvPr>
        </p:nvSpPr>
        <p:spPr>
          <a:xfrm>
            <a:off x="395288" y="142877"/>
            <a:ext cx="7322248" cy="909635"/>
          </a:xfrm>
        </p:spPr>
        <p:txBody>
          <a:bodyPr/>
          <a:lstStyle/>
          <a:p>
            <a:r>
              <a:rPr lang="en-GB" sz="2000" dirty="0"/>
              <a:t>Customer test 2</a:t>
            </a:r>
            <a:r>
              <a:rPr lang="en-GB" sz="2000" dirty="0" smtClean="0"/>
              <a:t>: Increasing the speed to 300</a:t>
            </a:r>
            <a:r>
              <a:rPr lang="de-CH" sz="2000" dirty="0"/>
              <a:t> </a:t>
            </a:r>
            <a:r>
              <a:rPr lang="en-GB" sz="2000" dirty="0" smtClean="0"/>
              <a:t>m/min – still the same long tool life </a:t>
            </a:r>
            <a:br>
              <a:rPr lang="en-GB" sz="2000" dirty="0" smtClean="0"/>
            </a:br>
            <a:r>
              <a:rPr lang="zh-CN" altLang="en-US" sz="2000" dirty="0"/>
              <a:t>客</a:t>
            </a:r>
            <a:r>
              <a:rPr lang="zh-CN" altLang="en-US" sz="2000" dirty="0" smtClean="0"/>
              <a:t>户测试</a:t>
            </a:r>
            <a:r>
              <a:rPr lang="en-US" altLang="zh-CN" sz="2000" dirty="0" smtClean="0"/>
              <a:t>2</a:t>
            </a:r>
            <a:r>
              <a:rPr lang="zh-CN" altLang="en-US" sz="2000" dirty="0" smtClean="0"/>
              <a:t>：速度提高到</a:t>
            </a:r>
            <a:r>
              <a:rPr lang="en-US" altLang="zh-CN" sz="2000" dirty="0" smtClean="0"/>
              <a:t>300</a:t>
            </a:r>
            <a:r>
              <a:rPr lang="zh-CN" altLang="en-US" sz="2000" dirty="0" smtClean="0"/>
              <a:t>米</a:t>
            </a:r>
            <a:r>
              <a:rPr lang="en-US" altLang="zh-CN" sz="2000" dirty="0" smtClean="0"/>
              <a:t>/</a:t>
            </a:r>
            <a:r>
              <a:rPr lang="zh-CN" altLang="en-US" sz="2000" dirty="0" smtClean="0"/>
              <a:t>分钟</a:t>
            </a:r>
            <a:r>
              <a:rPr lang="en-US" altLang="zh-CN" sz="2000" dirty="0" smtClean="0"/>
              <a:t>—</a:t>
            </a:r>
            <a:r>
              <a:rPr lang="zh-CN" altLang="en-US" sz="2000" dirty="0" smtClean="0"/>
              <a:t>相同的刀具寿命</a:t>
            </a:r>
            <a:endParaRPr lang="de-DE" sz="2000" dirty="0"/>
          </a:p>
        </p:txBody>
      </p:sp>
      <p:graphicFrame>
        <p:nvGraphicFramePr>
          <p:cNvPr id="19" name="Object 18"/>
          <p:cNvGraphicFramePr>
            <a:graphicFrameLocks/>
          </p:cNvGraphicFramePr>
          <p:nvPr>
            <p:custDataLst>
              <p:tags r:id="rId4"/>
            </p:custDataLst>
            <p:extLst>
              <p:ext uri="{D42A27DB-BD31-4B8C-83A1-F6EECF244321}">
                <p14:modId xmlns:p14="http://schemas.microsoft.com/office/powerpoint/2010/main" val="1981094725"/>
              </p:ext>
            </p:extLst>
          </p:nvPr>
        </p:nvGraphicFramePr>
        <p:xfrm>
          <a:off x="838200" y="1562100"/>
          <a:ext cx="4990976" cy="4343400"/>
        </p:xfrm>
        <a:graphic>
          <a:graphicData uri="http://schemas.openxmlformats.org/presentationml/2006/ole">
            <mc:AlternateContent xmlns:mc="http://schemas.openxmlformats.org/markup-compatibility/2006">
              <mc:Choice xmlns:v="urn:schemas-microsoft-com:vml" Requires="v">
                <p:oleObj spid="_x0000_s203815" name="Chart" r:id="rId22" imgW="4991167" imgH="4343400" progId="MSGraph.Chart.8">
                  <p:embed followColorScheme="full"/>
                </p:oleObj>
              </mc:Choice>
              <mc:Fallback>
                <p:oleObj name="Chart" r:id="rId22" imgW="4991167" imgH="4343400" progId="MSGraph.Chart.8">
                  <p:embed followColorScheme="full"/>
                  <p:pic>
                    <p:nvPicPr>
                      <p:cNvPr id="0" name=""/>
                      <p:cNvPicPr/>
                      <p:nvPr/>
                    </p:nvPicPr>
                    <p:blipFill>
                      <a:blip r:embed="rId23"/>
                      <a:stretch>
                        <a:fillRect/>
                      </a:stretch>
                    </p:blipFill>
                    <p:spPr>
                      <a:xfrm>
                        <a:off x="838200" y="1562100"/>
                        <a:ext cx="4990976" cy="4343400"/>
                      </a:xfrm>
                      <a:prstGeom prst="rect">
                        <a:avLst/>
                      </a:prstGeom>
                    </p:spPr>
                  </p:pic>
                </p:oleObj>
              </mc:Fallback>
            </mc:AlternateContent>
          </a:graphicData>
        </a:graphic>
      </p:graphicFrame>
      <p:sp>
        <p:nvSpPr>
          <p:cNvPr id="41" name="Text Placeholder 47"/>
          <p:cNvSpPr>
            <a:spLocks noGrp="1"/>
          </p:cNvSpPr>
          <p:nvPr>
            <p:custDataLst>
              <p:tags r:id="rId5"/>
            </p:custDataLst>
          </p:nvPr>
        </p:nvSpPr>
        <p:spPr bwMode="gray">
          <a:xfrm>
            <a:off x="528638" y="2776538"/>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336499EC-EC17-495E-AA80-0C20BD4B6498}" type="datetime'''''''''1'''''''''''''''''',''''''''''''''''5''''00'''">
              <a:rPr lang="en-US" sz="1200">
                <a:latin typeface="Arial"/>
                <a:sym typeface="Arial"/>
              </a:rPr>
              <a:pPr algn="r">
                <a:spcBef>
                  <a:spcPct val="0"/>
                </a:spcBef>
                <a:spcAft>
                  <a:spcPct val="0"/>
                </a:spcAft>
              </a:pPr>
              <a:t>1,500</a:t>
            </a:fld>
            <a:endParaRPr lang="de-CH" sz="1200" dirty="0">
              <a:latin typeface="Arial"/>
              <a:sym typeface="Arial"/>
            </a:endParaRPr>
          </a:p>
        </p:txBody>
      </p:sp>
      <p:sp>
        <p:nvSpPr>
          <p:cNvPr id="48" name="Textplatzhalter 25"/>
          <p:cNvSpPr>
            <a:spLocks noGrp="1"/>
          </p:cNvSpPr>
          <p:nvPr>
            <p:custDataLst>
              <p:tags r:id="rId6"/>
            </p:custDataLst>
          </p:nvPr>
        </p:nvSpPr>
        <p:spPr bwMode="gray">
          <a:xfrm>
            <a:off x="655638" y="3948113"/>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74E98D1D-B65D-4F61-9835-79108F410EBB}" type="datetime'''''''''''''''''''9''''''''''''''''''''''0''''0'''''''">
              <a:rPr lang="en-US" sz="1200">
                <a:latin typeface="Arial"/>
                <a:sym typeface="Arial"/>
              </a:rPr>
              <a:pPr algn="r">
                <a:spcBef>
                  <a:spcPct val="0"/>
                </a:spcBef>
                <a:spcAft>
                  <a:spcPct val="0"/>
                </a:spcAft>
              </a:pPr>
              <a:t>900</a:t>
            </a:fld>
            <a:endParaRPr lang="de-CH" sz="1200" dirty="0">
              <a:latin typeface="Arial"/>
              <a:sym typeface="Arial"/>
            </a:endParaRPr>
          </a:p>
        </p:txBody>
      </p:sp>
      <p:sp>
        <p:nvSpPr>
          <p:cNvPr id="49" name="Textplatzhalter 26"/>
          <p:cNvSpPr>
            <a:spLocks noGrp="1"/>
          </p:cNvSpPr>
          <p:nvPr>
            <p:custDataLst>
              <p:tags r:id="rId7"/>
            </p:custDataLst>
          </p:nvPr>
        </p:nvSpPr>
        <p:spPr bwMode="gray">
          <a:xfrm>
            <a:off x="528638" y="3367088"/>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FD6B13D8-0A14-4BF4-AB36-CA3716B45168}" type="datetime'1'''''''''''''''''',''2''''''''''''00'''''''''''''''''">
              <a:rPr lang="en-US" sz="1200">
                <a:latin typeface="Arial"/>
                <a:sym typeface="Arial"/>
              </a:rPr>
              <a:pPr algn="r">
                <a:spcBef>
                  <a:spcPct val="0"/>
                </a:spcBef>
                <a:spcAft>
                  <a:spcPct val="0"/>
                </a:spcAft>
              </a:pPr>
              <a:t>1,200</a:t>
            </a:fld>
            <a:endParaRPr lang="de-CH" sz="1200" dirty="0">
              <a:latin typeface="Arial"/>
              <a:sym typeface="Arial"/>
            </a:endParaRPr>
          </a:p>
        </p:txBody>
      </p:sp>
      <p:sp>
        <p:nvSpPr>
          <p:cNvPr id="51" name="Textplatzhalter 28"/>
          <p:cNvSpPr>
            <a:spLocks noGrp="1"/>
          </p:cNvSpPr>
          <p:nvPr>
            <p:custDataLst>
              <p:tags r:id="rId8"/>
            </p:custDataLst>
          </p:nvPr>
        </p:nvSpPr>
        <p:spPr bwMode="gray">
          <a:xfrm>
            <a:off x="528638" y="16049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DD633284-D53E-4600-B534-401A3FFB66D1}" type="datetime'''''2'''''''',''''''''1''''''''''0''''''''''0'''''''">
              <a:rPr lang="en-US" sz="1200">
                <a:latin typeface="Arial"/>
                <a:sym typeface="Arial"/>
              </a:rPr>
              <a:pPr algn="r">
                <a:spcBef>
                  <a:spcPct val="0"/>
                </a:spcBef>
                <a:spcAft>
                  <a:spcPct val="0"/>
                </a:spcAft>
              </a:pPr>
              <a:t>2,100</a:t>
            </a:fld>
            <a:endParaRPr lang="de-CH" sz="1200" dirty="0">
              <a:latin typeface="Arial"/>
              <a:sym typeface="Arial"/>
            </a:endParaRPr>
          </a:p>
        </p:txBody>
      </p:sp>
      <p:sp>
        <p:nvSpPr>
          <p:cNvPr id="46" name="Textplatzhalter 23"/>
          <p:cNvSpPr>
            <a:spLocks noGrp="1"/>
          </p:cNvSpPr>
          <p:nvPr>
            <p:custDataLst>
              <p:tags r:id="rId9"/>
            </p:custDataLst>
          </p:nvPr>
        </p:nvSpPr>
        <p:spPr bwMode="gray">
          <a:xfrm>
            <a:off x="655638" y="511968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0819AE66-50A7-4666-9246-E6E3E5DEB6AF}" type="datetime'''''''''''3''''0''''''''''''''''''''''''''0'''''''">
              <a:rPr lang="en-US" sz="1200">
                <a:latin typeface="Arial"/>
                <a:sym typeface="Arial"/>
              </a:rPr>
              <a:pPr algn="r">
                <a:spcBef>
                  <a:spcPct val="0"/>
                </a:spcBef>
                <a:spcAft>
                  <a:spcPct val="0"/>
                </a:spcAft>
              </a:pPr>
              <a:t>300</a:t>
            </a:fld>
            <a:endParaRPr lang="de-CH" sz="1200" dirty="0">
              <a:latin typeface="Arial"/>
              <a:sym typeface="Arial"/>
            </a:endParaRPr>
          </a:p>
        </p:txBody>
      </p:sp>
      <p:sp>
        <p:nvSpPr>
          <p:cNvPr id="50" name="Textplatzhalter 27"/>
          <p:cNvSpPr>
            <a:spLocks noGrp="1"/>
          </p:cNvSpPr>
          <p:nvPr>
            <p:custDataLst>
              <p:tags r:id="rId10"/>
            </p:custDataLst>
          </p:nvPr>
        </p:nvSpPr>
        <p:spPr bwMode="gray">
          <a:xfrm>
            <a:off x="528638" y="219551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8826842F-89C9-4403-9F99-02CE9E0AF17D}" type="datetime'''''1,''''''''''''''''''''''''''8''''''''''''''''0''''''0'">
              <a:rPr lang="en-US" sz="1200">
                <a:latin typeface="Arial"/>
                <a:sym typeface="Arial"/>
              </a:rPr>
              <a:pPr algn="r">
                <a:spcBef>
                  <a:spcPct val="0"/>
                </a:spcBef>
                <a:spcAft>
                  <a:spcPct val="0"/>
                </a:spcAft>
              </a:pPr>
              <a:t>1,800</a:t>
            </a:fld>
            <a:endParaRPr lang="de-CH" sz="1200" dirty="0">
              <a:latin typeface="Arial"/>
              <a:sym typeface="Arial"/>
            </a:endParaRPr>
          </a:p>
        </p:txBody>
      </p:sp>
      <p:sp>
        <p:nvSpPr>
          <p:cNvPr id="47" name="Textplatzhalter 24"/>
          <p:cNvSpPr>
            <a:spLocks noGrp="1"/>
          </p:cNvSpPr>
          <p:nvPr>
            <p:custDataLst>
              <p:tags r:id="rId11"/>
            </p:custDataLst>
          </p:nvPr>
        </p:nvSpPr>
        <p:spPr bwMode="gray">
          <a:xfrm>
            <a:off x="655638" y="4538663"/>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EAC251EB-BE59-4778-B703-760295685DFC}" type="datetime'''''''''''''''''''''''''''''''''''6''''''''''''00'''''''">
              <a:rPr lang="en-US" sz="1200">
                <a:latin typeface="Arial"/>
                <a:sym typeface="Arial"/>
              </a:rPr>
              <a:pPr algn="r">
                <a:spcBef>
                  <a:spcPct val="0"/>
                </a:spcBef>
                <a:spcAft>
                  <a:spcPct val="0"/>
                </a:spcAft>
              </a:pPr>
              <a:t>600</a:t>
            </a:fld>
            <a:endParaRPr lang="de-CH" sz="1200" dirty="0">
              <a:latin typeface="Arial"/>
              <a:sym typeface="Arial"/>
            </a:endParaRPr>
          </a:p>
        </p:txBody>
      </p:sp>
      <p:sp>
        <p:nvSpPr>
          <p:cNvPr id="27" name="Text Placeholder 3"/>
          <p:cNvSpPr>
            <a:spLocks noGrp="1"/>
          </p:cNvSpPr>
          <p:nvPr>
            <p:custDataLst>
              <p:tags r:id="rId12"/>
            </p:custDataLst>
          </p:nvPr>
        </p:nvSpPr>
        <p:spPr bwMode="gray">
          <a:xfrm>
            <a:off x="823913" y="5710238"/>
            <a:ext cx="84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62EA7047-15FD-4FFB-AB79-657E3C0825E9}" type="datetime'''''''''''''0'''''''''''''''''''''''''''''''''''''">
              <a:rPr lang="en-US" sz="1200">
                <a:latin typeface="Arial"/>
                <a:sym typeface="Arial"/>
              </a:rPr>
              <a:pPr algn="r">
                <a:spcBef>
                  <a:spcPct val="0"/>
                </a:spcBef>
                <a:spcAft>
                  <a:spcPct val="0"/>
                </a:spcAft>
              </a:pPr>
              <a:t>0</a:t>
            </a:fld>
            <a:endParaRPr lang="de-CH" sz="1200" dirty="0">
              <a:latin typeface="Arial"/>
              <a:sym typeface="Arial"/>
            </a:endParaRPr>
          </a:p>
        </p:txBody>
      </p:sp>
      <p:cxnSp>
        <p:nvCxnSpPr>
          <p:cNvPr id="21" name="Gerade Verbindung 10"/>
          <p:cNvCxnSpPr/>
          <p:nvPr>
            <p:custDataLst>
              <p:tags r:id="rId13"/>
            </p:custDataLst>
          </p:nvPr>
        </p:nvCxnSpPr>
        <p:spPr bwMode="gray">
          <a:xfrm>
            <a:off x="4548188" y="1895475"/>
            <a:ext cx="0" cy="152400"/>
          </a:xfrm>
          <a:prstGeom prst="line">
            <a:avLst/>
          </a:prstGeom>
          <a:ln w="12700">
            <a:solidFill>
              <a:schemeClr val="bg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 Verbindung 9"/>
          <p:cNvCxnSpPr/>
          <p:nvPr>
            <p:custDataLst>
              <p:tags r:id="rId14"/>
            </p:custDataLst>
          </p:nvPr>
        </p:nvCxnSpPr>
        <p:spPr bwMode="gray">
          <a:xfrm>
            <a:off x="2200275" y="1895475"/>
            <a:ext cx="2347913"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Gerade Verbindung 8"/>
          <p:cNvCxnSpPr/>
          <p:nvPr>
            <p:custDataLst>
              <p:tags r:id="rId15"/>
            </p:custDataLst>
          </p:nvPr>
        </p:nvCxnSpPr>
        <p:spPr bwMode="gray">
          <a:xfrm flipV="1">
            <a:off x="2200275" y="1895475"/>
            <a:ext cx="0" cy="34290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hteck 27"/>
          <p:cNvSpPr/>
          <p:nvPr>
            <p:custDataLst>
              <p:tags r:id="rId16"/>
            </p:custDataLst>
          </p:nvPr>
        </p:nvSpPr>
        <p:spPr bwMode="auto">
          <a:xfrm>
            <a:off x="3709988" y="5962650"/>
            <a:ext cx="167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r>
              <a:rPr lang="en-US" sz="1400" b="1" dirty="0"/>
              <a:t>BALINIT</a:t>
            </a:r>
            <a:r>
              <a:rPr lang="en-US" sz="1400" b="1" baseline="30000" dirty="0"/>
              <a:t>® </a:t>
            </a:r>
            <a:r>
              <a:rPr lang="en-US" sz="1400" b="1" dirty="0"/>
              <a:t>ALTENSA</a:t>
            </a:r>
            <a:endParaRPr lang="de-CH" sz="1400" b="1" dirty="0">
              <a:solidFill>
                <a:prstClr val="black"/>
              </a:solidFill>
              <a:sym typeface="Arial"/>
            </a:endParaRPr>
          </a:p>
        </p:txBody>
      </p:sp>
      <p:sp>
        <p:nvSpPr>
          <p:cNvPr id="25" name="Rechteck 28"/>
          <p:cNvSpPr/>
          <p:nvPr>
            <p:custDataLst>
              <p:tags r:id="rId17"/>
            </p:custDataLst>
          </p:nvPr>
        </p:nvSpPr>
        <p:spPr bwMode="auto">
          <a:xfrm>
            <a:off x="1117600" y="5962650"/>
            <a:ext cx="21669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r>
              <a:rPr lang="en-US" sz="1400" b="1" dirty="0"/>
              <a:t>BALINIT</a:t>
            </a:r>
            <a:r>
              <a:rPr lang="en-US" sz="1400" b="1" baseline="30000" dirty="0"/>
              <a:t>®</a:t>
            </a:r>
            <a:r>
              <a:rPr lang="en-US" sz="1400" b="1" dirty="0"/>
              <a:t> </a:t>
            </a:r>
            <a:r>
              <a:rPr lang="en-US" sz="1400" b="1" dirty="0" smtClean="0"/>
              <a:t>ALCRONA </a:t>
            </a:r>
            <a:r>
              <a:rPr lang="en-US" sz="1400" b="1" dirty="0"/>
              <a:t>PRO</a:t>
            </a:r>
          </a:p>
        </p:txBody>
      </p:sp>
      <p:sp>
        <p:nvSpPr>
          <p:cNvPr id="32" name="Ellipse 31"/>
          <p:cNvSpPr/>
          <p:nvPr/>
        </p:nvSpPr>
        <p:spPr>
          <a:xfrm>
            <a:off x="2260609" y="2066925"/>
            <a:ext cx="982654" cy="982654"/>
          </a:xfrm>
          <a:prstGeom prst="ellipse">
            <a:avLst/>
          </a:prstGeom>
          <a:solidFill>
            <a:schemeClr val="tx2">
              <a:lumMod val="9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fontAlgn="base">
              <a:spcBef>
                <a:spcPts val="300"/>
              </a:spcBef>
              <a:spcAft>
                <a:spcPts val="300"/>
              </a:spcAft>
            </a:pPr>
            <a:r>
              <a:rPr lang="de-CH" sz="1000" b="1" dirty="0" err="1">
                <a:solidFill>
                  <a:schemeClr val="tx1"/>
                </a:solidFill>
              </a:rPr>
              <a:t>V</a:t>
            </a:r>
            <a:r>
              <a:rPr lang="de-CH" sz="1000" b="1" baseline="-25000" dirty="0" err="1">
                <a:solidFill>
                  <a:schemeClr val="tx1"/>
                </a:solidFill>
              </a:rPr>
              <a:t>c</a:t>
            </a:r>
            <a:r>
              <a:rPr lang="de-CH" sz="1000" b="1" dirty="0">
                <a:solidFill>
                  <a:schemeClr val="tx1"/>
                </a:solidFill>
              </a:rPr>
              <a:t>= 200 m/min</a:t>
            </a:r>
          </a:p>
        </p:txBody>
      </p:sp>
      <p:sp>
        <p:nvSpPr>
          <p:cNvPr id="33" name="Ellipse 32"/>
          <p:cNvSpPr/>
          <p:nvPr/>
        </p:nvSpPr>
        <p:spPr>
          <a:xfrm>
            <a:off x="4577705" y="2007947"/>
            <a:ext cx="960755" cy="951154"/>
          </a:xfrm>
          <a:prstGeom prst="ellipse">
            <a:avLst/>
          </a:prstGeom>
          <a:solidFill>
            <a:schemeClr val="bg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spcBef>
                <a:spcPts val="300"/>
              </a:spcBef>
              <a:spcAft>
                <a:spcPts val="300"/>
              </a:spcAft>
            </a:pPr>
            <a:r>
              <a:rPr lang="de-CH" sz="1050" b="1" dirty="0" err="1" smtClean="0">
                <a:solidFill>
                  <a:srgbClr val="FFFFFF"/>
                </a:solidFill>
              </a:rPr>
              <a:t>V</a:t>
            </a:r>
            <a:r>
              <a:rPr lang="de-CH" sz="1050" b="1" baseline="-25000" dirty="0" err="1" smtClean="0">
                <a:solidFill>
                  <a:srgbClr val="FFFFFF"/>
                </a:solidFill>
              </a:rPr>
              <a:t>c</a:t>
            </a:r>
            <a:r>
              <a:rPr lang="de-CH" sz="1050" b="1" baseline="-25000" dirty="0" smtClean="0">
                <a:solidFill>
                  <a:srgbClr val="FFFFFF"/>
                </a:solidFill>
              </a:rPr>
              <a:t> =</a:t>
            </a:r>
            <a:r>
              <a:rPr lang="de-CH" sz="1050" b="1" dirty="0">
                <a:solidFill>
                  <a:srgbClr val="FFFFFF"/>
                </a:solidFill>
              </a:rPr>
              <a:t/>
            </a:r>
            <a:br>
              <a:rPr lang="de-CH" sz="1050" b="1" dirty="0">
                <a:solidFill>
                  <a:srgbClr val="FFFFFF"/>
                </a:solidFill>
              </a:rPr>
            </a:br>
            <a:r>
              <a:rPr lang="de-CH" sz="1050" b="1" dirty="0" smtClean="0">
                <a:solidFill>
                  <a:srgbClr val="FFFFFF"/>
                </a:solidFill>
              </a:rPr>
              <a:t>300</a:t>
            </a:r>
            <a:r>
              <a:rPr lang="de-CH" sz="1050" b="1" dirty="0">
                <a:solidFill>
                  <a:schemeClr val="tx1"/>
                </a:solidFill>
              </a:rPr>
              <a:t> </a:t>
            </a:r>
            <a:r>
              <a:rPr lang="de-CH" sz="1050" b="1" dirty="0" smtClean="0">
                <a:solidFill>
                  <a:srgbClr val="FFFFFF"/>
                </a:solidFill>
              </a:rPr>
              <a:t>m/min</a:t>
            </a:r>
          </a:p>
        </p:txBody>
      </p:sp>
      <p:pic>
        <p:nvPicPr>
          <p:cNvPr id="34" name="Grafik 33"/>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042886" y="1909763"/>
            <a:ext cx="495574" cy="495574"/>
          </a:xfrm>
          <a:prstGeom prst="rect">
            <a:avLst/>
          </a:prstGeom>
        </p:spPr>
      </p:pic>
      <p:sp>
        <p:nvSpPr>
          <p:cNvPr id="31" name="Rectangle 12"/>
          <p:cNvSpPr/>
          <p:nvPr/>
        </p:nvSpPr>
        <p:spPr>
          <a:xfrm>
            <a:off x="539750" y="1204913"/>
            <a:ext cx="2088034" cy="276999"/>
          </a:xfrm>
          <a:prstGeom prst="rect">
            <a:avLst/>
          </a:prstGeom>
        </p:spPr>
        <p:txBody>
          <a:bodyPr wrap="square" lIns="0">
            <a:spAutoFit/>
          </a:bodyPr>
          <a:lstStyle/>
          <a:p>
            <a:pPr fontAlgn="auto">
              <a:spcBef>
                <a:spcPts val="0"/>
              </a:spcBef>
              <a:spcAft>
                <a:spcPts val="0"/>
              </a:spcAft>
            </a:pPr>
            <a:r>
              <a:rPr lang="en-GB" sz="1200" dirty="0" smtClean="0">
                <a:solidFill>
                  <a:srgbClr val="000000"/>
                </a:solidFill>
                <a:latin typeface="Arial"/>
              </a:rPr>
              <a:t>Tool life (no. of gears)</a:t>
            </a:r>
          </a:p>
        </p:txBody>
      </p:sp>
      <p:pic>
        <p:nvPicPr>
          <p:cNvPr id="35" name="Picture 24"/>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rot="10800000">
            <a:off x="7524328" y="4963713"/>
            <a:ext cx="1569100" cy="1569100"/>
          </a:xfrm>
          <a:prstGeom prst="ellipse">
            <a:avLst/>
          </a:prstGeom>
          <a:noFill/>
          <a:ln>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6162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250976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838" name="think-cell Folie" r:id="rId7" imgW="270" imgH="270" progId="TCLayout.ActiveDocument.1">
                  <p:embed/>
                </p:oleObj>
              </mc:Choice>
              <mc:Fallback>
                <p:oleObj name="think-cell Foli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de-CH" sz="1400" b="1" smtClean="0">
              <a:solidFill>
                <a:prstClr val="black"/>
              </a:solidFill>
              <a:latin typeface="Arial"/>
              <a:sym typeface="Arial"/>
            </a:endParaRPr>
          </a:p>
        </p:txBody>
      </p:sp>
      <p:pic>
        <p:nvPicPr>
          <p:cNvPr id="14" name="Grafik 13"/>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0" y="3457875"/>
            <a:ext cx="9144000" cy="2994360"/>
          </a:xfrm>
          <a:prstGeom prst="rect">
            <a:avLst/>
          </a:prstGeom>
        </p:spPr>
      </p:pic>
      <p:sp>
        <p:nvSpPr>
          <p:cNvPr id="265218" name="Text Box 2"/>
          <p:cNvSpPr txBox="1">
            <a:spLocks noChangeArrowheads="1"/>
          </p:cNvSpPr>
          <p:nvPr/>
        </p:nvSpPr>
        <p:spPr bwMode="auto">
          <a:xfrm>
            <a:off x="468313" y="1554850"/>
            <a:ext cx="1841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auto">
              <a:spcBef>
                <a:spcPts val="0"/>
              </a:spcBef>
              <a:spcAft>
                <a:spcPts val="0"/>
              </a:spcAft>
            </a:pPr>
            <a:endParaRPr lang="en-GB" sz="1600">
              <a:solidFill>
                <a:prstClr val="black"/>
              </a:solidFill>
              <a:latin typeface="Arial"/>
            </a:endParaRPr>
          </a:p>
        </p:txBody>
      </p:sp>
      <p:sp>
        <p:nvSpPr>
          <p:cNvPr id="2" name="Titel 1"/>
          <p:cNvSpPr>
            <a:spLocks noGrp="1"/>
          </p:cNvSpPr>
          <p:nvPr>
            <p:ph type="title"/>
          </p:nvPr>
        </p:nvSpPr>
        <p:spPr>
          <a:xfrm>
            <a:off x="269939" y="130685"/>
            <a:ext cx="7472923" cy="909635"/>
          </a:xfrm>
        </p:spPr>
        <p:txBody>
          <a:bodyPr/>
          <a:lstStyle/>
          <a:p>
            <a:r>
              <a:rPr lang="en-GB" dirty="0"/>
              <a:t>Speeding up to </a:t>
            </a:r>
            <a:r>
              <a:rPr lang="en-GB" dirty="0" smtClean="0"/>
              <a:t>300m/min results in </a:t>
            </a:r>
            <a:br>
              <a:rPr lang="en-GB" dirty="0" smtClean="0"/>
            </a:br>
            <a:r>
              <a:rPr lang="en-GB" dirty="0" smtClean="0"/>
              <a:t>20% savings in machine costs</a:t>
            </a:r>
            <a:br>
              <a:rPr lang="en-GB" dirty="0" smtClean="0"/>
            </a:br>
            <a:r>
              <a:rPr lang="zh-CN" altLang="en-US" dirty="0"/>
              <a:t>速</a:t>
            </a:r>
            <a:r>
              <a:rPr lang="zh-CN" altLang="en-US" dirty="0" smtClean="0"/>
              <a:t>度提高到</a:t>
            </a:r>
            <a:r>
              <a:rPr lang="en-US" altLang="zh-CN" dirty="0" smtClean="0"/>
              <a:t>300</a:t>
            </a:r>
            <a:r>
              <a:rPr lang="zh-CN" altLang="en-US" dirty="0" smtClean="0"/>
              <a:t>米</a:t>
            </a:r>
            <a:r>
              <a:rPr lang="en-US" altLang="zh-CN" dirty="0" smtClean="0"/>
              <a:t>/</a:t>
            </a:r>
            <a:r>
              <a:rPr lang="zh-CN" altLang="en-US" dirty="0" smtClean="0"/>
              <a:t>分钟的结果节省了</a:t>
            </a:r>
            <a:r>
              <a:rPr lang="en-US" altLang="zh-CN" dirty="0" smtClean="0"/>
              <a:t>20%</a:t>
            </a:r>
            <a:r>
              <a:rPr lang="zh-CN" altLang="en-US" dirty="0" smtClean="0"/>
              <a:t>的生产成本</a:t>
            </a:r>
            <a:endParaRPr lang="de-DE" dirty="0"/>
          </a:p>
        </p:txBody>
      </p:sp>
      <p:sp>
        <p:nvSpPr>
          <p:cNvPr id="32" name="Rectangle 12"/>
          <p:cNvSpPr/>
          <p:nvPr/>
        </p:nvSpPr>
        <p:spPr>
          <a:xfrm>
            <a:off x="454524" y="1244386"/>
            <a:ext cx="3633117" cy="338554"/>
          </a:xfrm>
          <a:prstGeom prst="rect">
            <a:avLst/>
          </a:prstGeom>
        </p:spPr>
        <p:txBody>
          <a:bodyPr wrap="square" lIns="0">
            <a:spAutoFit/>
          </a:bodyPr>
          <a:lstStyle/>
          <a:p>
            <a:pPr fontAlgn="auto">
              <a:spcBef>
                <a:spcPts val="0"/>
              </a:spcBef>
              <a:spcAft>
                <a:spcPts val="0"/>
              </a:spcAft>
            </a:pPr>
            <a:r>
              <a:rPr lang="en-GB" sz="1600" b="1" dirty="0" smtClean="0">
                <a:solidFill>
                  <a:srgbClr val="000000"/>
                </a:solidFill>
                <a:latin typeface="Arial"/>
              </a:rPr>
              <a:t>Machine costs  for 1,800 gears (€)</a:t>
            </a:r>
          </a:p>
        </p:txBody>
      </p:sp>
      <p:graphicFrame>
        <p:nvGraphicFramePr>
          <p:cNvPr id="35" name="Objekt 34"/>
          <p:cNvGraphicFramePr>
            <a:graphicFrameLocks/>
          </p:cNvGraphicFramePr>
          <p:nvPr>
            <p:custDataLst>
              <p:tags r:id="rId4"/>
            </p:custDataLst>
            <p:extLst>
              <p:ext uri="{D42A27DB-BD31-4B8C-83A1-F6EECF244321}">
                <p14:modId xmlns:p14="http://schemas.microsoft.com/office/powerpoint/2010/main" val="1994335409"/>
              </p:ext>
            </p:extLst>
          </p:nvPr>
        </p:nvGraphicFramePr>
        <p:xfrm>
          <a:off x="380999" y="1605650"/>
          <a:ext cx="5400768" cy="2590800"/>
        </p:xfrm>
        <a:graphic>
          <a:graphicData uri="http://schemas.openxmlformats.org/presentationml/2006/ole">
            <mc:AlternateContent xmlns:mc="http://schemas.openxmlformats.org/markup-compatibility/2006">
              <mc:Choice xmlns:v="urn:schemas-microsoft-com:vml" Requires="v">
                <p:oleObj spid="_x0000_s204839" name="Chart" r:id="rId10" imgW="5400624" imgH="2590800" progId="MSGraph.Chart.8">
                  <p:embed followColorScheme="full"/>
                </p:oleObj>
              </mc:Choice>
              <mc:Fallback>
                <p:oleObj name="Chart" r:id="rId10" imgW="5400624" imgH="2590800" progId="MSGraph.Chart.8">
                  <p:embed followColorScheme="full"/>
                  <p:pic>
                    <p:nvPicPr>
                      <p:cNvPr id="0" name=""/>
                      <p:cNvPicPr/>
                      <p:nvPr/>
                    </p:nvPicPr>
                    <p:blipFill>
                      <a:blip r:embed="rId11"/>
                      <a:stretch>
                        <a:fillRect/>
                      </a:stretch>
                    </p:blipFill>
                    <p:spPr>
                      <a:xfrm>
                        <a:off x="380999" y="1605650"/>
                        <a:ext cx="5400768" cy="2590800"/>
                      </a:xfrm>
                      <a:prstGeom prst="rect">
                        <a:avLst/>
                      </a:prstGeom>
                    </p:spPr>
                  </p:pic>
                </p:oleObj>
              </mc:Fallback>
            </mc:AlternateContent>
          </a:graphicData>
        </a:graphic>
      </p:graphicFrame>
      <p:sp>
        <p:nvSpPr>
          <p:cNvPr id="36" name="Textfeld 35"/>
          <p:cNvSpPr txBox="1"/>
          <p:nvPr/>
        </p:nvSpPr>
        <p:spPr>
          <a:xfrm>
            <a:off x="564476" y="2208311"/>
            <a:ext cx="2736304" cy="288032"/>
          </a:xfrm>
          <a:prstGeom prst="rect">
            <a:avLst/>
          </a:prstGeom>
          <a:noFill/>
        </p:spPr>
        <p:txBody>
          <a:bodyPr wrap="square" lIns="0" tIns="0" rIns="0" bIns="0" rtlCol="0" anchor="ctr">
            <a:noAutofit/>
          </a:bodyPr>
          <a:lstStyle/>
          <a:p>
            <a:pPr>
              <a:spcBef>
                <a:spcPts val="300"/>
              </a:spcBef>
              <a:spcAft>
                <a:spcPts val="300"/>
              </a:spcAft>
              <a:buClr>
                <a:schemeClr val="bg2"/>
              </a:buClr>
            </a:pPr>
            <a:r>
              <a:rPr lang="de-CH" sz="1600" b="1" dirty="0" smtClean="0"/>
              <a:t>BALINIT</a:t>
            </a:r>
            <a:r>
              <a:rPr lang="de-CH" sz="1600" b="1" baseline="30000" dirty="0" smtClean="0"/>
              <a:t>®</a:t>
            </a:r>
            <a:r>
              <a:rPr lang="de-CH" sz="1600" b="1" dirty="0" smtClean="0"/>
              <a:t> ALCRONA PRO</a:t>
            </a:r>
            <a:endParaRPr lang="en-US" sz="1600" b="1" dirty="0" err="1" smtClean="0"/>
          </a:p>
        </p:txBody>
      </p:sp>
      <p:sp>
        <p:nvSpPr>
          <p:cNvPr id="37" name="Textfeld 36"/>
          <p:cNvSpPr txBox="1"/>
          <p:nvPr/>
        </p:nvSpPr>
        <p:spPr>
          <a:xfrm>
            <a:off x="564476" y="3368274"/>
            <a:ext cx="2736304" cy="288032"/>
          </a:xfrm>
          <a:prstGeom prst="rect">
            <a:avLst/>
          </a:prstGeom>
          <a:noFill/>
        </p:spPr>
        <p:txBody>
          <a:bodyPr wrap="square" lIns="0" tIns="0" rIns="0" bIns="0" rtlCol="0" anchor="ctr">
            <a:noAutofit/>
          </a:bodyPr>
          <a:lstStyle/>
          <a:p>
            <a:pPr>
              <a:spcBef>
                <a:spcPts val="300"/>
              </a:spcBef>
              <a:spcAft>
                <a:spcPts val="300"/>
              </a:spcAft>
              <a:buClr>
                <a:schemeClr val="bg2"/>
              </a:buClr>
            </a:pPr>
            <a:r>
              <a:rPr lang="de-CH" sz="1600" b="1" dirty="0" smtClean="0">
                <a:solidFill>
                  <a:schemeClr val="bg1"/>
                </a:solidFill>
              </a:rPr>
              <a:t>BALINIT</a:t>
            </a:r>
            <a:r>
              <a:rPr lang="de-CH" sz="1600" b="1" baseline="30000" dirty="0" smtClean="0">
                <a:solidFill>
                  <a:schemeClr val="bg1"/>
                </a:solidFill>
              </a:rPr>
              <a:t>®</a:t>
            </a:r>
            <a:r>
              <a:rPr lang="de-CH" sz="1600" b="1" dirty="0" smtClean="0">
                <a:solidFill>
                  <a:schemeClr val="bg1"/>
                </a:solidFill>
              </a:rPr>
              <a:t> ALTENSA</a:t>
            </a:r>
            <a:endParaRPr lang="en-US" sz="1600" b="1" dirty="0" err="1" smtClean="0">
              <a:solidFill>
                <a:schemeClr val="bg1"/>
              </a:solidFill>
            </a:endParaRPr>
          </a:p>
        </p:txBody>
      </p:sp>
      <p:pic>
        <p:nvPicPr>
          <p:cNvPr id="38" name="Grafik 23" descr="gear wheel_021_lowres.jpg"/>
          <p:cNvPicPr>
            <a:picLocks noChangeAspect="1"/>
          </p:cNvPicPr>
          <p:nvPr/>
        </p:nvPicPr>
        <p:blipFill>
          <a:blip r:embed="rId12" cstate="print">
            <a:clrChange>
              <a:clrFrom>
                <a:srgbClr val="FFFFFF"/>
              </a:clrFrom>
              <a:clrTo>
                <a:srgbClr val="FFFFFF">
                  <a:alpha val="0"/>
                </a:srgbClr>
              </a:clrTo>
            </a:clrChange>
          </a:blip>
          <a:srcRect/>
          <a:stretch>
            <a:fillRect/>
          </a:stretch>
        </p:blipFill>
        <p:spPr bwMode="auto">
          <a:xfrm>
            <a:off x="827584" y="4640681"/>
            <a:ext cx="8748712" cy="1876668"/>
          </a:xfrm>
          <a:prstGeom prst="rect">
            <a:avLst/>
          </a:prstGeom>
          <a:noFill/>
          <a:ln w="9525">
            <a:noFill/>
            <a:miter lim="800000"/>
            <a:headEnd/>
            <a:tailEnd/>
          </a:ln>
          <a:effectLst/>
        </p:spPr>
      </p:pic>
      <p:grpSp>
        <p:nvGrpSpPr>
          <p:cNvPr id="39" name="Gruppieren 38"/>
          <p:cNvGrpSpPr/>
          <p:nvPr/>
        </p:nvGrpSpPr>
        <p:grpSpPr>
          <a:xfrm rot="741713">
            <a:off x="6845636" y="2549758"/>
            <a:ext cx="2063073" cy="2018951"/>
            <a:chOff x="5881688" y="5013175"/>
            <a:chExt cx="1419826" cy="1389461"/>
          </a:xfrm>
        </p:grpSpPr>
        <p:sp>
          <p:nvSpPr>
            <p:cNvPr id="40" name="Ellipse 39"/>
            <p:cNvSpPr/>
            <p:nvPr/>
          </p:nvSpPr>
          <p:spPr>
            <a:xfrm>
              <a:off x="5881688" y="5143500"/>
              <a:ext cx="1259136" cy="1259136"/>
            </a:xfrm>
            <a:prstGeom prst="ellipse">
              <a:avLst/>
            </a:prstGeom>
            <a:solidFill>
              <a:schemeClr val="bg2"/>
            </a:solidFill>
            <a:ln w="31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smtClean="0">
                <a:solidFill>
                  <a:schemeClr val="tx1"/>
                </a:solidFill>
              </a:endParaRPr>
            </a:p>
          </p:txBody>
        </p:sp>
        <p:pic>
          <p:nvPicPr>
            <p:cNvPr id="41" name="Grafik 4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588223" y="5013175"/>
              <a:ext cx="713291" cy="713291"/>
            </a:xfrm>
            <a:prstGeom prst="rect">
              <a:avLst/>
            </a:prstGeom>
          </p:spPr>
        </p:pic>
        <p:sp>
          <p:nvSpPr>
            <p:cNvPr id="42" name="Textfeld 41"/>
            <p:cNvSpPr txBox="1"/>
            <p:nvPr/>
          </p:nvSpPr>
          <p:spPr>
            <a:xfrm rot="20858287">
              <a:off x="6084888" y="5327937"/>
              <a:ext cx="864394" cy="797060"/>
            </a:xfrm>
            <a:prstGeom prst="rect">
              <a:avLst/>
            </a:prstGeom>
            <a:noFill/>
          </p:spPr>
          <p:txBody>
            <a:bodyPr wrap="square" lIns="0" tIns="0" rIns="0" bIns="0" rtlCol="0" anchor="ctr">
              <a:noAutofit/>
            </a:bodyPr>
            <a:lstStyle/>
            <a:p>
              <a:pPr algn="ctr">
                <a:spcBef>
                  <a:spcPts val="300"/>
                </a:spcBef>
                <a:spcAft>
                  <a:spcPts val="300"/>
                </a:spcAft>
                <a:buClr>
                  <a:schemeClr val="bg2"/>
                </a:buClr>
              </a:pPr>
              <a:r>
                <a:rPr lang="de-CH" sz="3200" b="1" dirty="0" smtClean="0">
                  <a:solidFill>
                    <a:schemeClr val="bg1"/>
                  </a:solidFill>
                  <a:latin typeface="+mn-lt"/>
                </a:rPr>
                <a:t>288 €</a:t>
              </a:r>
            </a:p>
            <a:p>
              <a:pPr algn="ctr">
                <a:spcBef>
                  <a:spcPts val="300"/>
                </a:spcBef>
                <a:spcAft>
                  <a:spcPts val="300"/>
                </a:spcAft>
                <a:buClr>
                  <a:schemeClr val="bg2"/>
                </a:buClr>
              </a:pPr>
              <a:r>
                <a:rPr lang="de-CH" sz="1600" b="1" dirty="0" err="1" smtClean="0">
                  <a:solidFill>
                    <a:schemeClr val="bg1"/>
                  </a:solidFill>
                  <a:latin typeface="+mn-lt"/>
                </a:rPr>
                <a:t>savings</a:t>
              </a:r>
              <a:r>
                <a:rPr lang="de-CH" sz="1600" b="1" dirty="0" smtClean="0">
                  <a:solidFill>
                    <a:schemeClr val="bg1"/>
                  </a:solidFill>
                  <a:latin typeface="+mn-lt"/>
                </a:rPr>
                <a:t> </a:t>
              </a:r>
              <a:r>
                <a:rPr lang="de-CH" sz="1600" b="1" dirty="0" err="1" smtClean="0">
                  <a:solidFill>
                    <a:schemeClr val="bg1"/>
                  </a:solidFill>
                  <a:latin typeface="+mn-lt"/>
                </a:rPr>
                <a:t>with</a:t>
              </a:r>
              <a:r>
                <a:rPr lang="de-CH" sz="1600" b="1" dirty="0" smtClean="0">
                  <a:solidFill>
                    <a:schemeClr val="bg1"/>
                  </a:solidFill>
                  <a:latin typeface="+mn-lt"/>
                </a:rPr>
                <a:t> BALINIT</a:t>
              </a:r>
              <a:r>
                <a:rPr lang="de-CH" sz="1600" b="1" baseline="30000" dirty="0" smtClean="0">
                  <a:solidFill>
                    <a:schemeClr val="bg1"/>
                  </a:solidFill>
                  <a:latin typeface="+mn-lt"/>
                </a:rPr>
                <a:t>®</a:t>
              </a:r>
              <a:r>
                <a:rPr lang="de-CH" sz="1600" b="1" dirty="0" smtClean="0">
                  <a:solidFill>
                    <a:schemeClr val="bg1"/>
                  </a:solidFill>
                  <a:latin typeface="+mn-lt"/>
                </a:rPr>
                <a:t> ALTENSA</a:t>
              </a:r>
              <a:endParaRPr lang="en-US" sz="1600" b="1" dirty="0" err="1" smtClean="0">
                <a:solidFill>
                  <a:schemeClr val="bg1"/>
                </a:solidFill>
                <a:latin typeface="+mn-lt"/>
              </a:endParaRPr>
            </a:p>
          </p:txBody>
        </p:sp>
      </p:grpSp>
      <p:pic>
        <p:nvPicPr>
          <p:cNvPr id="18" name="Picture 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36131" y="3189263"/>
            <a:ext cx="1871662" cy="554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uppieren 18"/>
          <p:cNvGrpSpPr/>
          <p:nvPr/>
        </p:nvGrpSpPr>
        <p:grpSpPr>
          <a:xfrm>
            <a:off x="5771962" y="1962627"/>
            <a:ext cx="1756018" cy="641947"/>
            <a:chOff x="7090303" y="1796891"/>
            <a:chExt cx="1756018" cy="641947"/>
          </a:xfrm>
        </p:grpSpPr>
        <p:pic>
          <p:nvPicPr>
            <p:cNvPr id="20" name="Picture 4"/>
            <p:cNvPicPr>
              <a:picLocks noChangeAspect="1" noChangeArrowheads="1"/>
            </p:cNvPicPr>
            <p:nvPr/>
          </p:nvPicPr>
          <p:blipFill rotWithShape="1">
            <a:blip r:embed="rId15" cstate="print">
              <a:clrChange>
                <a:clrFrom>
                  <a:srgbClr val="EEF3FA"/>
                </a:clrFrom>
                <a:clrTo>
                  <a:srgbClr val="EEF3FA">
                    <a:alpha val="0"/>
                  </a:srgbClr>
                </a:clrTo>
              </a:clrChange>
              <a:extLst>
                <a:ext uri="{28A0092B-C50C-407E-A947-70E740481C1C}">
                  <a14:useLocalDpi xmlns:a14="http://schemas.microsoft.com/office/drawing/2010/main" val="0"/>
                </a:ext>
              </a:extLst>
            </a:blip>
            <a:srcRect l="54562" t="23636" b="15273"/>
            <a:stretch/>
          </p:blipFill>
          <p:spPr bwMode="auto">
            <a:xfrm>
              <a:off x="7752675" y="1796891"/>
              <a:ext cx="1093646" cy="594648"/>
            </a:xfrm>
            <a:prstGeom prst="rect">
              <a:avLst/>
            </a:prstGeom>
            <a:solidFill>
              <a:schemeClr val="bg1"/>
            </a:solidFill>
            <a:ln>
              <a:noFill/>
            </a:ln>
          </p:spPr>
        </p:pic>
        <p:pic>
          <p:nvPicPr>
            <p:cNvPr id="21" name="Picture 4"/>
            <p:cNvPicPr>
              <a:picLocks noChangeAspect="1" noChangeArrowheads="1"/>
            </p:cNvPicPr>
            <p:nvPr/>
          </p:nvPicPr>
          <p:blipFill rotWithShape="1">
            <a:blip r:embed="rId15" cstate="print">
              <a:clrChange>
                <a:clrFrom>
                  <a:srgbClr val="EEF3FA"/>
                </a:clrFrom>
                <a:clrTo>
                  <a:srgbClr val="EEF3FA">
                    <a:alpha val="0"/>
                  </a:srgbClr>
                </a:clrTo>
              </a:clrChange>
              <a:extLst>
                <a:ext uri="{28A0092B-C50C-407E-A947-70E740481C1C}">
                  <a14:useLocalDpi xmlns:a14="http://schemas.microsoft.com/office/drawing/2010/main" val="0"/>
                </a:ext>
              </a:extLst>
            </a:blip>
            <a:srcRect l="16324" t="23636" r="56157" b="15273"/>
            <a:stretch/>
          </p:blipFill>
          <p:spPr bwMode="auto">
            <a:xfrm>
              <a:off x="7090303" y="1844190"/>
              <a:ext cx="662372" cy="594648"/>
            </a:xfrm>
            <a:prstGeom prst="rect">
              <a:avLst/>
            </a:prstGeom>
            <a:solidFill>
              <a:schemeClr val="bg1"/>
            </a:solidFill>
            <a:ln>
              <a:noFill/>
            </a:ln>
          </p:spPr>
        </p:pic>
      </p:grpSp>
    </p:spTree>
    <p:extLst>
      <p:ext uri="{BB962C8B-B14F-4D97-AF65-F5344CB8AC3E}">
        <p14:creationId xmlns:p14="http://schemas.microsoft.com/office/powerpoint/2010/main" val="4017902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2314649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862" name="think-cell Folie" r:id="rId23" imgW="270" imgH="270" progId="TCLayout.ActiveDocument.1">
                  <p:embed/>
                </p:oleObj>
              </mc:Choice>
              <mc:Fallback>
                <p:oleObj name="think-cell Foli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de-CH" sz="1200" smtClean="0">
              <a:solidFill>
                <a:prstClr val="black"/>
              </a:solidFill>
              <a:latin typeface="Arial"/>
              <a:sym typeface="Arial"/>
            </a:endParaRPr>
          </a:p>
        </p:txBody>
      </p:sp>
      <p:sp>
        <p:nvSpPr>
          <p:cNvPr id="45" name="Rechteck 44"/>
          <p:cNvSpPr/>
          <p:nvPr/>
        </p:nvSpPr>
        <p:spPr>
          <a:xfrm>
            <a:off x="395288" y="1062038"/>
            <a:ext cx="5508625" cy="5246687"/>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fontAlgn="auto">
              <a:spcBef>
                <a:spcPts val="300"/>
              </a:spcBef>
              <a:spcAft>
                <a:spcPts val="300"/>
              </a:spcAft>
            </a:pPr>
            <a:endParaRPr lang="de-CH" b="1" smtClean="0">
              <a:solidFill>
                <a:prstClr val="black"/>
              </a:solidFill>
            </a:endParaRPr>
          </a:p>
        </p:txBody>
      </p:sp>
      <p:graphicFrame>
        <p:nvGraphicFramePr>
          <p:cNvPr id="16" name="Tabelle 15"/>
          <p:cNvGraphicFramePr>
            <a:graphicFrameLocks noGrp="1"/>
          </p:cNvGraphicFramePr>
          <p:nvPr>
            <p:extLst>
              <p:ext uri="{D42A27DB-BD31-4B8C-83A1-F6EECF244321}">
                <p14:modId xmlns:p14="http://schemas.microsoft.com/office/powerpoint/2010/main" val="136856179"/>
              </p:ext>
            </p:extLst>
          </p:nvPr>
        </p:nvGraphicFramePr>
        <p:xfrm>
          <a:off x="6091319" y="1052513"/>
          <a:ext cx="2657394" cy="5256211"/>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2657394"/>
              </a:tblGrid>
              <a:tr h="945538">
                <a:tc>
                  <a:txBody>
                    <a:bodyPr/>
                    <a:lstStyle/>
                    <a:p>
                      <a:pPr algn="l"/>
                      <a:r>
                        <a:rPr lang="de-CH" sz="1400" b="1" dirty="0" smtClean="0">
                          <a:solidFill>
                            <a:sysClr val="windowText" lastClr="000000"/>
                          </a:solidFill>
                        </a:rPr>
                        <a:t>Tool:</a:t>
                      </a:r>
                    </a:p>
                    <a:p>
                      <a:pPr marL="0" algn="l" defTabSz="914400" rtl="0" eaLnBrk="1" latinLnBrk="0" hangingPunct="1"/>
                      <a:r>
                        <a:rPr lang="en-GB" sz="1400" b="0" kern="1200" dirty="0" smtClean="0">
                          <a:solidFill>
                            <a:schemeClr val="tx1"/>
                          </a:solidFill>
                          <a:latin typeface="+mn-lt"/>
                          <a:ea typeface="+mn-ea"/>
                          <a:cs typeface="+mn-cs"/>
                        </a:rPr>
                        <a:t>PM-HSS hob (S390)</a:t>
                      </a:r>
                    </a:p>
                    <a:p>
                      <a:pPr algn="l"/>
                      <a:r>
                        <a:rPr lang="en-GB" sz="1400" b="0" dirty="0" smtClean="0">
                          <a:solidFill>
                            <a:schemeClr val="tx1"/>
                          </a:solidFill>
                        </a:rPr>
                        <a:t>D = 70 mm</a:t>
                      </a:r>
                      <a:endParaRPr lang="de-CH" sz="1400" b="0" dirty="0" smtClean="0">
                        <a:solidFill>
                          <a:schemeClr val="tx1"/>
                        </a:solidFill>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r>
              <a:tr h="99724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400" b="1" dirty="0" err="1" smtClean="0"/>
                        <a:t>Workpiece</a:t>
                      </a:r>
                      <a:r>
                        <a:rPr lang="de-CH" sz="1400" b="1" dirty="0" smtClean="0"/>
                        <a:t>:</a:t>
                      </a:r>
                    </a:p>
                    <a:p>
                      <a:pPr marL="0" marR="0" indent="0" algn="l" defTabSz="180975" rtl="0" eaLnBrk="1" fontAlgn="auto" latinLnBrk="0" hangingPunct="1">
                        <a:lnSpc>
                          <a:spcPct val="100000"/>
                        </a:lnSpc>
                        <a:spcBef>
                          <a:spcPts val="0"/>
                        </a:spcBef>
                        <a:spcAft>
                          <a:spcPts val="0"/>
                        </a:spcAft>
                        <a:buClrTx/>
                        <a:buSzTx/>
                        <a:buFontTx/>
                        <a:buNone/>
                        <a:tabLst/>
                        <a:defRPr/>
                      </a:pPr>
                      <a:r>
                        <a:rPr lang="en-GB" sz="1400" b="0" i="0" dirty="0" smtClean="0">
                          <a:solidFill>
                            <a:srgbClr val="000000"/>
                          </a:solidFill>
                        </a:rPr>
                        <a:t>Steel 1.7131</a:t>
                      </a:r>
                      <a:r>
                        <a:rPr lang="en-GB" sz="1400" b="0" i="0" baseline="0" dirty="0" smtClean="0">
                          <a:solidFill>
                            <a:srgbClr val="000000"/>
                          </a:solidFill>
                        </a:rPr>
                        <a:t>  (</a:t>
                      </a:r>
                      <a:r>
                        <a:rPr lang="en-GB" sz="1400" b="0" i="0" dirty="0" err="1" smtClean="0">
                          <a:solidFill>
                            <a:srgbClr val="000000"/>
                          </a:solidFill>
                        </a:rPr>
                        <a:t>AlSI</a:t>
                      </a:r>
                      <a:r>
                        <a:rPr lang="en-GB" sz="1400" b="0" i="0" dirty="0" smtClean="0">
                          <a:solidFill>
                            <a:srgbClr val="000000"/>
                          </a:solidFill>
                        </a:rPr>
                        <a:t> 5115)</a:t>
                      </a:r>
                    </a:p>
                    <a:p>
                      <a:pPr defTabSz="180975"/>
                      <a:endParaRPr lang="en-GB" sz="1400" b="0" i="0" dirty="0" smtClean="0">
                        <a:solidFill>
                          <a:srgbClr val="000000"/>
                        </a:solidFill>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1415601">
                <a:tc>
                  <a:txBody>
                    <a:bodyPr/>
                    <a:lstStyle/>
                    <a:p>
                      <a:pPr algn="l"/>
                      <a:r>
                        <a:rPr lang="de-CH" sz="1400" b="1" dirty="0" err="1" smtClean="0"/>
                        <a:t>Cutting</a:t>
                      </a:r>
                      <a:r>
                        <a:rPr lang="de-CH" sz="1400" b="1" dirty="0" smtClean="0"/>
                        <a:t> </a:t>
                      </a:r>
                      <a:r>
                        <a:rPr lang="de-CH" sz="1400" b="1" dirty="0" err="1" smtClean="0"/>
                        <a:t>data</a:t>
                      </a:r>
                      <a:r>
                        <a:rPr lang="de-CH" sz="1400" b="1" dirty="0" smtClean="0"/>
                        <a:t>:</a:t>
                      </a:r>
                    </a:p>
                    <a:p>
                      <a:pPr defTabSz="180975"/>
                      <a:r>
                        <a:rPr lang="sv-SE" sz="1400" b="1" i="0" baseline="0" dirty="0" smtClean="0">
                          <a:solidFill>
                            <a:srgbClr val="000000"/>
                          </a:solidFill>
                          <a:sym typeface="Wingdings" panose="05000000000000000000" pitchFamily="2" charset="2"/>
                        </a:rPr>
                        <a:t>Cut 1: v</a:t>
                      </a:r>
                      <a:r>
                        <a:rPr lang="sv-SE" sz="1400" b="1" i="0" baseline="-25000" dirty="0" smtClean="0">
                          <a:solidFill>
                            <a:srgbClr val="000000"/>
                          </a:solidFill>
                        </a:rPr>
                        <a:t>c </a:t>
                      </a:r>
                      <a:r>
                        <a:rPr lang="sv-SE" sz="1400" b="1" i="0" dirty="0" smtClean="0">
                          <a:solidFill>
                            <a:srgbClr val="000000"/>
                          </a:solidFill>
                        </a:rPr>
                        <a:t>= 200</a:t>
                      </a:r>
                      <a:r>
                        <a:rPr lang="sv-SE" sz="1400" b="1" i="0" baseline="0" dirty="0" smtClean="0">
                          <a:solidFill>
                            <a:srgbClr val="000000"/>
                          </a:solidFill>
                        </a:rPr>
                        <a:t> </a:t>
                      </a:r>
                    </a:p>
                    <a:p>
                      <a:pPr defTabSz="180975"/>
                      <a:r>
                        <a:rPr lang="sv-SE" sz="1400" b="1" i="0" baseline="0" dirty="0" smtClean="0">
                          <a:solidFill>
                            <a:srgbClr val="000000"/>
                          </a:solidFill>
                          <a:sym typeface="Wingdings" panose="05000000000000000000" pitchFamily="2" charset="2"/>
                        </a:rPr>
                        <a:t>Cut 2: v</a:t>
                      </a:r>
                      <a:r>
                        <a:rPr lang="sv-SE" sz="1400" b="1" i="0" baseline="-25000" dirty="0" smtClean="0">
                          <a:solidFill>
                            <a:srgbClr val="000000"/>
                          </a:solidFill>
                          <a:sym typeface="Wingdings" panose="05000000000000000000" pitchFamily="2" charset="2"/>
                        </a:rPr>
                        <a:t>c</a:t>
                      </a:r>
                      <a:r>
                        <a:rPr lang="sv-SE" sz="1400" b="1" i="0" baseline="0" dirty="0" smtClean="0">
                          <a:solidFill>
                            <a:srgbClr val="000000"/>
                          </a:solidFill>
                          <a:sym typeface="Wingdings" panose="05000000000000000000" pitchFamily="2" charset="2"/>
                        </a:rPr>
                        <a:t> = 320</a:t>
                      </a:r>
                      <a:endParaRPr lang="sv-SE" sz="1400" b="1" i="0" dirty="0" smtClean="0">
                        <a:solidFill>
                          <a:srgbClr val="000000"/>
                        </a:solidFill>
                      </a:endParaRPr>
                    </a:p>
                    <a:p>
                      <a:pPr defTabSz="180975"/>
                      <a:r>
                        <a:rPr lang="sv-SE" sz="1400" b="0" i="0" baseline="0" dirty="0" smtClean="0">
                          <a:solidFill>
                            <a:srgbClr val="000000"/>
                          </a:solidFill>
                          <a:sym typeface="Wingdings" panose="05000000000000000000" pitchFamily="2" charset="2"/>
                        </a:rPr>
                        <a:t>m</a:t>
                      </a:r>
                      <a:r>
                        <a:rPr lang="sv-SE" sz="1400" b="0" i="0" baseline="-25000" dirty="0" smtClean="0">
                          <a:solidFill>
                            <a:srgbClr val="000000"/>
                          </a:solidFill>
                          <a:sym typeface="Wingdings" panose="05000000000000000000" pitchFamily="2" charset="2"/>
                        </a:rPr>
                        <a:t>n</a:t>
                      </a:r>
                      <a:r>
                        <a:rPr lang="sv-SE" sz="1400" b="0" i="0" baseline="0" dirty="0" smtClean="0">
                          <a:solidFill>
                            <a:srgbClr val="000000"/>
                          </a:solidFill>
                          <a:sym typeface="Wingdings" panose="05000000000000000000" pitchFamily="2" charset="2"/>
                        </a:rPr>
                        <a:t> = 1.52</a:t>
                      </a:r>
                    </a:p>
                    <a:p>
                      <a:pPr defTabSz="180975"/>
                      <a:r>
                        <a:rPr lang="sv-SE" sz="1400" b="0" i="0" baseline="0" dirty="0" smtClean="0">
                          <a:solidFill>
                            <a:srgbClr val="000000"/>
                          </a:solidFill>
                          <a:sym typeface="Wingdings" panose="05000000000000000000" pitchFamily="2" charset="2"/>
                        </a:rPr>
                        <a:t>dry</a:t>
                      </a:r>
                    </a:p>
                    <a:p>
                      <a:pPr defTabSz="180975"/>
                      <a:r>
                        <a:rPr lang="sv-SE" sz="1400" b="0" i="0" dirty="0" smtClean="0">
                          <a:solidFill>
                            <a:srgbClr val="000000"/>
                          </a:solidFill>
                        </a:rPr>
                        <a:t>Gearbox for passenger car</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00578">
                <a:tc>
                  <a:txBody>
                    <a:bodyPr/>
                    <a:lstStyle/>
                    <a:p>
                      <a:pPr algn="l"/>
                      <a:r>
                        <a:rPr lang="de-CH" sz="1400" b="1" dirty="0" err="1" smtClean="0"/>
                        <a:t>Benefit</a:t>
                      </a:r>
                      <a:r>
                        <a:rPr lang="de-CH" sz="1400" b="1" dirty="0" smtClean="0"/>
                        <a:t>:</a:t>
                      </a:r>
                    </a:p>
                    <a:p>
                      <a:pPr algn="l"/>
                      <a:r>
                        <a:rPr lang="de-CH" sz="1400" dirty="0" smtClean="0"/>
                        <a:t>+70% t</a:t>
                      </a:r>
                      <a:r>
                        <a:rPr lang="de-CH" sz="1400" baseline="0" dirty="0" smtClean="0"/>
                        <a:t>ool life</a:t>
                      </a:r>
                      <a:endParaRPr lang="de-CH" sz="1400" dirty="0" smtClean="0"/>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r>
              <a:tr h="997247">
                <a:tc>
                  <a:txBody>
                    <a:bodyPr/>
                    <a:lstStyle/>
                    <a:p>
                      <a:pPr algn="l"/>
                      <a:r>
                        <a:rPr lang="de-CH" sz="1400" b="1" dirty="0" smtClean="0"/>
                        <a:t>Source:</a:t>
                      </a:r>
                    </a:p>
                    <a:p>
                      <a:pPr algn="l"/>
                      <a:r>
                        <a:rPr lang="de-CH" sz="1400" dirty="0" smtClean="0"/>
                        <a:t>Automotive </a:t>
                      </a:r>
                    </a:p>
                    <a:p>
                      <a:pPr algn="l"/>
                      <a:r>
                        <a:rPr lang="de-CH" sz="1400" dirty="0" smtClean="0"/>
                        <a:t>Enduser</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r>
            </a:tbl>
          </a:graphicData>
        </a:graphic>
      </p:graphicFrame>
      <p:sp>
        <p:nvSpPr>
          <p:cNvPr id="265218" name="Text Box 2"/>
          <p:cNvSpPr txBox="1">
            <a:spLocks noChangeArrowheads="1"/>
          </p:cNvSpPr>
          <p:nvPr/>
        </p:nvSpPr>
        <p:spPr bwMode="auto">
          <a:xfrm>
            <a:off x="468313" y="1816100"/>
            <a:ext cx="1841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auto">
              <a:spcBef>
                <a:spcPts val="0"/>
              </a:spcBef>
              <a:spcAft>
                <a:spcPts val="0"/>
              </a:spcAft>
            </a:pPr>
            <a:endParaRPr lang="en-GB" sz="1600">
              <a:solidFill>
                <a:prstClr val="black"/>
              </a:solidFill>
              <a:latin typeface="Arial"/>
            </a:endParaRPr>
          </a:p>
        </p:txBody>
      </p:sp>
      <p:sp>
        <p:nvSpPr>
          <p:cNvPr id="2" name="Titel 1"/>
          <p:cNvSpPr>
            <a:spLocks noGrp="1"/>
          </p:cNvSpPr>
          <p:nvPr>
            <p:ph type="title"/>
          </p:nvPr>
        </p:nvSpPr>
        <p:spPr>
          <a:xfrm>
            <a:off x="395288" y="142877"/>
            <a:ext cx="7431976" cy="909635"/>
          </a:xfrm>
        </p:spPr>
        <p:txBody>
          <a:bodyPr/>
          <a:lstStyle/>
          <a:p>
            <a:r>
              <a:rPr lang="en-GB" dirty="0" smtClean="0"/>
              <a:t>PM-HSS hob: Confirmed results at high speed</a:t>
            </a:r>
            <a:br>
              <a:rPr lang="en-GB" dirty="0" smtClean="0"/>
            </a:br>
            <a:r>
              <a:rPr lang="en-GB" altLang="zh-CN" dirty="0" smtClean="0"/>
              <a:t>PM-HSS</a:t>
            </a:r>
            <a:r>
              <a:rPr lang="zh-CN" altLang="en-US" dirty="0" smtClean="0"/>
              <a:t>滚刀：在高速加工下验证的结果</a:t>
            </a:r>
            <a:endParaRPr lang="de-DE" dirty="0"/>
          </a:p>
        </p:txBody>
      </p:sp>
      <p:graphicFrame>
        <p:nvGraphicFramePr>
          <p:cNvPr id="19" name="Object 18"/>
          <p:cNvGraphicFramePr>
            <a:graphicFrameLocks/>
          </p:cNvGraphicFramePr>
          <p:nvPr>
            <p:custDataLst>
              <p:tags r:id="rId4"/>
            </p:custDataLst>
            <p:extLst>
              <p:ext uri="{D42A27DB-BD31-4B8C-83A1-F6EECF244321}">
                <p14:modId xmlns:p14="http://schemas.microsoft.com/office/powerpoint/2010/main" val="4222693386"/>
              </p:ext>
            </p:extLst>
          </p:nvPr>
        </p:nvGraphicFramePr>
        <p:xfrm>
          <a:off x="838200" y="1562100"/>
          <a:ext cx="4990976" cy="4343400"/>
        </p:xfrm>
        <a:graphic>
          <a:graphicData uri="http://schemas.openxmlformats.org/presentationml/2006/ole">
            <mc:AlternateContent xmlns:mc="http://schemas.openxmlformats.org/markup-compatibility/2006">
              <mc:Choice xmlns:v="urn:schemas-microsoft-com:vml" Requires="v">
                <p:oleObj spid="_x0000_s205863" name="Chart" r:id="rId25" imgW="4991167" imgH="4343400" progId="MSGraph.Chart.8">
                  <p:embed followColorScheme="full"/>
                </p:oleObj>
              </mc:Choice>
              <mc:Fallback>
                <p:oleObj name="Chart" r:id="rId25" imgW="4991167" imgH="4343400" progId="MSGraph.Chart.8">
                  <p:embed followColorScheme="full"/>
                  <p:pic>
                    <p:nvPicPr>
                      <p:cNvPr id="0" name=""/>
                      <p:cNvPicPr/>
                      <p:nvPr/>
                    </p:nvPicPr>
                    <p:blipFill>
                      <a:blip r:embed="rId26"/>
                      <a:stretch>
                        <a:fillRect/>
                      </a:stretch>
                    </p:blipFill>
                    <p:spPr>
                      <a:xfrm>
                        <a:off x="838200" y="1562100"/>
                        <a:ext cx="4990976" cy="4343400"/>
                      </a:xfrm>
                      <a:prstGeom prst="rect">
                        <a:avLst/>
                      </a:prstGeom>
                    </p:spPr>
                  </p:pic>
                </p:oleObj>
              </mc:Fallback>
            </mc:AlternateContent>
          </a:graphicData>
        </a:graphic>
      </p:graphicFrame>
      <p:sp>
        <p:nvSpPr>
          <p:cNvPr id="54" name="Textplatzhalter 43"/>
          <p:cNvSpPr>
            <a:spLocks noGrp="1"/>
          </p:cNvSpPr>
          <p:nvPr>
            <p:custDataLst>
              <p:tags r:id="rId5"/>
            </p:custDataLst>
          </p:nvPr>
        </p:nvSpPr>
        <p:spPr bwMode="gray">
          <a:xfrm>
            <a:off x="528638" y="20621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B8817085-34E7-4B40-8001-4D7873AD8360}" type="datetime'''4'''''''''''''''',''''0''''''''''00'''''''''''''''''''''">
              <a:rPr lang="en-US" sz="1200">
                <a:latin typeface="Arial"/>
                <a:sym typeface="Arial"/>
              </a:rPr>
              <a:pPr algn="r">
                <a:spcBef>
                  <a:spcPct val="0"/>
                </a:spcBef>
                <a:spcAft>
                  <a:spcPct val="0"/>
                </a:spcAft>
              </a:pPr>
              <a:t>4,000</a:t>
            </a:fld>
            <a:endParaRPr lang="en-US" sz="1200" dirty="0">
              <a:latin typeface="Arial"/>
              <a:sym typeface="Arial"/>
            </a:endParaRPr>
          </a:p>
        </p:txBody>
      </p:sp>
      <p:sp>
        <p:nvSpPr>
          <p:cNvPr id="55" name="Textplatzhalter 44"/>
          <p:cNvSpPr>
            <a:spLocks noGrp="1"/>
          </p:cNvSpPr>
          <p:nvPr>
            <p:custDataLst>
              <p:tags r:id="rId6"/>
            </p:custDataLst>
          </p:nvPr>
        </p:nvSpPr>
        <p:spPr bwMode="gray">
          <a:xfrm>
            <a:off x="528638" y="16049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824BECB2-9FC2-4EDE-B440-193EB8C5E10C}" type="datetime'4'',5''''''''''''''''''''''''''''''''''''''''''0''0'''''''''''">
              <a:rPr lang="en-US" sz="1200">
                <a:latin typeface="Arial"/>
                <a:sym typeface="Arial"/>
              </a:rPr>
              <a:pPr algn="r">
                <a:spcBef>
                  <a:spcPct val="0"/>
                </a:spcBef>
                <a:spcAft>
                  <a:spcPct val="0"/>
                </a:spcAft>
              </a:pPr>
              <a:t>4,500</a:t>
            </a:fld>
            <a:endParaRPr lang="en-US" sz="1200" dirty="0">
              <a:latin typeface="Arial"/>
              <a:sym typeface="Arial"/>
            </a:endParaRPr>
          </a:p>
        </p:txBody>
      </p:sp>
      <p:sp>
        <p:nvSpPr>
          <p:cNvPr id="27" name="Text Placeholder 3"/>
          <p:cNvSpPr>
            <a:spLocks noGrp="1"/>
          </p:cNvSpPr>
          <p:nvPr>
            <p:custDataLst>
              <p:tags r:id="rId7"/>
            </p:custDataLst>
          </p:nvPr>
        </p:nvSpPr>
        <p:spPr bwMode="gray">
          <a:xfrm>
            <a:off x="823913" y="5710238"/>
            <a:ext cx="841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62EA7047-15FD-4FFB-AB79-657E3C0825E9}" type="datetime'''''''''''''0'''''''''''''''''''''''''''''''''''''">
              <a:rPr lang="en-US" sz="1200">
                <a:latin typeface="Arial"/>
                <a:sym typeface="Arial"/>
              </a:rPr>
              <a:pPr algn="r">
                <a:spcBef>
                  <a:spcPct val="0"/>
                </a:spcBef>
                <a:spcAft>
                  <a:spcPct val="0"/>
                </a:spcAft>
              </a:pPr>
              <a:t>0</a:t>
            </a:fld>
            <a:endParaRPr lang="de-CH" sz="1200" dirty="0">
              <a:latin typeface="Arial"/>
              <a:sym typeface="Arial"/>
            </a:endParaRPr>
          </a:p>
        </p:txBody>
      </p:sp>
      <p:sp>
        <p:nvSpPr>
          <p:cNvPr id="41" name="Text Placeholder 47"/>
          <p:cNvSpPr>
            <a:spLocks noGrp="1"/>
          </p:cNvSpPr>
          <p:nvPr>
            <p:custDataLst>
              <p:tags r:id="rId8"/>
            </p:custDataLst>
          </p:nvPr>
        </p:nvSpPr>
        <p:spPr bwMode="gray">
          <a:xfrm>
            <a:off x="528638" y="4338638"/>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336499EC-EC17-495E-AA80-0C20BD4B6498}" type="datetime'''''''''1'''''''''''''''''',''''''''''''''''5''''00'''">
              <a:rPr lang="en-US" sz="1200">
                <a:latin typeface="Arial"/>
                <a:sym typeface="Arial"/>
              </a:rPr>
              <a:pPr algn="r">
                <a:spcBef>
                  <a:spcPct val="0"/>
                </a:spcBef>
                <a:spcAft>
                  <a:spcPct val="0"/>
                </a:spcAft>
              </a:pPr>
              <a:t>1,500</a:t>
            </a:fld>
            <a:endParaRPr lang="de-CH" sz="1200" dirty="0">
              <a:latin typeface="Arial"/>
              <a:sym typeface="Arial"/>
            </a:endParaRPr>
          </a:p>
        </p:txBody>
      </p:sp>
      <p:sp>
        <p:nvSpPr>
          <p:cNvPr id="36" name="Textplatzhalter 33"/>
          <p:cNvSpPr>
            <a:spLocks noGrp="1"/>
          </p:cNvSpPr>
          <p:nvPr>
            <p:custDataLst>
              <p:tags r:id="rId9"/>
            </p:custDataLst>
          </p:nvPr>
        </p:nvSpPr>
        <p:spPr bwMode="gray">
          <a:xfrm>
            <a:off x="528638" y="29765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19194B7F-888A-4108-ACFF-DFF96871F0FA}" type="datetime'''''''''''''3'''''''''''',''''''''''''0''''''0''''''''''''0'''">
              <a:rPr lang="en-US" sz="1200">
                <a:latin typeface="Arial"/>
                <a:sym typeface="Arial"/>
              </a:rPr>
              <a:pPr algn="r">
                <a:spcBef>
                  <a:spcPct val="0"/>
                </a:spcBef>
                <a:spcAft>
                  <a:spcPct val="0"/>
                </a:spcAft>
              </a:pPr>
              <a:t>3,000</a:t>
            </a:fld>
            <a:endParaRPr lang="en-US" sz="1200" dirty="0">
              <a:latin typeface="Arial"/>
              <a:sym typeface="Arial"/>
            </a:endParaRPr>
          </a:p>
        </p:txBody>
      </p:sp>
      <p:sp>
        <p:nvSpPr>
          <p:cNvPr id="52" name="Textplatzhalter 41"/>
          <p:cNvSpPr>
            <a:spLocks noGrp="1"/>
          </p:cNvSpPr>
          <p:nvPr>
            <p:custDataLst>
              <p:tags r:id="rId10"/>
            </p:custDataLst>
          </p:nvPr>
        </p:nvSpPr>
        <p:spPr bwMode="gray">
          <a:xfrm>
            <a:off x="528638" y="34337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F9D45217-9E30-441F-B0C8-80E873396101}" type="datetime'''''''2'''''''''',''5''''''0''''''''''''''''''''0'''''''''''">
              <a:rPr lang="en-US" sz="1200">
                <a:latin typeface="Arial"/>
                <a:sym typeface="Arial"/>
              </a:rPr>
              <a:pPr algn="r">
                <a:spcBef>
                  <a:spcPct val="0"/>
                </a:spcBef>
                <a:spcAft>
                  <a:spcPct val="0"/>
                </a:spcAft>
              </a:pPr>
              <a:t>2,500</a:t>
            </a:fld>
            <a:endParaRPr lang="en-US" sz="1200" dirty="0">
              <a:latin typeface="Arial"/>
              <a:sym typeface="Arial"/>
            </a:endParaRPr>
          </a:p>
        </p:txBody>
      </p:sp>
      <p:sp>
        <p:nvSpPr>
          <p:cNvPr id="44" name="Textplatzhalter 40"/>
          <p:cNvSpPr>
            <a:spLocks noGrp="1"/>
          </p:cNvSpPr>
          <p:nvPr>
            <p:custDataLst>
              <p:tags r:id="rId11"/>
            </p:custDataLst>
          </p:nvPr>
        </p:nvSpPr>
        <p:spPr bwMode="gray">
          <a:xfrm>
            <a:off x="528638" y="3881438"/>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417555BC-F369-4B9D-A3CB-5DAF5DE44350}" type="datetime'''2'''''''''',''''''0''''''''''''''''0''''''''0'''''''''">
              <a:rPr lang="en-US" sz="1200">
                <a:latin typeface="Arial"/>
                <a:sym typeface="Arial"/>
              </a:rPr>
              <a:pPr algn="r">
                <a:spcBef>
                  <a:spcPct val="0"/>
                </a:spcBef>
                <a:spcAft>
                  <a:spcPct val="0"/>
                </a:spcAft>
              </a:pPr>
              <a:t>2,000</a:t>
            </a:fld>
            <a:endParaRPr lang="en-US" sz="1200" dirty="0">
              <a:latin typeface="Arial"/>
              <a:sym typeface="Arial"/>
            </a:endParaRPr>
          </a:p>
        </p:txBody>
      </p:sp>
      <p:sp>
        <p:nvSpPr>
          <p:cNvPr id="43" name="Textplatzhalter 39"/>
          <p:cNvSpPr>
            <a:spLocks noGrp="1"/>
          </p:cNvSpPr>
          <p:nvPr>
            <p:custDataLst>
              <p:tags r:id="rId12"/>
            </p:custDataLst>
          </p:nvPr>
        </p:nvSpPr>
        <p:spPr bwMode="gray">
          <a:xfrm>
            <a:off x="528638" y="4795838"/>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1331F26E-3F89-4F4D-BC6B-A3D2102722B7}" type="datetime'''''''''''''''''''1'',''0''''''''0''''''0'''''''">
              <a:rPr lang="en-US" sz="1200">
                <a:latin typeface="Arial"/>
                <a:sym typeface="Arial"/>
              </a:rPr>
              <a:pPr algn="r">
                <a:spcBef>
                  <a:spcPct val="0"/>
                </a:spcBef>
                <a:spcAft>
                  <a:spcPct val="0"/>
                </a:spcAft>
              </a:pPr>
              <a:t>1,000</a:t>
            </a:fld>
            <a:endParaRPr lang="en-US" sz="1200" dirty="0">
              <a:latin typeface="Arial"/>
              <a:sym typeface="Arial"/>
            </a:endParaRPr>
          </a:p>
        </p:txBody>
      </p:sp>
      <p:sp>
        <p:nvSpPr>
          <p:cNvPr id="42" name="Textplatzhalter 38"/>
          <p:cNvSpPr>
            <a:spLocks noGrp="1"/>
          </p:cNvSpPr>
          <p:nvPr>
            <p:custDataLst>
              <p:tags r:id="rId13"/>
            </p:custDataLst>
          </p:nvPr>
        </p:nvSpPr>
        <p:spPr bwMode="gray">
          <a:xfrm>
            <a:off x="655638" y="525303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38861ABF-93F4-4F2C-B7B3-A2A4D442F779}" type="datetime'''''5''''''''''''''''''''''''0''''''''0'''''''''''">
              <a:rPr lang="en-US" sz="1200">
                <a:latin typeface="Arial"/>
                <a:sym typeface="Arial"/>
              </a:rPr>
              <a:pPr algn="r">
                <a:spcBef>
                  <a:spcPct val="0"/>
                </a:spcBef>
                <a:spcAft>
                  <a:spcPct val="0"/>
                </a:spcAft>
              </a:pPr>
              <a:t>500</a:t>
            </a:fld>
            <a:endParaRPr lang="en-US" sz="1200" dirty="0">
              <a:latin typeface="Arial"/>
              <a:sym typeface="Arial"/>
            </a:endParaRPr>
          </a:p>
        </p:txBody>
      </p:sp>
      <p:sp>
        <p:nvSpPr>
          <p:cNvPr id="53" name="Textplatzhalter 42"/>
          <p:cNvSpPr>
            <a:spLocks noGrp="1"/>
          </p:cNvSpPr>
          <p:nvPr>
            <p:custDataLst>
              <p:tags r:id="rId14"/>
            </p:custDataLst>
          </p:nvPr>
        </p:nvSpPr>
        <p:spPr bwMode="gray">
          <a:xfrm>
            <a:off x="528638" y="25193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r">
              <a:spcBef>
                <a:spcPct val="0"/>
              </a:spcBef>
              <a:spcAft>
                <a:spcPct val="0"/>
              </a:spcAft>
            </a:pPr>
            <a:fld id="{51AB660B-5E25-48B2-AC79-69CE2FB92C84}" type="datetime'''''''''3'''''''''',5''''''0''''''''''''''''''''''0'''''''''">
              <a:rPr lang="en-US" sz="1200">
                <a:latin typeface="Arial"/>
                <a:sym typeface="Arial"/>
              </a:rPr>
              <a:pPr algn="r">
                <a:spcBef>
                  <a:spcPct val="0"/>
                </a:spcBef>
                <a:spcAft>
                  <a:spcPct val="0"/>
                </a:spcAft>
              </a:pPr>
              <a:t>3,500</a:t>
            </a:fld>
            <a:endParaRPr lang="en-US" sz="1200" dirty="0">
              <a:latin typeface="Arial"/>
              <a:sym typeface="Arial"/>
            </a:endParaRPr>
          </a:p>
        </p:txBody>
      </p:sp>
      <p:cxnSp>
        <p:nvCxnSpPr>
          <p:cNvPr id="6" name="Gerade Verbindung 5"/>
          <p:cNvCxnSpPr/>
          <p:nvPr>
            <p:custDataLst>
              <p:tags r:id="rId15"/>
            </p:custDataLst>
          </p:nvPr>
        </p:nvCxnSpPr>
        <p:spPr bwMode="gray">
          <a:xfrm>
            <a:off x="2200275" y="1943100"/>
            <a:ext cx="2347913" cy="0"/>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Gerade Verbindung 6"/>
          <p:cNvCxnSpPr/>
          <p:nvPr>
            <p:custDataLst>
              <p:tags r:id="rId16"/>
            </p:custDataLst>
          </p:nvPr>
        </p:nvCxnSpPr>
        <p:spPr bwMode="gray">
          <a:xfrm>
            <a:off x="4548188" y="1943100"/>
            <a:ext cx="0" cy="152400"/>
          </a:xfrm>
          <a:prstGeom prst="line">
            <a:avLst/>
          </a:prstGeom>
          <a:ln w="12700">
            <a:solidFill>
              <a:schemeClr val="bg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 name="Gerade Verbindung 4"/>
          <p:cNvCxnSpPr/>
          <p:nvPr>
            <p:custDataLst>
              <p:tags r:id="rId17"/>
            </p:custDataLst>
          </p:nvPr>
        </p:nvCxnSpPr>
        <p:spPr bwMode="gray">
          <a:xfrm flipV="1">
            <a:off x="2200275" y="1943100"/>
            <a:ext cx="0" cy="1647825"/>
          </a:xfrm>
          <a:prstGeom prst="line">
            <a:avLst/>
          </a:prstGeom>
          <a:ln w="127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hteck 27"/>
          <p:cNvSpPr/>
          <p:nvPr>
            <p:custDataLst>
              <p:tags r:id="rId18"/>
            </p:custDataLst>
          </p:nvPr>
        </p:nvSpPr>
        <p:spPr bwMode="auto">
          <a:xfrm>
            <a:off x="3709988" y="5962650"/>
            <a:ext cx="167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r>
              <a:rPr lang="en-US" sz="1400" b="1" dirty="0"/>
              <a:t>BALINIT</a:t>
            </a:r>
            <a:r>
              <a:rPr lang="en-US" sz="1400" b="1" baseline="30000" dirty="0"/>
              <a:t>® </a:t>
            </a:r>
            <a:r>
              <a:rPr lang="en-US" sz="1400" b="1" dirty="0"/>
              <a:t>ALTENSA</a:t>
            </a:r>
            <a:endParaRPr lang="de-CH" sz="1400" b="1" dirty="0">
              <a:solidFill>
                <a:prstClr val="black"/>
              </a:solidFill>
              <a:sym typeface="Arial"/>
            </a:endParaRPr>
          </a:p>
        </p:txBody>
      </p:sp>
      <p:sp>
        <p:nvSpPr>
          <p:cNvPr id="25" name="Rechteck 28"/>
          <p:cNvSpPr/>
          <p:nvPr>
            <p:custDataLst>
              <p:tags r:id="rId19"/>
            </p:custDataLst>
          </p:nvPr>
        </p:nvSpPr>
        <p:spPr bwMode="auto">
          <a:xfrm>
            <a:off x="1117600" y="5962650"/>
            <a:ext cx="216693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rtlCol="0" anchor="t" anchorCtr="0" compatLnSpc="1">
            <a:prstTxWarp prst="textNoShape">
              <a:avLst/>
            </a:prstTxWarp>
            <a:noAutofit/>
          </a:bodyPr>
          <a:lstStyle/>
          <a:p>
            <a:pPr algn="ctr"/>
            <a:r>
              <a:rPr lang="en-US" sz="1400" b="1" dirty="0"/>
              <a:t>BALINIT</a:t>
            </a:r>
            <a:r>
              <a:rPr lang="en-US" sz="1400" b="1" baseline="30000" dirty="0"/>
              <a:t>®</a:t>
            </a:r>
            <a:r>
              <a:rPr lang="en-US" sz="1400" b="1" dirty="0"/>
              <a:t> </a:t>
            </a:r>
            <a:r>
              <a:rPr lang="en-US" sz="1400" b="1" dirty="0" smtClean="0"/>
              <a:t>ALCRONA </a:t>
            </a:r>
            <a:r>
              <a:rPr lang="en-US" sz="1400" b="1" dirty="0"/>
              <a:t>PRO</a:t>
            </a:r>
          </a:p>
        </p:txBody>
      </p:sp>
      <p:sp>
        <p:nvSpPr>
          <p:cNvPr id="56" name="Textplatzhalter 45"/>
          <p:cNvSpPr>
            <a:spLocks noGrp="1"/>
          </p:cNvSpPr>
          <p:nvPr>
            <p:custDataLst>
              <p:tags r:id="rId20"/>
            </p:custDataLst>
          </p:nvPr>
        </p:nvSpPr>
        <p:spPr bwMode="auto">
          <a:xfrm>
            <a:off x="3049588" y="1806575"/>
            <a:ext cx="649288" cy="273050"/>
          </a:xfrm>
          <a:prstGeom prst="ellipse">
            <a:avLst/>
          </a:prstGeom>
          <a:solidFill>
            <a:srgbClr val="FFFFFF"/>
          </a:solidFill>
          <a:ln w="9525">
            <a:solidFill>
              <a:schemeClr val="bg2"/>
            </a:solidFill>
          </a:ln>
        </p:spPr>
        <p:txBody>
          <a:bodyPr vert="horz" wrap="none" lIns="0" tIns="0" rIns="0" bIns="0" numCol="1" spcCol="0" rtl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a:lnSpc>
                <a:spcPct val="90000"/>
              </a:lnSpc>
              <a:spcBef>
                <a:spcPct val="0"/>
              </a:spcBef>
              <a:spcAft>
                <a:spcPct val="0"/>
              </a:spcAft>
            </a:pPr>
            <a:r>
              <a:rPr lang="en-US" sz="1400" b="1" dirty="0" smtClean="0">
                <a:sym typeface="HelveticaNeueLT Com 45 Lt"/>
              </a:rPr>
              <a:t>+70%</a:t>
            </a:r>
            <a:endParaRPr lang="en-US" sz="1400" b="1" dirty="0">
              <a:sym typeface="HelveticaNeueLT Com 45 Lt"/>
            </a:endParaRPr>
          </a:p>
        </p:txBody>
      </p:sp>
      <p:pic>
        <p:nvPicPr>
          <p:cNvPr id="34" name="Grafik 33"/>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5042886" y="1909763"/>
            <a:ext cx="495574" cy="495574"/>
          </a:xfrm>
          <a:prstGeom prst="rect">
            <a:avLst/>
          </a:prstGeom>
        </p:spPr>
      </p:pic>
      <p:sp>
        <p:nvSpPr>
          <p:cNvPr id="31" name="Rectangle 12"/>
          <p:cNvSpPr/>
          <p:nvPr/>
        </p:nvSpPr>
        <p:spPr>
          <a:xfrm>
            <a:off x="539750" y="1204913"/>
            <a:ext cx="2088034" cy="276999"/>
          </a:xfrm>
          <a:prstGeom prst="rect">
            <a:avLst/>
          </a:prstGeom>
        </p:spPr>
        <p:txBody>
          <a:bodyPr wrap="square" lIns="0">
            <a:spAutoFit/>
          </a:bodyPr>
          <a:lstStyle/>
          <a:p>
            <a:pPr fontAlgn="auto">
              <a:spcBef>
                <a:spcPts val="0"/>
              </a:spcBef>
              <a:spcAft>
                <a:spcPts val="0"/>
              </a:spcAft>
            </a:pPr>
            <a:r>
              <a:rPr lang="en-GB" sz="1200" dirty="0" smtClean="0">
                <a:solidFill>
                  <a:srgbClr val="000000"/>
                </a:solidFill>
                <a:latin typeface="Arial"/>
              </a:rPr>
              <a:t>Tool life (no. of gears)</a:t>
            </a:r>
          </a:p>
        </p:txBody>
      </p:sp>
      <p:pic>
        <p:nvPicPr>
          <p:cNvPr id="32" name="Picture 24"/>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rot="10800000">
            <a:off x="7524328" y="4963713"/>
            <a:ext cx="1569100" cy="1569100"/>
          </a:xfrm>
          <a:prstGeom prst="ellipse">
            <a:avLst/>
          </a:prstGeom>
          <a:noFill/>
          <a:ln>
            <a:solidFill>
              <a:schemeClr val="accent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949433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6000" y="1691516"/>
            <a:ext cx="6465600" cy="1846659"/>
          </a:xfrm>
        </p:spPr>
        <p:txBody>
          <a:bodyPr/>
          <a:lstStyle/>
          <a:p>
            <a:r>
              <a:rPr lang="de-CH" dirty="0" smtClean="0"/>
              <a:t>Thank you!</a:t>
            </a:r>
            <a:br>
              <a:rPr lang="de-CH" dirty="0" smtClean="0"/>
            </a:br>
            <a:r>
              <a:rPr lang="zh-CN" altLang="en-US" dirty="0"/>
              <a:t>谢</a:t>
            </a:r>
            <a:r>
              <a:rPr lang="zh-CN" altLang="en-US" dirty="0" smtClean="0"/>
              <a:t>谢！</a:t>
            </a:r>
            <a:r>
              <a:rPr lang="de-CH" dirty="0" smtClean="0"/>
              <a:t/>
            </a:r>
            <a:br>
              <a:rPr lang="de-CH" dirty="0" smtClean="0"/>
            </a:br>
            <a:r>
              <a:rPr lang="de-CH" dirty="0"/>
              <a:t/>
            </a:r>
            <a:br>
              <a:rPr lang="de-CH" dirty="0"/>
            </a:br>
            <a:r>
              <a:rPr lang="de-CH" dirty="0" smtClean="0"/>
              <a:t>Time for questions and answers</a:t>
            </a:r>
            <a:br>
              <a:rPr lang="de-CH" dirty="0" smtClean="0"/>
            </a:br>
            <a:r>
              <a:rPr lang="zh-CN" altLang="en-US" dirty="0"/>
              <a:t>提问回</a:t>
            </a:r>
            <a:r>
              <a:rPr lang="zh-CN" altLang="en-US" dirty="0" smtClean="0"/>
              <a:t>答时间</a:t>
            </a:r>
            <a:endParaRPr lang="en-US" dirty="0"/>
          </a:p>
        </p:txBody>
      </p:sp>
      <p:sp>
        <p:nvSpPr>
          <p:cNvPr id="5" name="Slide Number Placeholder 4"/>
          <p:cNvSpPr>
            <a:spLocks noGrp="1"/>
          </p:cNvSpPr>
          <p:nvPr>
            <p:ph type="sldNum" sz="quarter" idx="12"/>
          </p:nvPr>
        </p:nvSpPr>
        <p:spPr/>
        <p:txBody>
          <a:bodyPr/>
          <a:lstStyle/>
          <a:p>
            <a:pPr fontAlgn="base">
              <a:spcBef>
                <a:spcPct val="0"/>
              </a:spcBef>
              <a:spcAft>
                <a:spcPct val="0"/>
              </a:spcAft>
            </a:pPr>
            <a:r>
              <a:rPr lang="en-US" smtClean="0">
                <a:solidFill>
                  <a:srgbClr val="000000"/>
                </a:solidFill>
              </a:rPr>
              <a:t>Page </a:t>
            </a:r>
            <a:fld id="{4F5999B1-0A11-48CC-9885-42BBD6108783}" type="slidenum">
              <a:rPr lang="en-US" smtClean="0">
                <a:solidFill>
                  <a:srgbClr val="000000"/>
                </a:solidFill>
              </a:rPr>
              <a:pPr fontAlgn="base">
                <a:spcBef>
                  <a:spcPct val="0"/>
                </a:spcBef>
                <a:spcAft>
                  <a:spcPct val="0"/>
                </a:spcAft>
              </a:pPr>
              <a:t>29</a:t>
            </a:fld>
            <a:endParaRPr lang="en-US">
              <a:solidFill>
                <a:srgbClr val="000000"/>
              </a:solidFill>
            </a:endParaRPr>
          </a:p>
        </p:txBody>
      </p:sp>
    </p:spTree>
    <p:extLst>
      <p:ext uri="{BB962C8B-B14F-4D97-AF65-F5344CB8AC3E}">
        <p14:creationId xmlns:p14="http://schemas.microsoft.com/office/powerpoint/2010/main" val="30753564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 dirty="0"/>
              <a:t>Core </a:t>
            </a:r>
            <a:r>
              <a:rPr lang="en" dirty="0" smtClean="0"/>
              <a:t>expertise</a:t>
            </a:r>
            <a:r>
              <a:rPr lang="en" dirty="0"/>
              <a:t>: </a:t>
            </a:r>
            <a:r>
              <a:rPr lang="en" dirty="0" smtClean="0"/>
              <a:t>Surface Solutions</a:t>
            </a:r>
            <a:br>
              <a:rPr lang="en" dirty="0" smtClean="0"/>
            </a:br>
            <a:r>
              <a:rPr lang="zh-CN" altLang="en-US" dirty="0">
                <a:latin typeface="微软雅黑" panose="020B0503020204020204" pitchFamily="34" charset="-122"/>
                <a:ea typeface="微软雅黑" panose="020B0503020204020204" pitchFamily="34" charset="-122"/>
              </a:rPr>
              <a:t>核心</a:t>
            </a:r>
            <a:r>
              <a:rPr lang="zh-CN" altLang="en-US" dirty="0" smtClean="0">
                <a:latin typeface="微软雅黑" panose="020B0503020204020204" pitchFamily="34" charset="-122"/>
                <a:ea typeface="微软雅黑" panose="020B0503020204020204" pitchFamily="34" charset="-122"/>
              </a:rPr>
              <a:t>业务：表面处理</a:t>
            </a:r>
            <a:endParaRPr lang="de-CH" dirty="0">
              <a:latin typeface="微软雅黑" panose="020B0503020204020204" pitchFamily="34" charset="-122"/>
              <a:ea typeface="微软雅黑" panose="020B0503020204020204" pitchFamily="34" charset="-122"/>
            </a:endParaRPr>
          </a:p>
        </p:txBody>
      </p:sp>
      <p:sp>
        <p:nvSpPr>
          <p:cNvPr id="5" name="Foliennummernplatzhalter 4"/>
          <p:cNvSpPr>
            <a:spLocks noGrp="1"/>
          </p:cNvSpPr>
          <p:nvPr>
            <p:ph type="sldNum" sz="quarter" idx="11"/>
          </p:nvPr>
        </p:nvSpPr>
        <p:spPr/>
        <p:txBody>
          <a:bodyPr/>
          <a:lstStyle/>
          <a:p>
            <a:pPr>
              <a:defRPr/>
            </a:pPr>
            <a:r>
              <a:rPr lang="en-US" altLang="en-US" dirty="0" smtClean="0"/>
              <a:t>Page </a:t>
            </a:r>
            <a:fld id="{7A23EB25-768B-4FEA-8C49-B2F9E2D1AC20}" type="slidenum">
              <a:rPr lang="en-US" altLang="en-US" smtClean="0"/>
              <a:pPr>
                <a:defRPr/>
              </a:pPr>
              <a:t>3</a:t>
            </a:fld>
            <a:endParaRPr lang="en-US" altLang="en-US" dirty="0"/>
          </a:p>
        </p:txBody>
      </p:sp>
      <p:grpSp>
        <p:nvGrpSpPr>
          <p:cNvPr id="57" name="Group 28"/>
          <p:cNvGrpSpPr/>
          <p:nvPr/>
        </p:nvGrpSpPr>
        <p:grpSpPr bwMode="gray">
          <a:xfrm>
            <a:off x="2672452" y="2762779"/>
            <a:ext cx="1052951" cy="419937"/>
            <a:chOff x="7704136" y="15437"/>
            <a:chExt cx="1044577" cy="416596"/>
          </a:xfrm>
        </p:grpSpPr>
        <p:sp>
          <p:nvSpPr>
            <p:cNvPr id="58" name="Freeform 10"/>
            <p:cNvSpPr>
              <a:spLocks noEditPoints="1"/>
            </p:cNvSpPr>
            <p:nvPr/>
          </p:nvSpPr>
          <p:spPr bwMode="gray">
            <a:xfrm>
              <a:off x="7704136" y="15437"/>
              <a:ext cx="1044575" cy="223838"/>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fontAlgn="auto" hangingPunct="1">
                <a:spcBef>
                  <a:spcPts val="0"/>
                </a:spcBef>
                <a:spcAft>
                  <a:spcPts val="0"/>
                </a:spcAft>
              </a:pPr>
              <a:endParaRPr lang="en-US" sz="1800" dirty="0">
                <a:solidFill>
                  <a:prstClr val="black"/>
                </a:solidFill>
                <a:latin typeface="Arial"/>
              </a:endParaRPr>
            </a:p>
          </p:txBody>
        </p:sp>
        <p:pic>
          <p:nvPicPr>
            <p:cNvPr id="61" name="Picture 10" descr="oe_balz_pos_rgb"/>
            <p:cNvPicPr>
              <a:picLocks noChangeAspect="1" noChangeArrowheads="1"/>
            </p:cNvPicPr>
            <p:nvPr/>
          </p:nvPicPr>
          <p:blipFill rotWithShape="1">
            <a:blip r:embed="rId6" cstate="print"/>
            <a:srcRect t="53761"/>
            <a:stretch/>
          </p:blipFill>
          <p:spPr bwMode="gray">
            <a:xfrm>
              <a:off x="7704138" y="239274"/>
              <a:ext cx="1044575" cy="192759"/>
            </a:xfrm>
            <a:prstGeom prst="rect">
              <a:avLst/>
            </a:prstGeom>
            <a:noFill/>
          </p:spPr>
        </p:pic>
      </p:grpSp>
      <p:sp>
        <p:nvSpPr>
          <p:cNvPr id="68" name="Rectangle 18"/>
          <p:cNvSpPr>
            <a:spLocks noChangeArrowheads="1"/>
          </p:cNvSpPr>
          <p:nvPr/>
        </p:nvSpPr>
        <p:spPr bwMode="gray">
          <a:xfrm>
            <a:off x="2672452" y="1916832"/>
            <a:ext cx="1755532" cy="720006"/>
          </a:xfrm>
          <a:prstGeom prst="rect">
            <a:avLst/>
          </a:prstGeom>
          <a:solidFill>
            <a:schemeClr val="bg2"/>
          </a:solidFill>
          <a:ln>
            <a:noFill/>
          </a:ln>
          <a:extLst/>
        </p:spPr>
        <p:txBody>
          <a:bodyPr lIns="72000" tIns="36000" rIns="72000" bIns="36000"/>
          <a:lstStyle/>
          <a:p>
            <a:pPr>
              <a:buClr>
                <a:srgbClr val="5F5F5F"/>
              </a:buClr>
              <a:buFont typeface="Wingdings" pitchFamily="2" charset="2"/>
              <a:buNone/>
            </a:pPr>
            <a:r>
              <a:rPr lang="en-US" sz="1400" b="1" dirty="0">
                <a:solidFill>
                  <a:schemeClr val="bg1"/>
                </a:solidFill>
                <a:latin typeface="Arial" pitchFamily="34" charset="0"/>
              </a:rPr>
              <a:t>Surface Solutions</a:t>
            </a:r>
          </a:p>
          <a:p>
            <a:pPr>
              <a:buClr>
                <a:srgbClr val="5F5F5F"/>
              </a:buClr>
              <a:buFont typeface="Wingdings" pitchFamily="2" charset="2"/>
              <a:buNone/>
            </a:pPr>
            <a:r>
              <a:rPr lang="en-US" sz="1400" b="1" dirty="0" smtClean="0">
                <a:solidFill>
                  <a:schemeClr val="bg1"/>
                </a:solidFill>
                <a:latin typeface="Arial" pitchFamily="34" charset="0"/>
              </a:rPr>
              <a:t>Segment </a:t>
            </a:r>
          </a:p>
          <a:p>
            <a:pPr>
              <a:buClr>
                <a:srgbClr val="5F5F5F"/>
              </a:buClr>
              <a:buFont typeface="Wingdings" pitchFamily="2" charset="2"/>
              <a:buNone/>
            </a:pPr>
            <a:r>
              <a:rPr lang="zh-CN" altLang="en-US" sz="1400" b="1" dirty="0" smtClean="0">
                <a:solidFill>
                  <a:schemeClr val="bg1"/>
                </a:solidFill>
                <a:latin typeface="微软雅黑" panose="020B0503020204020204" pitchFamily="34" charset="-122"/>
                <a:ea typeface="微软雅黑" panose="020B0503020204020204" pitchFamily="34" charset="-122"/>
              </a:rPr>
              <a:t>表面处理事业板块</a:t>
            </a:r>
            <a:endParaRPr lang="en-US" sz="1400" b="1" dirty="0">
              <a:solidFill>
                <a:schemeClr val="bg1"/>
              </a:solidFill>
              <a:latin typeface="微软雅黑" panose="020B0503020204020204" pitchFamily="34" charset="-122"/>
              <a:ea typeface="微软雅黑" panose="020B0503020204020204" pitchFamily="34" charset="-122"/>
            </a:endParaRPr>
          </a:p>
        </p:txBody>
      </p:sp>
      <p:pic>
        <p:nvPicPr>
          <p:cNvPr id="71" name="Bild 18" descr="oe_metco_pos_RGB.gif"/>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2454" y="3262951"/>
            <a:ext cx="1060782" cy="417668"/>
          </a:xfrm>
          <a:prstGeom prst="rect">
            <a:avLst/>
          </a:prstGeom>
        </p:spPr>
      </p:pic>
      <p:sp>
        <p:nvSpPr>
          <p:cNvPr id="23" name="Rectangle 15"/>
          <p:cNvSpPr>
            <a:spLocks noChangeArrowheads="1"/>
          </p:cNvSpPr>
          <p:nvPr>
            <p:custDataLst>
              <p:tags r:id="rId1"/>
            </p:custDataLst>
          </p:nvPr>
        </p:nvSpPr>
        <p:spPr bwMode="gray">
          <a:xfrm>
            <a:off x="5292080" y="1917700"/>
            <a:ext cx="1584970" cy="730250"/>
          </a:xfrm>
          <a:prstGeom prst="rect">
            <a:avLst/>
          </a:prstGeom>
          <a:solidFill>
            <a:schemeClr val="tx2">
              <a:lumMod val="50000"/>
            </a:schemeClr>
          </a:solidFill>
          <a:ln>
            <a:noFill/>
          </a:ln>
          <a:extLst/>
        </p:spPr>
        <p:txBody>
          <a:bodyPr lIns="72000" tIns="36000" rIns="72000" bIns="360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buClr>
                <a:srgbClr val="5F5F5F"/>
              </a:buClr>
              <a:buFont typeface="Wingdings" pitchFamily="2" charset="2"/>
              <a:buNone/>
            </a:pPr>
            <a:r>
              <a:rPr lang="en-US" altLang="de-DE" sz="1400" b="1" dirty="0" smtClean="0">
                <a:solidFill>
                  <a:schemeClr val="bg1"/>
                </a:solidFill>
                <a:sym typeface="Arial" pitchFamily="34" charset="0"/>
              </a:rPr>
              <a:t>Manmade Fibers Segment</a:t>
            </a:r>
          </a:p>
          <a:p>
            <a:pPr>
              <a:buClr>
                <a:srgbClr val="5F5F5F"/>
              </a:buClr>
              <a:buFont typeface="Wingdings" pitchFamily="2" charset="2"/>
              <a:buNone/>
            </a:pPr>
            <a:r>
              <a:rPr lang="zh-CN" altLang="en-US" sz="1400" b="1" dirty="0" smtClean="0">
                <a:solidFill>
                  <a:schemeClr val="bg1"/>
                </a:solidFill>
                <a:latin typeface="微软雅黑" panose="020B0503020204020204" pitchFamily="34" charset="-122"/>
                <a:ea typeface="微软雅黑" panose="020B0503020204020204" pitchFamily="34" charset="-122"/>
                <a:sym typeface="Arial" pitchFamily="34" charset="0"/>
              </a:rPr>
              <a:t>人造纤维事业板块</a:t>
            </a:r>
            <a:endParaRPr lang="en-US" altLang="de-DE" sz="1400" b="1" dirty="0">
              <a:solidFill>
                <a:schemeClr val="bg1"/>
              </a:solidFill>
              <a:latin typeface="微软雅黑" panose="020B0503020204020204" pitchFamily="34" charset="-122"/>
              <a:ea typeface="微软雅黑" panose="020B0503020204020204" pitchFamily="34" charset="-122"/>
              <a:sym typeface="Arial" pitchFamily="34" charset="0"/>
            </a:endParaRPr>
          </a:p>
        </p:txBody>
      </p:sp>
      <p:pic>
        <p:nvPicPr>
          <p:cNvPr id="30" name="Picture 14" descr="oe_pos_rgb"/>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gray">
          <a:xfrm>
            <a:off x="3468688" y="1052513"/>
            <a:ext cx="219710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 descr="M:\00_Data\13_Logo\oe_barmag_pos_rgb.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92080" y="2744732"/>
            <a:ext cx="1018227" cy="43798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 descr="M:\00_Data\13_Logo\oe_neumag_pos_rgb.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292080" y="3278857"/>
            <a:ext cx="1018227" cy="43798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M:\00_Data\13_Logo\oe_graz_pos_rgb.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488463" y="2747450"/>
            <a:ext cx="1018227" cy="43798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7" descr="M:\00_Data\13_Logo\oe_fair_pos_rgb.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488463" y="3286579"/>
            <a:ext cx="1018227" cy="40004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Gewinkelte Verbindung 10"/>
          <p:cNvCxnSpPr>
            <a:stCxn id="30" idx="2"/>
            <a:endCxn id="23" idx="0"/>
          </p:cNvCxnSpPr>
          <p:nvPr/>
        </p:nvCxnSpPr>
        <p:spPr>
          <a:xfrm rot="16200000" flipH="1">
            <a:off x="5123495" y="956630"/>
            <a:ext cx="404812" cy="1517327"/>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winkelte Verbindung 13"/>
          <p:cNvCxnSpPr>
            <a:stCxn id="30" idx="2"/>
            <a:endCxn id="68" idx="0"/>
          </p:cNvCxnSpPr>
          <p:nvPr/>
        </p:nvCxnSpPr>
        <p:spPr>
          <a:xfrm rot="5400000">
            <a:off x="3856756" y="1206350"/>
            <a:ext cx="403944" cy="1017020"/>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tangle 15"/>
          <p:cNvSpPr>
            <a:spLocks noChangeArrowheads="1"/>
          </p:cNvSpPr>
          <p:nvPr/>
        </p:nvSpPr>
        <p:spPr bwMode="auto">
          <a:xfrm>
            <a:off x="395288" y="1920621"/>
            <a:ext cx="1440409" cy="719826"/>
          </a:xfrm>
          <a:prstGeom prst="rect">
            <a:avLst/>
          </a:prstGeom>
          <a:solidFill>
            <a:schemeClr val="accent2"/>
          </a:solidFill>
          <a:ln>
            <a:noFill/>
          </a:ln>
          <a:effectLst/>
          <a:extLst/>
        </p:spPr>
        <p:txBody>
          <a:bodyPr wrap="none" lIns="36000" tIns="36000" rIns="36000" bIns="36000"/>
          <a:lstStyle/>
          <a:p>
            <a:pPr algn="l"/>
            <a:r>
              <a:rPr lang="en-US" sz="1400" b="1" dirty="0" smtClean="0"/>
              <a:t>Oerlikon </a:t>
            </a:r>
          </a:p>
          <a:p>
            <a:pPr algn="l"/>
            <a:r>
              <a:rPr lang="en-US" sz="1400" b="1" dirty="0" smtClean="0"/>
              <a:t>Group</a:t>
            </a:r>
          </a:p>
          <a:p>
            <a:pPr algn="l"/>
            <a:r>
              <a:rPr lang="en-US" sz="1400" b="1" dirty="0" smtClean="0"/>
              <a:t> </a:t>
            </a:r>
            <a:r>
              <a:rPr lang="zh-CN" altLang="en-US" sz="1400" b="1" dirty="0" smtClean="0">
                <a:latin typeface="微软雅黑" panose="020B0503020204020204" pitchFamily="34" charset="-122"/>
                <a:ea typeface="微软雅黑" panose="020B0503020204020204" pitchFamily="34" charset="-122"/>
              </a:rPr>
              <a:t>欧瑞康集团</a:t>
            </a:r>
            <a:endParaRPr lang="en-US" sz="1400" b="1" dirty="0">
              <a:latin typeface="微软雅黑" panose="020B0503020204020204" pitchFamily="34" charset="-122"/>
              <a:ea typeface="微软雅黑" panose="020B0503020204020204" pitchFamily="34" charset="-122"/>
            </a:endParaRPr>
          </a:p>
        </p:txBody>
      </p:sp>
      <p:sp>
        <p:nvSpPr>
          <p:cNvPr id="50" name="Text Box 14"/>
          <p:cNvSpPr txBox="1">
            <a:spLocks noChangeArrowheads="1"/>
          </p:cNvSpPr>
          <p:nvPr/>
        </p:nvSpPr>
        <p:spPr bwMode="auto">
          <a:xfrm>
            <a:off x="395536" y="3857131"/>
            <a:ext cx="1440161" cy="354248"/>
          </a:xfrm>
          <a:prstGeom prst="rect">
            <a:avLst/>
          </a:prstGeom>
          <a:solidFill>
            <a:schemeClr val="accent1"/>
          </a:solidFill>
          <a:ln w="19050" algn="ctr">
            <a:noFill/>
            <a:miter lim="800000"/>
            <a:headEnd/>
            <a:tailEnd/>
          </a:ln>
        </p:spPr>
        <p:txBody>
          <a:bodyPr wrap="none" lIns="36000" tIns="0" rIns="36000" bIns="0" anchor="ctr" anchorCtr="0"/>
          <a:lstStyle/>
          <a:p>
            <a:pPr>
              <a:buClr>
                <a:srgbClr val="5F5F5F"/>
              </a:buClr>
              <a:defRPr/>
            </a:pPr>
            <a:r>
              <a:rPr lang="en-US" sz="900" dirty="0" smtClean="0">
                <a:solidFill>
                  <a:srgbClr val="000000"/>
                </a:solidFill>
                <a:sym typeface="HelveticaNeueLT Com 65 Md"/>
              </a:rPr>
              <a:t>Sales: CHF 2 671</a:t>
            </a:r>
            <a:r>
              <a:rPr lang="en-US" sz="900" dirty="0" smtClean="0">
                <a:sym typeface="HelveticaNeueLT Com 65 Md"/>
              </a:rPr>
              <a:t>m</a:t>
            </a:r>
          </a:p>
          <a:p>
            <a:pPr>
              <a:buClr>
                <a:srgbClr val="5F5F5F"/>
              </a:buClr>
              <a:defRPr/>
            </a:pPr>
            <a:r>
              <a:rPr lang="zh-CN" altLang="en-US" sz="900" dirty="0" smtClean="0">
                <a:solidFill>
                  <a:srgbClr val="000000"/>
                </a:solidFill>
                <a:latin typeface="微软雅黑" panose="020B0503020204020204" pitchFamily="34" charset="-122"/>
                <a:ea typeface="微软雅黑" panose="020B0503020204020204" pitchFamily="34" charset="-122"/>
                <a:sym typeface="HelveticaNeueLT Com 65 Md"/>
              </a:rPr>
              <a:t>销售额：</a:t>
            </a:r>
            <a:r>
              <a:rPr lang="en-US" altLang="zh-CN" sz="900" dirty="0" smtClean="0">
                <a:solidFill>
                  <a:srgbClr val="000000"/>
                </a:solidFill>
                <a:latin typeface="微软雅黑" panose="020B0503020204020204" pitchFamily="34" charset="-122"/>
                <a:ea typeface="微软雅黑" panose="020B0503020204020204" pitchFamily="34" charset="-122"/>
                <a:sym typeface="HelveticaNeueLT Com 65 Md"/>
              </a:rPr>
              <a:t>26.71</a:t>
            </a:r>
            <a:r>
              <a:rPr lang="zh-CN" altLang="en-US" sz="900" dirty="0" smtClean="0">
                <a:solidFill>
                  <a:srgbClr val="000000"/>
                </a:solidFill>
                <a:latin typeface="微软雅黑" panose="020B0503020204020204" pitchFamily="34" charset="-122"/>
                <a:ea typeface="微软雅黑" panose="020B0503020204020204" pitchFamily="34" charset="-122"/>
                <a:sym typeface="HelveticaNeueLT Com 65 Md"/>
              </a:rPr>
              <a:t>亿</a:t>
            </a:r>
            <a:r>
              <a:rPr lang="en-US" altLang="zh-CN" sz="900" dirty="0" smtClean="0">
                <a:solidFill>
                  <a:srgbClr val="000000"/>
                </a:solidFill>
                <a:latin typeface="微软雅黑" panose="020B0503020204020204" pitchFamily="34" charset="-122"/>
                <a:ea typeface="微软雅黑" panose="020B0503020204020204" pitchFamily="34" charset="-122"/>
                <a:sym typeface="HelveticaNeueLT Com 65 Md"/>
              </a:rPr>
              <a:t> </a:t>
            </a:r>
            <a:r>
              <a:rPr lang="zh-CN" altLang="en-US" sz="900" dirty="0" smtClean="0">
                <a:solidFill>
                  <a:srgbClr val="000000"/>
                </a:solidFill>
                <a:latin typeface="微软雅黑" panose="020B0503020204020204" pitchFamily="34" charset="-122"/>
                <a:ea typeface="微软雅黑" panose="020B0503020204020204" pitchFamily="34" charset="-122"/>
                <a:sym typeface="HelveticaNeueLT Com 65 Md"/>
              </a:rPr>
              <a:t>法郎</a:t>
            </a:r>
            <a:endParaRPr lang="en-US" sz="900" dirty="0">
              <a:solidFill>
                <a:srgbClr val="000000"/>
              </a:solidFill>
              <a:latin typeface="微软雅黑" panose="020B0503020204020204" pitchFamily="34" charset="-122"/>
              <a:ea typeface="微软雅黑" panose="020B0503020204020204" pitchFamily="34" charset="-122"/>
              <a:sym typeface="HelveticaNeueLT Com 65 Md"/>
            </a:endParaRPr>
          </a:p>
        </p:txBody>
      </p:sp>
      <p:sp>
        <p:nvSpPr>
          <p:cNvPr id="51" name="Text Box 14"/>
          <p:cNvSpPr txBox="1">
            <a:spLocks noChangeArrowheads="1"/>
          </p:cNvSpPr>
          <p:nvPr/>
        </p:nvSpPr>
        <p:spPr bwMode="auto">
          <a:xfrm>
            <a:off x="395537" y="4270141"/>
            <a:ext cx="1440160" cy="354248"/>
          </a:xfrm>
          <a:prstGeom prst="rect">
            <a:avLst/>
          </a:prstGeom>
          <a:solidFill>
            <a:schemeClr val="accent1"/>
          </a:solidFill>
          <a:ln w="19050" algn="ctr">
            <a:noFill/>
            <a:miter lim="800000"/>
            <a:headEnd/>
            <a:tailEnd/>
          </a:ln>
        </p:spPr>
        <p:txBody>
          <a:bodyPr lIns="36000" tIns="0" rIns="36000" bIns="0" anchor="ctr" anchorCtr="0"/>
          <a:lstStyle>
            <a:defPPr>
              <a:defRPr lang="en-GB"/>
            </a:defPPr>
            <a:lvl1pPr>
              <a:buClr>
                <a:srgbClr val="5F5F5F"/>
              </a:buClr>
              <a:buFont typeface="Wingdings" pitchFamily="2" charset="2"/>
              <a:buNone/>
              <a:defRPr sz="1200">
                <a:latin typeface="HelveticaNeueLT Com 45 Lt"/>
              </a:defRPr>
            </a:lvl1pPr>
          </a:lstStyle>
          <a:p>
            <a:r>
              <a:rPr lang="en-US" sz="900" dirty="0" smtClean="0">
                <a:solidFill>
                  <a:srgbClr val="000000"/>
                </a:solidFill>
                <a:latin typeface="+mn-lt"/>
                <a:sym typeface="HelveticaNeueLT Com 65 Md"/>
              </a:rPr>
              <a:t>EBITDA: CHF 450m</a:t>
            </a:r>
            <a:r>
              <a:rPr lang="en-US" sz="900" baseline="30000" dirty="0" smtClean="0">
                <a:solidFill>
                  <a:srgbClr val="000000"/>
                </a:solidFill>
                <a:latin typeface="+mn-lt"/>
                <a:sym typeface="HelveticaNeueLT Com 65 Md"/>
              </a:rPr>
              <a:t>*</a:t>
            </a:r>
            <a:r>
              <a:rPr lang="en-US" altLang="zh-CN" sz="900" dirty="0">
                <a:solidFill>
                  <a:srgbClr val="000000"/>
                </a:solidFill>
                <a:sym typeface="HelveticaNeueLT Com 65 Md"/>
              </a:rPr>
              <a:t> </a:t>
            </a:r>
            <a:r>
              <a:rPr lang="en-US" altLang="zh-CN" sz="900" dirty="0" smtClean="0">
                <a:solidFill>
                  <a:srgbClr val="000000"/>
                </a:solidFill>
                <a:latin typeface="+mn-lt"/>
                <a:ea typeface="微软雅黑" panose="020B0503020204020204" pitchFamily="34" charset="-122"/>
                <a:sym typeface="HelveticaNeueLT Com 65 Md"/>
              </a:rPr>
              <a:t>EBITDA</a:t>
            </a:r>
            <a:r>
              <a:rPr lang="en-US" altLang="zh-CN" sz="900" dirty="0" smtClean="0">
                <a:solidFill>
                  <a:srgbClr val="000000"/>
                </a:solidFill>
                <a:latin typeface="微软雅黑" panose="020B0503020204020204" pitchFamily="34" charset="-122"/>
                <a:ea typeface="微软雅黑" panose="020B0503020204020204" pitchFamily="34" charset="-122"/>
                <a:sym typeface="HelveticaNeueLT Com 65 Md"/>
              </a:rPr>
              <a:t>: 4.5</a:t>
            </a:r>
            <a:r>
              <a:rPr lang="zh-CN" altLang="en-US" sz="900" dirty="0" smtClean="0">
                <a:solidFill>
                  <a:srgbClr val="000000"/>
                </a:solidFill>
                <a:latin typeface="微软雅黑" panose="020B0503020204020204" pitchFamily="34" charset="-122"/>
                <a:ea typeface="微软雅黑" panose="020B0503020204020204" pitchFamily="34" charset="-122"/>
                <a:sym typeface="HelveticaNeueLT Com 65 Md"/>
              </a:rPr>
              <a:t>亿</a:t>
            </a:r>
            <a:r>
              <a:rPr lang="en-US" altLang="zh-CN" sz="900" dirty="0" smtClean="0">
                <a:solidFill>
                  <a:srgbClr val="000000"/>
                </a:solidFill>
                <a:latin typeface="微软雅黑" panose="020B0503020204020204" pitchFamily="34" charset="-122"/>
                <a:ea typeface="微软雅黑" panose="020B0503020204020204" pitchFamily="34" charset="-122"/>
                <a:sym typeface="HelveticaNeueLT Com 65 Md"/>
              </a:rPr>
              <a:t> </a:t>
            </a:r>
            <a:r>
              <a:rPr lang="zh-CN" altLang="en-US" sz="900" dirty="0" smtClean="0">
                <a:solidFill>
                  <a:srgbClr val="000000"/>
                </a:solidFill>
                <a:latin typeface="微软雅黑" panose="020B0503020204020204" pitchFamily="34" charset="-122"/>
                <a:ea typeface="微软雅黑" panose="020B0503020204020204" pitchFamily="34" charset="-122"/>
                <a:sym typeface="HelveticaNeueLT Com 65 Md"/>
              </a:rPr>
              <a:t>法郎</a:t>
            </a:r>
            <a:endParaRPr lang="en-US" sz="900" baseline="30000" dirty="0" smtClean="0">
              <a:solidFill>
                <a:srgbClr val="000000"/>
              </a:solidFill>
              <a:latin typeface="微软雅黑" panose="020B0503020204020204" pitchFamily="34" charset="-122"/>
              <a:ea typeface="微软雅黑" panose="020B0503020204020204" pitchFamily="34" charset="-122"/>
              <a:sym typeface="HelveticaNeueLT Com 65 Md"/>
            </a:endParaRPr>
          </a:p>
          <a:p>
            <a:endParaRPr lang="en-US" sz="900" baseline="30000" dirty="0">
              <a:solidFill>
                <a:srgbClr val="000000"/>
              </a:solidFill>
              <a:latin typeface="+mn-lt"/>
              <a:sym typeface="HelveticaNeueLT Com 65 Md"/>
            </a:endParaRPr>
          </a:p>
        </p:txBody>
      </p:sp>
      <p:sp>
        <p:nvSpPr>
          <p:cNvPr id="52" name="Text Box 14"/>
          <p:cNvSpPr txBox="1">
            <a:spLocks noChangeArrowheads="1"/>
          </p:cNvSpPr>
          <p:nvPr/>
        </p:nvSpPr>
        <p:spPr bwMode="auto">
          <a:xfrm>
            <a:off x="395536" y="4686744"/>
            <a:ext cx="1440161" cy="354248"/>
          </a:xfrm>
          <a:prstGeom prst="rect">
            <a:avLst/>
          </a:prstGeom>
          <a:solidFill>
            <a:schemeClr val="accent1"/>
          </a:solidFill>
          <a:ln w="19050" algn="ctr">
            <a:noFill/>
            <a:miter lim="800000"/>
            <a:headEnd/>
            <a:tailEnd/>
          </a:ln>
        </p:spPr>
        <p:txBody>
          <a:bodyPr lIns="36000" tIns="0" rIns="36000" bIns="0" anchor="ctr" anchorCtr="0"/>
          <a:lstStyle/>
          <a:p>
            <a:pPr>
              <a:buClr>
                <a:srgbClr val="5F5F5F"/>
              </a:buClr>
              <a:defRPr/>
            </a:pPr>
            <a:r>
              <a:rPr lang="en-US" sz="900" dirty="0" smtClean="0">
                <a:solidFill>
                  <a:srgbClr val="000000"/>
                </a:solidFill>
                <a:sym typeface="HelveticaNeueLT Com 65 Md"/>
              </a:rPr>
              <a:t>&gt;13 500 </a:t>
            </a:r>
            <a:r>
              <a:rPr lang="en" sz="900" dirty="0" smtClean="0">
                <a:solidFill>
                  <a:srgbClr val="000000"/>
                </a:solidFill>
                <a:sym typeface="HelveticaNeueLT Com 65 Md"/>
              </a:rPr>
              <a:t>employees </a:t>
            </a:r>
          </a:p>
          <a:p>
            <a:pPr>
              <a:buClr>
                <a:srgbClr val="5F5F5F"/>
              </a:buClr>
              <a:defRPr/>
            </a:pPr>
            <a:r>
              <a:rPr lang="en-US" altLang="zh-CN" sz="900" dirty="0" smtClean="0">
                <a:solidFill>
                  <a:srgbClr val="000000"/>
                </a:solidFill>
                <a:sym typeface="HelveticaNeueLT Com 65 Md"/>
              </a:rPr>
              <a:t>&gt;13 500</a:t>
            </a:r>
            <a:r>
              <a:rPr lang="zh-CN" altLang="en-US" sz="900" dirty="0" smtClean="0">
                <a:solidFill>
                  <a:srgbClr val="000000"/>
                </a:solidFill>
                <a:sym typeface="HelveticaNeueLT Com 65 Md"/>
              </a:rPr>
              <a:t>名员工</a:t>
            </a:r>
            <a:endParaRPr lang="en-US" sz="900" dirty="0">
              <a:solidFill>
                <a:srgbClr val="000000"/>
              </a:solidFill>
              <a:sym typeface="HelveticaNeueLT Com 65 Md"/>
            </a:endParaRPr>
          </a:p>
        </p:txBody>
      </p:sp>
      <p:sp>
        <p:nvSpPr>
          <p:cNvPr id="53" name="Text Box 14"/>
          <p:cNvSpPr txBox="1">
            <a:spLocks noChangeArrowheads="1"/>
          </p:cNvSpPr>
          <p:nvPr/>
        </p:nvSpPr>
        <p:spPr bwMode="auto">
          <a:xfrm>
            <a:off x="395536" y="5109186"/>
            <a:ext cx="1440161" cy="354248"/>
          </a:xfrm>
          <a:prstGeom prst="rect">
            <a:avLst/>
          </a:prstGeom>
          <a:solidFill>
            <a:schemeClr val="accent1"/>
          </a:solidFill>
          <a:ln w="19050" algn="ctr">
            <a:noFill/>
            <a:miter lim="800000"/>
            <a:headEnd/>
            <a:tailEnd/>
          </a:ln>
        </p:spPr>
        <p:txBody>
          <a:bodyPr lIns="36000" tIns="0" rIns="36000" bIns="0" anchor="ctr" anchorCtr="0"/>
          <a:lstStyle>
            <a:defPPr>
              <a:defRPr lang="en-GB"/>
            </a:defPPr>
            <a:lvl1pPr>
              <a:buClr>
                <a:srgbClr val="5F5F5F"/>
              </a:buClr>
              <a:buFont typeface="Wingdings" pitchFamily="2" charset="2"/>
              <a:buNone/>
              <a:defRPr sz="1200">
                <a:latin typeface="HelveticaNeueLT Com 45 Lt"/>
              </a:defRPr>
            </a:lvl1pPr>
          </a:lstStyle>
          <a:p>
            <a:endParaRPr lang="en-US" sz="900" dirty="0" smtClean="0">
              <a:solidFill>
                <a:srgbClr val="000000"/>
              </a:solidFill>
              <a:latin typeface="+mn-lt"/>
              <a:sym typeface="HelveticaNeueLT Com 65 Md"/>
            </a:endParaRPr>
          </a:p>
          <a:p>
            <a:endParaRPr lang="en-US" sz="900" dirty="0">
              <a:solidFill>
                <a:srgbClr val="000000"/>
              </a:solidFill>
              <a:latin typeface="+mn-lt"/>
              <a:sym typeface="HelveticaNeueLT Com 65 Md"/>
            </a:endParaRPr>
          </a:p>
          <a:p>
            <a:r>
              <a:rPr lang="en-US" sz="900" dirty="0" smtClean="0">
                <a:solidFill>
                  <a:srgbClr val="000000"/>
                </a:solidFill>
                <a:latin typeface="+mn-lt"/>
                <a:sym typeface="HelveticaNeueLT Com 65 Md"/>
              </a:rPr>
              <a:t>&gt; 170 sites</a:t>
            </a:r>
            <a:r>
              <a:rPr lang="en-US" sz="900" dirty="0" smtClean="0">
                <a:solidFill>
                  <a:srgbClr val="000000"/>
                </a:solidFill>
                <a:latin typeface="微软雅黑" panose="020B0503020204020204" pitchFamily="34" charset="-122"/>
                <a:ea typeface="微软雅黑" panose="020B0503020204020204" pitchFamily="34" charset="-122"/>
                <a:sym typeface="HelveticaNeueLT Com 65 Md"/>
              </a:rPr>
              <a:t> 170</a:t>
            </a:r>
            <a:r>
              <a:rPr lang="zh-CN" altLang="en-US" sz="900" dirty="0" smtClean="0">
                <a:solidFill>
                  <a:srgbClr val="000000"/>
                </a:solidFill>
                <a:latin typeface="微软雅黑" panose="020B0503020204020204" pitchFamily="34" charset="-122"/>
                <a:ea typeface="微软雅黑" panose="020B0503020204020204" pitchFamily="34" charset="-122"/>
                <a:sym typeface="HelveticaNeueLT Com 65 Md"/>
              </a:rPr>
              <a:t>个服务点</a:t>
            </a:r>
            <a:endParaRPr lang="en-US" sz="900" dirty="0" smtClean="0">
              <a:solidFill>
                <a:srgbClr val="000000"/>
              </a:solidFill>
              <a:latin typeface="微软雅黑" panose="020B0503020204020204" pitchFamily="34" charset="-122"/>
              <a:ea typeface="微软雅黑" panose="020B0503020204020204" pitchFamily="34" charset="-122"/>
              <a:sym typeface="HelveticaNeueLT Com 65 Md"/>
            </a:endParaRPr>
          </a:p>
          <a:p>
            <a:endParaRPr lang="en-US" sz="900" dirty="0" smtClean="0">
              <a:solidFill>
                <a:srgbClr val="000000"/>
              </a:solidFill>
              <a:latin typeface="+mn-lt"/>
              <a:sym typeface="HelveticaNeueLT Com 65 Md"/>
            </a:endParaRPr>
          </a:p>
          <a:p>
            <a:endParaRPr lang="en-US" sz="900" dirty="0" smtClean="0">
              <a:solidFill>
                <a:srgbClr val="000000"/>
              </a:solidFill>
              <a:latin typeface="+mn-lt"/>
              <a:sym typeface="HelveticaNeueLT Com 65 Md"/>
            </a:endParaRPr>
          </a:p>
        </p:txBody>
      </p:sp>
      <p:sp>
        <p:nvSpPr>
          <p:cNvPr id="54" name="Text Box 14"/>
          <p:cNvSpPr txBox="1">
            <a:spLocks noChangeArrowheads="1"/>
          </p:cNvSpPr>
          <p:nvPr/>
        </p:nvSpPr>
        <p:spPr bwMode="auto">
          <a:xfrm>
            <a:off x="395536" y="5522480"/>
            <a:ext cx="1440161" cy="354248"/>
          </a:xfrm>
          <a:prstGeom prst="rect">
            <a:avLst/>
          </a:prstGeom>
          <a:solidFill>
            <a:schemeClr val="accent1"/>
          </a:solidFill>
          <a:ln w="19050" algn="ctr">
            <a:noFill/>
            <a:miter lim="800000"/>
            <a:headEnd/>
            <a:tailEnd/>
          </a:ln>
        </p:spPr>
        <p:txBody>
          <a:bodyPr lIns="36000" tIns="0" rIns="36000" bIns="0" anchor="ctr" anchorCtr="0"/>
          <a:lstStyle>
            <a:defPPr>
              <a:defRPr lang="en-GB"/>
            </a:defPPr>
            <a:lvl1pPr>
              <a:buClr>
                <a:srgbClr val="5F5F5F"/>
              </a:buClr>
              <a:buFont typeface="Wingdings" pitchFamily="2" charset="2"/>
              <a:buNone/>
              <a:defRPr sz="1200">
                <a:latin typeface="HelveticaNeueLT Com 45 Lt"/>
              </a:defRPr>
            </a:lvl1pPr>
          </a:lstStyle>
          <a:p>
            <a:r>
              <a:rPr lang="en-US" sz="900" dirty="0" smtClean="0">
                <a:solidFill>
                  <a:srgbClr val="000000"/>
                </a:solidFill>
                <a:latin typeface="+mn-lt"/>
                <a:sym typeface="HelveticaNeueLT Com 65 Md"/>
              </a:rPr>
              <a:t>37 countries </a:t>
            </a:r>
            <a:r>
              <a:rPr lang="en-US" sz="900" dirty="0" smtClean="0">
                <a:solidFill>
                  <a:srgbClr val="000000"/>
                </a:solidFill>
                <a:latin typeface="微软雅黑" panose="020B0503020204020204" pitchFamily="34" charset="-122"/>
                <a:ea typeface="微软雅黑" panose="020B0503020204020204" pitchFamily="34" charset="-122"/>
                <a:sym typeface="HelveticaNeueLT Com 65 Md"/>
              </a:rPr>
              <a:t>37</a:t>
            </a:r>
            <a:r>
              <a:rPr lang="zh-CN" altLang="en-US" sz="900" dirty="0" smtClean="0">
                <a:solidFill>
                  <a:srgbClr val="000000"/>
                </a:solidFill>
                <a:latin typeface="微软雅黑" panose="020B0503020204020204" pitchFamily="34" charset="-122"/>
                <a:ea typeface="微软雅黑" panose="020B0503020204020204" pitchFamily="34" charset="-122"/>
                <a:sym typeface="HelveticaNeueLT Com 65 Md"/>
              </a:rPr>
              <a:t>个国家</a:t>
            </a:r>
            <a:endParaRPr lang="en-US" sz="900" baseline="30000" dirty="0">
              <a:solidFill>
                <a:srgbClr val="000000"/>
              </a:solidFill>
              <a:latin typeface="微软雅黑" panose="020B0503020204020204" pitchFamily="34" charset="-122"/>
              <a:ea typeface="微软雅黑" panose="020B0503020204020204" pitchFamily="34" charset="-122"/>
              <a:sym typeface="HelveticaNeueLT Com 65 Md"/>
            </a:endParaRPr>
          </a:p>
        </p:txBody>
      </p:sp>
      <p:sp>
        <p:nvSpPr>
          <p:cNvPr id="55" name="Text Box 14"/>
          <p:cNvSpPr txBox="1">
            <a:spLocks noChangeArrowheads="1"/>
          </p:cNvSpPr>
          <p:nvPr/>
        </p:nvSpPr>
        <p:spPr bwMode="auto">
          <a:xfrm>
            <a:off x="395536" y="5955072"/>
            <a:ext cx="1440161" cy="354248"/>
          </a:xfrm>
          <a:prstGeom prst="rect">
            <a:avLst/>
          </a:prstGeom>
          <a:solidFill>
            <a:schemeClr val="accent1"/>
          </a:solidFill>
          <a:ln w="19050" algn="ctr">
            <a:noFill/>
            <a:miter lim="800000"/>
            <a:headEnd/>
            <a:tailEnd/>
          </a:ln>
        </p:spPr>
        <p:txBody>
          <a:bodyPr lIns="36000" tIns="0" rIns="36000" bIns="0" anchor="ctr" anchorCtr="0"/>
          <a:lstStyle>
            <a:defPPr>
              <a:defRPr lang="en-GB"/>
            </a:defPPr>
            <a:lvl1pPr>
              <a:buClr>
                <a:srgbClr val="5F5F5F"/>
              </a:buClr>
              <a:buFont typeface="Wingdings" pitchFamily="2" charset="2"/>
              <a:buNone/>
              <a:defRPr sz="1200">
                <a:latin typeface="HelveticaNeueLT Com 45 Lt"/>
              </a:defRPr>
            </a:lvl1pPr>
          </a:lstStyle>
          <a:p>
            <a:r>
              <a:rPr lang="en-US" sz="900" dirty="0" smtClean="0">
                <a:solidFill>
                  <a:srgbClr val="000000"/>
                </a:solidFill>
                <a:latin typeface="+mn-lt"/>
                <a:sym typeface="HelveticaNeueLT Com 65 Md"/>
              </a:rPr>
              <a:t>~CHF 103m in R&amp;D </a:t>
            </a:r>
          </a:p>
          <a:p>
            <a:r>
              <a:rPr lang="en-US" sz="900" dirty="0" smtClean="0">
                <a:solidFill>
                  <a:srgbClr val="000000"/>
                </a:solidFill>
                <a:latin typeface="微软雅黑" panose="020B0503020204020204" pitchFamily="34" charset="-122"/>
                <a:ea typeface="微软雅黑" panose="020B0503020204020204" pitchFamily="34" charset="-122"/>
                <a:sym typeface="HelveticaNeueLT Com 65 Md"/>
              </a:rPr>
              <a:t>1.03</a:t>
            </a:r>
            <a:r>
              <a:rPr lang="zh-CN" altLang="en-US" sz="900" dirty="0" smtClean="0">
                <a:solidFill>
                  <a:srgbClr val="000000"/>
                </a:solidFill>
                <a:latin typeface="微软雅黑" panose="020B0503020204020204" pitchFamily="34" charset="-122"/>
                <a:ea typeface="微软雅黑" panose="020B0503020204020204" pitchFamily="34" charset="-122"/>
                <a:sym typeface="HelveticaNeueLT Com 65 Md"/>
              </a:rPr>
              <a:t>亿法郎研发</a:t>
            </a:r>
            <a:r>
              <a:rPr lang="zh-CN" altLang="en-US" sz="900" dirty="0">
                <a:solidFill>
                  <a:srgbClr val="000000"/>
                </a:solidFill>
                <a:latin typeface="微软雅黑" panose="020B0503020204020204" pitchFamily="34" charset="-122"/>
                <a:ea typeface="微软雅黑" panose="020B0503020204020204" pitchFamily="34" charset="-122"/>
                <a:sym typeface="HelveticaNeueLT Com 65 Md"/>
              </a:rPr>
              <a:t>费用</a:t>
            </a:r>
            <a:endParaRPr lang="en-US" sz="900" baseline="30000" dirty="0">
              <a:solidFill>
                <a:srgbClr val="000000"/>
              </a:solidFill>
              <a:latin typeface="微软雅黑" panose="020B0503020204020204" pitchFamily="34" charset="-122"/>
              <a:ea typeface="微软雅黑" panose="020B0503020204020204" pitchFamily="34" charset="-122"/>
              <a:sym typeface="HelveticaNeueLT Com 65 Md"/>
            </a:endParaRPr>
          </a:p>
        </p:txBody>
      </p:sp>
      <p:sp>
        <p:nvSpPr>
          <p:cNvPr id="59" name="TextBox 9"/>
          <p:cNvSpPr txBox="1"/>
          <p:nvPr/>
        </p:nvSpPr>
        <p:spPr>
          <a:xfrm>
            <a:off x="395288" y="6308726"/>
            <a:ext cx="8605204" cy="215900"/>
          </a:xfrm>
          <a:prstGeom prst="rect">
            <a:avLst/>
          </a:prstGeom>
          <a:noFill/>
        </p:spPr>
        <p:txBody>
          <a:bodyPr wrap="square" lIns="0" tIns="0" rIns="0" bIns="0" rtlCol="0" anchor="ctr" anchorCtr="0">
            <a:noAutofit/>
          </a:bodyPr>
          <a:lstStyle/>
          <a:p>
            <a:pPr>
              <a:spcBef>
                <a:spcPts val="300"/>
              </a:spcBef>
              <a:spcAft>
                <a:spcPts val="300"/>
              </a:spcAft>
              <a:buClr>
                <a:schemeClr val="bg2"/>
              </a:buClr>
            </a:pPr>
            <a:r>
              <a:rPr lang="en-US" sz="800" dirty="0" smtClean="0"/>
              <a:t>* Normalized for restructuring costs of CHF 112 million in Q4 2015, thereof CHF 43 million in the Manmade Fibers and CHF 68 million in the Drive Systems Segment                                 </a:t>
            </a:r>
            <a:r>
              <a:rPr lang="en-US" sz="800" dirty="0" smtClean="0">
                <a:latin typeface="微软雅黑" panose="020B0503020204020204" pitchFamily="34" charset="-122"/>
                <a:ea typeface="微软雅黑" panose="020B0503020204020204" pitchFamily="34" charset="-122"/>
              </a:rPr>
              <a:t>2015</a:t>
            </a:r>
            <a:r>
              <a:rPr lang="zh-CN" altLang="en-US" sz="800" dirty="0" smtClean="0">
                <a:latin typeface="微软雅黑" panose="020B0503020204020204" pitchFamily="34" charset="-122"/>
                <a:ea typeface="微软雅黑" panose="020B0503020204020204" pitchFamily="34" charset="-122"/>
              </a:rPr>
              <a:t>年第四季度规范化重组的成本是</a:t>
            </a:r>
            <a:r>
              <a:rPr lang="en-US" altLang="zh-CN" sz="800" dirty="0" smtClean="0">
                <a:latin typeface="微软雅黑" panose="020B0503020204020204" pitchFamily="34" charset="-122"/>
                <a:ea typeface="微软雅黑" panose="020B0503020204020204" pitchFamily="34" charset="-122"/>
              </a:rPr>
              <a:t>1.12</a:t>
            </a:r>
            <a:r>
              <a:rPr lang="zh-CN" altLang="en-US" sz="800" dirty="0" smtClean="0">
                <a:latin typeface="微软雅黑" panose="020B0503020204020204" pitchFamily="34" charset="-122"/>
                <a:ea typeface="微软雅黑" panose="020B0503020204020204" pitchFamily="34" charset="-122"/>
              </a:rPr>
              <a:t>亿法郎，其中人造纤维事业部</a:t>
            </a:r>
            <a:r>
              <a:rPr lang="en-US" altLang="zh-CN" sz="800" dirty="0" smtClean="0">
                <a:latin typeface="微软雅黑" panose="020B0503020204020204" pitchFamily="34" charset="-122"/>
                <a:ea typeface="微软雅黑" panose="020B0503020204020204" pitchFamily="34" charset="-122"/>
              </a:rPr>
              <a:t>4 300</a:t>
            </a:r>
            <a:r>
              <a:rPr lang="zh-CN" altLang="en-US" sz="800" dirty="0" smtClean="0">
                <a:latin typeface="微软雅黑" panose="020B0503020204020204" pitchFamily="34" charset="-122"/>
                <a:ea typeface="微软雅黑" panose="020B0503020204020204" pitchFamily="34" charset="-122"/>
              </a:rPr>
              <a:t>万法郎，传动系统事业部</a:t>
            </a:r>
            <a:r>
              <a:rPr lang="en-US" altLang="zh-CN" sz="800" dirty="0" smtClean="0">
                <a:latin typeface="微软雅黑" panose="020B0503020204020204" pitchFamily="34" charset="-122"/>
                <a:ea typeface="微软雅黑" panose="020B0503020204020204" pitchFamily="34" charset="-122"/>
              </a:rPr>
              <a:t>6 800</a:t>
            </a:r>
            <a:r>
              <a:rPr lang="zh-CN" altLang="en-US" sz="800" dirty="0" smtClean="0">
                <a:latin typeface="微软雅黑" panose="020B0503020204020204" pitchFamily="34" charset="-122"/>
                <a:ea typeface="微软雅黑" panose="020B0503020204020204" pitchFamily="34" charset="-122"/>
              </a:rPr>
              <a:t>万法郎</a:t>
            </a:r>
            <a:endParaRPr lang="en-US" sz="800" dirty="0" smtClean="0">
              <a:latin typeface="微软雅黑" panose="020B0503020204020204" pitchFamily="34" charset="-122"/>
              <a:ea typeface="微软雅黑" panose="020B0503020204020204" pitchFamily="34" charset="-122"/>
            </a:endParaRPr>
          </a:p>
        </p:txBody>
      </p:sp>
      <p:pic>
        <p:nvPicPr>
          <p:cNvPr id="77" name="Picture 33" descr="kennametal_logo"/>
          <p:cNvPicPr>
            <a:picLocks noChangeAspect="1" noChangeArrowheads="1"/>
          </p:cNvPicPr>
          <p:nvPr/>
        </p:nvPicPr>
        <p:blipFill>
          <a:blip r:embed="rId13" cstate="screen">
            <a:clrChange>
              <a:clrFrom>
                <a:srgbClr val="FFFFFF"/>
              </a:clrFrom>
              <a:clrTo>
                <a:srgbClr val="FFFFFF">
                  <a:alpha val="0"/>
                </a:srgbClr>
              </a:clrTo>
            </a:clrChange>
            <a:grayscl/>
            <a:extLst>
              <a:ext uri="{28A0092B-C50C-407E-A947-70E740481C1C}">
                <a14:useLocalDpi xmlns:a14="http://schemas.microsoft.com/office/drawing/2010/main"/>
              </a:ext>
            </a:extLst>
          </a:blip>
          <a:srcRect/>
          <a:stretch>
            <a:fillRect/>
          </a:stretch>
        </p:blipFill>
        <p:spPr bwMode="auto">
          <a:xfrm>
            <a:off x="2672452" y="5190965"/>
            <a:ext cx="815434" cy="212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Text Box 14"/>
          <p:cNvSpPr txBox="1">
            <a:spLocks noChangeArrowheads="1"/>
          </p:cNvSpPr>
          <p:nvPr/>
        </p:nvSpPr>
        <p:spPr bwMode="auto">
          <a:xfrm>
            <a:off x="2672452" y="3849405"/>
            <a:ext cx="1755532" cy="354248"/>
          </a:xfrm>
          <a:prstGeom prst="rect">
            <a:avLst/>
          </a:prstGeom>
          <a:solidFill>
            <a:schemeClr val="accent1"/>
          </a:solidFill>
          <a:ln w="19050" algn="ctr">
            <a:noFill/>
            <a:miter lim="800000"/>
            <a:headEnd/>
            <a:tailEnd/>
          </a:ln>
        </p:spPr>
        <p:txBody>
          <a:bodyPr lIns="36000" tIns="0" rIns="36000" bIns="0" anchor="ctr" anchorCtr="0"/>
          <a:lstStyle>
            <a:defPPr>
              <a:defRPr lang="en-GB"/>
            </a:defPPr>
            <a:lvl1pPr>
              <a:buClr>
                <a:srgbClr val="5F5F5F"/>
              </a:buClr>
              <a:buFont typeface="Wingdings" pitchFamily="2" charset="2"/>
              <a:buNone/>
              <a:defRPr sz="1200">
                <a:latin typeface="HelveticaNeueLT Com 45 Lt"/>
              </a:defRPr>
            </a:lvl1pPr>
          </a:lstStyle>
          <a:p>
            <a:r>
              <a:rPr lang="en-US" sz="1000" dirty="0" smtClean="0">
                <a:solidFill>
                  <a:srgbClr val="000000"/>
                </a:solidFill>
                <a:latin typeface="+mn-lt"/>
                <a:sym typeface="HelveticaNeueLT Com 65 Md"/>
              </a:rPr>
              <a:t>CHF 1 229m </a:t>
            </a:r>
          </a:p>
          <a:p>
            <a:r>
              <a:rPr lang="en-US" sz="1000" dirty="0" smtClean="0">
                <a:solidFill>
                  <a:srgbClr val="000000"/>
                </a:solidFill>
                <a:latin typeface="微软雅黑" panose="020B0503020204020204" pitchFamily="34" charset="-122"/>
                <a:ea typeface="微软雅黑" panose="020B0503020204020204" pitchFamily="34" charset="-122"/>
                <a:sym typeface="HelveticaNeueLT Com 65 Md"/>
              </a:rPr>
              <a:t>12.29</a:t>
            </a:r>
            <a:r>
              <a:rPr lang="zh-CN" altLang="en-US" sz="1000" dirty="0">
                <a:solidFill>
                  <a:srgbClr val="000000"/>
                </a:solidFill>
                <a:latin typeface="微软雅黑" panose="020B0503020204020204" pitchFamily="34" charset="-122"/>
                <a:ea typeface="微软雅黑" panose="020B0503020204020204" pitchFamily="34" charset="-122"/>
                <a:sym typeface="HelveticaNeueLT Com 65 Md"/>
              </a:rPr>
              <a:t>亿</a:t>
            </a:r>
            <a:r>
              <a:rPr lang="zh-CN" altLang="en-US" sz="1000" dirty="0" smtClean="0">
                <a:solidFill>
                  <a:srgbClr val="000000"/>
                </a:solidFill>
                <a:latin typeface="微软雅黑" panose="020B0503020204020204" pitchFamily="34" charset="-122"/>
                <a:ea typeface="微软雅黑" panose="020B0503020204020204" pitchFamily="34" charset="-122"/>
                <a:sym typeface="HelveticaNeueLT Com 65 Md"/>
              </a:rPr>
              <a:t>法郎</a:t>
            </a:r>
            <a:endParaRPr lang="en-US" sz="1000" dirty="0">
              <a:solidFill>
                <a:srgbClr val="000000"/>
              </a:solidFill>
              <a:latin typeface="微软雅黑" panose="020B0503020204020204" pitchFamily="34" charset="-122"/>
              <a:ea typeface="微软雅黑" panose="020B0503020204020204" pitchFamily="34" charset="-122"/>
              <a:sym typeface="HelveticaNeueLT Com 65 Md"/>
            </a:endParaRPr>
          </a:p>
        </p:txBody>
      </p:sp>
      <p:sp>
        <p:nvSpPr>
          <p:cNvPr id="79" name="Text Box 14"/>
          <p:cNvSpPr txBox="1">
            <a:spLocks noChangeArrowheads="1"/>
          </p:cNvSpPr>
          <p:nvPr/>
        </p:nvSpPr>
        <p:spPr bwMode="auto">
          <a:xfrm>
            <a:off x="2672452" y="4262414"/>
            <a:ext cx="1755532" cy="354248"/>
          </a:xfrm>
          <a:prstGeom prst="rect">
            <a:avLst/>
          </a:prstGeom>
          <a:solidFill>
            <a:schemeClr val="accent1"/>
          </a:solidFill>
          <a:ln w="19050" algn="ctr">
            <a:noFill/>
            <a:miter lim="800000"/>
            <a:headEnd/>
            <a:tailEnd/>
          </a:ln>
        </p:spPr>
        <p:txBody>
          <a:bodyPr lIns="36000" tIns="0" rIns="36000" bIns="0" anchor="ctr" anchorCtr="0"/>
          <a:lstStyle>
            <a:defPPr>
              <a:defRPr lang="en-GB"/>
            </a:defPPr>
            <a:lvl1pPr>
              <a:buClr>
                <a:srgbClr val="5F5F5F"/>
              </a:buClr>
              <a:buFont typeface="Wingdings" pitchFamily="2" charset="2"/>
              <a:buNone/>
              <a:defRPr sz="1200">
                <a:latin typeface="HelveticaNeueLT Com 45 Lt"/>
              </a:defRPr>
            </a:lvl1pPr>
          </a:lstStyle>
          <a:p>
            <a:r>
              <a:rPr lang="en-US" sz="1000" dirty="0" smtClean="0">
                <a:solidFill>
                  <a:srgbClr val="000000"/>
                </a:solidFill>
                <a:latin typeface="+mn-lt"/>
                <a:sym typeface="HelveticaNeueLT Com 65 Md"/>
              </a:rPr>
              <a:t>CHF 264m</a:t>
            </a:r>
            <a:r>
              <a:rPr lang="en-US" altLang="zh-CN" sz="1000" dirty="0">
                <a:solidFill>
                  <a:srgbClr val="000000"/>
                </a:solidFill>
                <a:sym typeface="HelveticaNeueLT Com 65 Md"/>
              </a:rPr>
              <a:t> </a:t>
            </a:r>
            <a:r>
              <a:rPr lang="en-US" altLang="zh-CN" sz="1000" dirty="0" smtClean="0">
                <a:solidFill>
                  <a:srgbClr val="000000"/>
                </a:solidFill>
                <a:latin typeface="微软雅黑" panose="020B0503020204020204" pitchFamily="34" charset="-122"/>
                <a:ea typeface="微软雅黑" panose="020B0503020204020204" pitchFamily="34" charset="-122"/>
                <a:sym typeface="HelveticaNeueLT Com 65 Md"/>
              </a:rPr>
              <a:t>2.64</a:t>
            </a:r>
            <a:r>
              <a:rPr lang="zh-CN" altLang="en-US" sz="1000" dirty="0" smtClean="0">
                <a:solidFill>
                  <a:srgbClr val="000000"/>
                </a:solidFill>
                <a:latin typeface="微软雅黑" panose="020B0503020204020204" pitchFamily="34" charset="-122"/>
                <a:ea typeface="微软雅黑" panose="020B0503020204020204" pitchFamily="34" charset="-122"/>
                <a:sym typeface="HelveticaNeueLT Com 65 Md"/>
              </a:rPr>
              <a:t>亿法郎</a:t>
            </a:r>
            <a:r>
              <a:rPr lang="en-US" sz="1000" baseline="30000" dirty="0" smtClean="0">
                <a:solidFill>
                  <a:srgbClr val="000000"/>
                </a:solidFill>
                <a:latin typeface="微软雅黑" panose="020B0503020204020204" pitchFamily="34" charset="-122"/>
                <a:ea typeface="微软雅黑" panose="020B0503020204020204" pitchFamily="34" charset="-122"/>
                <a:sym typeface="HelveticaNeueLT Com 65 Md"/>
              </a:rPr>
              <a:t> </a:t>
            </a:r>
            <a:endParaRPr lang="en-US" sz="1000" dirty="0" smtClean="0">
              <a:solidFill>
                <a:srgbClr val="000000"/>
              </a:solidFill>
              <a:latin typeface="微软雅黑" panose="020B0503020204020204" pitchFamily="34" charset="-122"/>
              <a:ea typeface="微软雅黑" panose="020B0503020204020204" pitchFamily="34" charset="-122"/>
              <a:sym typeface="HelveticaNeueLT Com 65 Md"/>
            </a:endParaRPr>
          </a:p>
        </p:txBody>
      </p:sp>
      <p:pic>
        <p:nvPicPr>
          <p:cNvPr id="80" name="Picture 306" descr="http://www.sandvik.com/gui/i/logo-300dpi.png"/>
          <p:cNvPicPr>
            <a:picLocks noChangeAspect="1" noChangeArrowheads="1"/>
          </p:cNvPicPr>
          <p:nvPr/>
        </p:nvPicPr>
        <p:blipFill>
          <a:blip r:embed="rId14" cstate="screen">
            <a:grayscl/>
            <a:extLst>
              <a:ext uri="{28A0092B-C50C-407E-A947-70E740481C1C}">
                <a14:useLocalDpi xmlns:a14="http://schemas.microsoft.com/office/drawing/2010/main"/>
              </a:ext>
            </a:extLst>
          </a:blip>
          <a:srcRect/>
          <a:stretch>
            <a:fillRect/>
          </a:stretch>
        </p:blipFill>
        <p:spPr bwMode="auto">
          <a:xfrm>
            <a:off x="2672452" y="4780663"/>
            <a:ext cx="815434" cy="29002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310" descr="http://ww1.prweb.com/prfiles/2010/12/16/4904864/0_SecoLogo.jpg"/>
          <p:cNvPicPr>
            <a:picLocks noChangeAspect="1" noChangeArrowheads="1"/>
          </p:cNvPicPr>
          <p:nvPr/>
        </p:nvPicPr>
        <p:blipFill>
          <a:blip r:embed="rId15" cstate="screen">
            <a:grayscl/>
            <a:extLst>
              <a:ext uri="{28A0092B-C50C-407E-A947-70E740481C1C}">
                <a14:useLocalDpi xmlns:a14="http://schemas.microsoft.com/office/drawing/2010/main"/>
              </a:ext>
            </a:extLst>
          </a:blip>
          <a:srcRect/>
          <a:stretch>
            <a:fillRect/>
          </a:stretch>
        </p:blipFill>
        <p:spPr bwMode="auto">
          <a:xfrm>
            <a:off x="2645813" y="5572321"/>
            <a:ext cx="815434" cy="161729"/>
          </a:xfrm>
          <a:prstGeom prst="rect">
            <a:avLst/>
          </a:prstGeom>
          <a:noFill/>
          <a:extLst>
            <a:ext uri="{909E8E84-426E-40DD-AFC4-6F175D3DCCD1}">
              <a14:hiddenFill xmlns:a14="http://schemas.microsoft.com/office/drawing/2010/main">
                <a:solidFill>
                  <a:srgbClr val="FFFFFF"/>
                </a:solidFill>
              </a14:hiddenFill>
            </a:ext>
          </a:extLst>
        </p:spPr>
      </p:pic>
      <p:sp>
        <p:nvSpPr>
          <p:cNvPr id="82" name="Text Box 14"/>
          <p:cNvSpPr txBox="1">
            <a:spLocks noChangeArrowheads="1"/>
          </p:cNvSpPr>
          <p:nvPr/>
        </p:nvSpPr>
        <p:spPr bwMode="auto">
          <a:xfrm>
            <a:off x="5292081" y="3844781"/>
            <a:ext cx="1260000" cy="354248"/>
          </a:xfrm>
          <a:prstGeom prst="rect">
            <a:avLst/>
          </a:prstGeom>
          <a:solidFill>
            <a:schemeClr val="accent1"/>
          </a:solidFill>
          <a:ln w="19050" algn="ctr">
            <a:noFill/>
            <a:miter lim="800000"/>
            <a:headEnd/>
            <a:tailEnd/>
          </a:ln>
        </p:spPr>
        <p:txBody>
          <a:bodyPr lIns="36000" tIns="0" rIns="36000" bIns="0" anchor="ctr" anchorCtr="0"/>
          <a:lstStyle/>
          <a:p>
            <a:pPr>
              <a:buClr>
                <a:srgbClr val="5F5F5F"/>
              </a:buClr>
              <a:buFont typeface="Wingdings" pitchFamily="2" charset="2"/>
              <a:buNone/>
              <a:defRPr/>
            </a:pPr>
            <a:r>
              <a:rPr lang="en-US" sz="1000" dirty="0" smtClean="0">
                <a:solidFill>
                  <a:srgbClr val="000000"/>
                </a:solidFill>
                <a:cs typeface="+mn-cs"/>
                <a:sym typeface="HelveticaNeueLT Com 65 Md"/>
              </a:rPr>
              <a:t>CHF 794m </a:t>
            </a:r>
          </a:p>
          <a:p>
            <a:pPr>
              <a:buClr>
                <a:srgbClr val="5F5F5F"/>
              </a:buClr>
              <a:buFont typeface="Wingdings" pitchFamily="2" charset="2"/>
              <a:buNone/>
              <a:defRPr/>
            </a:pPr>
            <a:r>
              <a:rPr lang="en-US" sz="1000" dirty="0" smtClean="0">
                <a:solidFill>
                  <a:srgbClr val="000000"/>
                </a:solidFill>
                <a:cs typeface="+mn-cs"/>
                <a:sym typeface="HelveticaNeueLT Com 65 Md"/>
              </a:rPr>
              <a:t>7.94</a:t>
            </a:r>
            <a:r>
              <a:rPr lang="zh-CN" altLang="en-US" sz="1000" dirty="0" smtClean="0">
                <a:solidFill>
                  <a:srgbClr val="000000"/>
                </a:solidFill>
                <a:cs typeface="+mn-cs"/>
                <a:sym typeface="HelveticaNeueLT Com 65 Md"/>
              </a:rPr>
              <a:t>亿法郎</a:t>
            </a:r>
            <a:endParaRPr lang="en-US" sz="1000" dirty="0">
              <a:solidFill>
                <a:srgbClr val="000000"/>
              </a:solidFill>
              <a:cs typeface="+mn-cs"/>
              <a:sym typeface="HelveticaNeueLT Com 65 Md"/>
            </a:endParaRPr>
          </a:p>
        </p:txBody>
      </p:sp>
      <p:sp>
        <p:nvSpPr>
          <p:cNvPr id="83" name="Text Box 14"/>
          <p:cNvSpPr txBox="1">
            <a:spLocks noChangeArrowheads="1"/>
          </p:cNvSpPr>
          <p:nvPr/>
        </p:nvSpPr>
        <p:spPr bwMode="auto">
          <a:xfrm>
            <a:off x="5292080" y="4257791"/>
            <a:ext cx="1260001" cy="354248"/>
          </a:xfrm>
          <a:prstGeom prst="rect">
            <a:avLst/>
          </a:prstGeom>
          <a:solidFill>
            <a:schemeClr val="accent1"/>
          </a:solidFill>
          <a:ln w="19050" algn="ctr">
            <a:noFill/>
            <a:miter lim="800000"/>
            <a:headEnd/>
            <a:tailEnd/>
          </a:ln>
        </p:spPr>
        <p:txBody>
          <a:bodyPr lIns="36000" tIns="0" rIns="36000" bIns="0" anchor="ctr" anchorCtr="0"/>
          <a:lstStyle>
            <a:defPPr>
              <a:defRPr lang="en-GB"/>
            </a:defPPr>
            <a:lvl1pPr>
              <a:buClr>
                <a:srgbClr val="5F5F5F"/>
              </a:buClr>
              <a:buFont typeface="Wingdings" pitchFamily="2" charset="2"/>
              <a:buNone/>
              <a:defRPr sz="1200">
                <a:latin typeface="HelveticaNeueLT Com 45 Lt"/>
              </a:defRPr>
            </a:lvl1pPr>
          </a:lstStyle>
          <a:p>
            <a:r>
              <a:rPr lang="en-US" sz="1000" dirty="0" smtClean="0">
                <a:solidFill>
                  <a:srgbClr val="000000"/>
                </a:solidFill>
                <a:latin typeface="+mn-lt"/>
                <a:sym typeface="HelveticaNeueLT Com 65 Md"/>
              </a:rPr>
              <a:t>CHF 128m</a:t>
            </a:r>
            <a:r>
              <a:rPr lang="en-US" sz="1000" baseline="30000" dirty="0" smtClean="0">
                <a:solidFill>
                  <a:srgbClr val="000000"/>
                </a:solidFill>
                <a:sym typeface="HelveticaNeueLT Com 65 Md"/>
              </a:rPr>
              <a:t>*</a:t>
            </a:r>
            <a:endParaRPr lang="en-US" sz="1000" dirty="0">
              <a:solidFill>
                <a:srgbClr val="000000"/>
              </a:solidFill>
              <a:sym typeface="HelveticaNeueLT Com 65 Md"/>
            </a:endParaRPr>
          </a:p>
          <a:p>
            <a:r>
              <a:rPr lang="en-US" altLang="zh-CN" sz="1000" dirty="0" smtClean="0">
                <a:solidFill>
                  <a:srgbClr val="000000"/>
                </a:solidFill>
                <a:latin typeface="微软雅黑" panose="020B0503020204020204" pitchFamily="34" charset="-122"/>
                <a:ea typeface="微软雅黑" panose="020B0503020204020204" pitchFamily="34" charset="-122"/>
                <a:sym typeface="HelveticaNeueLT Com 65 Md"/>
              </a:rPr>
              <a:t>1.28</a:t>
            </a:r>
            <a:r>
              <a:rPr lang="zh-CN" altLang="en-US" sz="1000" dirty="0" smtClean="0">
                <a:solidFill>
                  <a:srgbClr val="000000"/>
                </a:solidFill>
                <a:latin typeface="微软雅黑" panose="020B0503020204020204" pitchFamily="34" charset="-122"/>
                <a:ea typeface="微软雅黑" panose="020B0503020204020204" pitchFamily="34" charset="-122"/>
                <a:sym typeface="HelveticaNeueLT Com 65 Md"/>
              </a:rPr>
              <a:t>亿法郎</a:t>
            </a:r>
            <a:endParaRPr lang="en-US" altLang="zh-CN" sz="1000" dirty="0">
              <a:solidFill>
                <a:srgbClr val="000000"/>
              </a:solidFill>
              <a:latin typeface="微软雅黑" panose="020B0503020204020204" pitchFamily="34" charset="-122"/>
              <a:ea typeface="微软雅黑" panose="020B0503020204020204" pitchFamily="34" charset="-122"/>
              <a:sym typeface="HelveticaNeueLT Com 65 Md"/>
            </a:endParaRPr>
          </a:p>
          <a:p>
            <a:endParaRPr lang="en-US" sz="1000" baseline="30000" dirty="0">
              <a:solidFill>
                <a:srgbClr val="000000"/>
              </a:solidFill>
              <a:sym typeface="HelveticaNeueLT Com 65 Md"/>
            </a:endParaRPr>
          </a:p>
        </p:txBody>
      </p:sp>
      <p:pic>
        <p:nvPicPr>
          <p:cNvPr id="84" name="Picture 284" descr="M:\Data\Admin\Logos\Kunden\Reliance.jpg"/>
          <p:cNvPicPr>
            <a:picLocks noChangeAspect="1" noChangeArrowheads="1"/>
          </p:cNvPicPr>
          <p:nvPr/>
        </p:nvPicPr>
        <p:blipFill>
          <a:blip r:embed="rId16" cstate="screen">
            <a:grayscl/>
            <a:extLst>
              <a:ext uri="{28A0092B-C50C-407E-A947-70E740481C1C}">
                <a14:useLocalDpi xmlns:a14="http://schemas.microsoft.com/office/drawing/2010/main"/>
              </a:ext>
            </a:extLst>
          </a:blip>
          <a:srcRect/>
          <a:stretch>
            <a:fillRect/>
          </a:stretch>
        </p:blipFill>
        <p:spPr bwMode="auto">
          <a:xfrm>
            <a:off x="5314685" y="5013176"/>
            <a:ext cx="815434" cy="542305"/>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87" descr="M:\Data\Admin\Logos\Kunden\Hengli Group.jpg"/>
          <p:cNvPicPr>
            <a:picLocks noChangeAspect="1" noChangeArrowheads="1"/>
          </p:cNvPicPr>
          <p:nvPr/>
        </p:nvPicPr>
        <p:blipFill>
          <a:blip r:embed="rId17" cstate="screen">
            <a:grayscl/>
            <a:extLst>
              <a:ext uri="{28A0092B-C50C-407E-A947-70E740481C1C}">
                <a14:useLocalDpi xmlns:a14="http://schemas.microsoft.com/office/drawing/2010/main"/>
              </a:ext>
            </a:extLst>
          </a:blip>
          <a:srcRect/>
          <a:stretch>
            <a:fillRect/>
          </a:stretch>
        </p:blipFill>
        <p:spPr bwMode="auto">
          <a:xfrm>
            <a:off x="5334377" y="5661248"/>
            <a:ext cx="815434" cy="22018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88" descr="M:\Data\Admin\Logos\Kunden\Indorama.jpg"/>
          <p:cNvPicPr>
            <a:picLocks noChangeAspect="1" noChangeArrowheads="1"/>
          </p:cNvPicPr>
          <p:nvPr/>
        </p:nvPicPr>
        <p:blipFill>
          <a:blip r:embed="rId18" cstate="screen">
            <a:grayscl/>
            <a:extLst>
              <a:ext uri="{28A0092B-C50C-407E-A947-70E740481C1C}">
                <a14:useLocalDpi xmlns:a14="http://schemas.microsoft.com/office/drawing/2010/main"/>
              </a:ext>
            </a:extLst>
          </a:blip>
          <a:srcRect/>
          <a:stretch>
            <a:fillRect/>
          </a:stretch>
        </p:blipFill>
        <p:spPr bwMode="auto">
          <a:xfrm>
            <a:off x="5314685" y="4734034"/>
            <a:ext cx="815434" cy="203496"/>
          </a:xfrm>
          <a:prstGeom prst="rect">
            <a:avLst/>
          </a:prstGeom>
          <a:noFill/>
          <a:extLst>
            <a:ext uri="{909E8E84-426E-40DD-AFC4-6F175D3DCCD1}">
              <a14:hiddenFill xmlns:a14="http://schemas.microsoft.com/office/drawing/2010/main">
                <a:solidFill>
                  <a:srgbClr val="FFFFFF"/>
                </a:solidFill>
              </a14:hiddenFill>
            </a:ext>
          </a:extLst>
        </p:spPr>
      </p:pic>
      <p:sp>
        <p:nvSpPr>
          <p:cNvPr id="87" name="Text Box 14"/>
          <p:cNvSpPr txBox="1">
            <a:spLocks noChangeArrowheads="1"/>
          </p:cNvSpPr>
          <p:nvPr/>
        </p:nvSpPr>
        <p:spPr bwMode="auto">
          <a:xfrm>
            <a:off x="7488464" y="3853602"/>
            <a:ext cx="1260000" cy="354248"/>
          </a:xfrm>
          <a:prstGeom prst="rect">
            <a:avLst/>
          </a:prstGeom>
          <a:solidFill>
            <a:schemeClr val="accent1"/>
          </a:solidFill>
          <a:ln w="19050" algn="ctr">
            <a:noFill/>
            <a:miter lim="800000"/>
            <a:headEnd/>
            <a:tailEnd/>
          </a:ln>
        </p:spPr>
        <p:txBody>
          <a:bodyPr lIns="36000" tIns="0" rIns="36000" bIns="0" anchor="ctr" anchorCtr="0"/>
          <a:lstStyle>
            <a:defPPr>
              <a:defRPr lang="en-GB"/>
            </a:defPPr>
            <a:lvl1pPr>
              <a:buClr>
                <a:srgbClr val="5F5F5F"/>
              </a:buClr>
              <a:buFont typeface="Wingdings" pitchFamily="2" charset="2"/>
              <a:buNone/>
              <a:defRPr sz="1200">
                <a:latin typeface="HelveticaNeueLT Com 45 Lt"/>
              </a:defRPr>
            </a:lvl1pPr>
          </a:lstStyle>
          <a:p>
            <a:r>
              <a:rPr lang="en-US" sz="1000" dirty="0" smtClean="0">
                <a:solidFill>
                  <a:srgbClr val="000000"/>
                </a:solidFill>
                <a:latin typeface="+mn-lt"/>
                <a:sym typeface="HelveticaNeueLT Com 65 Md"/>
              </a:rPr>
              <a:t>CHF 648m </a:t>
            </a:r>
          </a:p>
          <a:p>
            <a:r>
              <a:rPr lang="en-US" sz="1000" dirty="0" smtClean="0">
                <a:solidFill>
                  <a:srgbClr val="000000"/>
                </a:solidFill>
                <a:latin typeface="微软雅黑" panose="020B0503020204020204" pitchFamily="34" charset="-122"/>
                <a:ea typeface="微软雅黑" panose="020B0503020204020204" pitchFamily="34" charset="-122"/>
                <a:sym typeface="HelveticaNeueLT Com 65 Md"/>
              </a:rPr>
              <a:t>6.48</a:t>
            </a:r>
            <a:r>
              <a:rPr lang="zh-CN" altLang="en-US" sz="1000" dirty="0">
                <a:solidFill>
                  <a:srgbClr val="000000"/>
                </a:solidFill>
                <a:latin typeface="微软雅黑" panose="020B0503020204020204" pitchFamily="34" charset="-122"/>
                <a:ea typeface="微软雅黑" panose="020B0503020204020204" pitchFamily="34" charset="-122"/>
                <a:sym typeface="HelveticaNeueLT Com 65 Md"/>
              </a:rPr>
              <a:t>亿</a:t>
            </a:r>
            <a:r>
              <a:rPr lang="zh-CN" altLang="en-US" sz="1000" dirty="0" smtClean="0">
                <a:solidFill>
                  <a:srgbClr val="000000"/>
                </a:solidFill>
                <a:latin typeface="微软雅黑" panose="020B0503020204020204" pitchFamily="34" charset="-122"/>
                <a:ea typeface="微软雅黑" panose="020B0503020204020204" pitchFamily="34" charset="-122"/>
                <a:sym typeface="HelveticaNeueLT Com 65 Md"/>
              </a:rPr>
              <a:t>法郎</a:t>
            </a:r>
            <a:endParaRPr lang="en-US" sz="1000" dirty="0">
              <a:solidFill>
                <a:srgbClr val="000000"/>
              </a:solidFill>
              <a:latin typeface="微软雅黑" panose="020B0503020204020204" pitchFamily="34" charset="-122"/>
              <a:ea typeface="微软雅黑" panose="020B0503020204020204" pitchFamily="34" charset="-122"/>
              <a:sym typeface="HelveticaNeueLT Com 65 Md"/>
            </a:endParaRPr>
          </a:p>
        </p:txBody>
      </p:sp>
      <p:sp>
        <p:nvSpPr>
          <p:cNvPr id="88" name="Text Box 14"/>
          <p:cNvSpPr txBox="1">
            <a:spLocks noChangeArrowheads="1"/>
          </p:cNvSpPr>
          <p:nvPr/>
        </p:nvSpPr>
        <p:spPr bwMode="auto">
          <a:xfrm>
            <a:off x="7488464" y="4266612"/>
            <a:ext cx="1260000" cy="354248"/>
          </a:xfrm>
          <a:prstGeom prst="rect">
            <a:avLst/>
          </a:prstGeom>
          <a:solidFill>
            <a:schemeClr val="accent1"/>
          </a:solidFill>
          <a:ln w="19050" algn="ctr">
            <a:noFill/>
            <a:miter lim="800000"/>
            <a:headEnd/>
            <a:tailEnd/>
          </a:ln>
        </p:spPr>
        <p:txBody>
          <a:bodyPr lIns="36000" tIns="0" rIns="36000" bIns="0" anchor="ctr" anchorCtr="0"/>
          <a:lstStyle>
            <a:defPPr>
              <a:defRPr lang="en-GB"/>
            </a:defPPr>
            <a:lvl1pPr>
              <a:buClr>
                <a:srgbClr val="5F5F5F"/>
              </a:buClr>
              <a:buFont typeface="Wingdings" pitchFamily="2" charset="2"/>
              <a:buNone/>
              <a:defRPr sz="1200">
                <a:latin typeface="HelveticaNeueLT Com 45 Lt"/>
              </a:defRPr>
            </a:lvl1pPr>
          </a:lstStyle>
          <a:p>
            <a:r>
              <a:rPr lang="en-US" sz="1000" dirty="0" smtClean="0">
                <a:solidFill>
                  <a:srgbClr val="000000"/>
                </a:solidFill>
                <a:latin typeface="+mn-lt"/>
                <a:sym typeface="HelveticaNeueLT Com 65 Md"/>
              </a:rPr>
              <a:t>CHF 49m</a:t>
            </a:r>
            <a:r>
              <a:rPr lang="en-US" sz="1000" baseline="30000" dirty="0" smtClean="0">
                <a:solidFill>
                  <a:srgbClr val="000000"/>
                </a:solidFill>
                <a:sym typeface="HelveticaNeueLT Com 65 Md"/>
              </a:rPr>
              <a:t>*</a:t>
            </a:r>
            <a:endParaRPr lang="en-US" sz="1000" dirty="0">
              <a:solidFill>
                <a:srgbClr val="000000"/>
              </a:solidFill>
              <a:sym typeface="HelveticaNeueLT Com 65 Md"/>
            </a:endParaRPr>
          </a:p>
          <a:p>
            <a:r>
              <a:rPr lang="en-US" altLang="zh-CN" sz="1000" dirty="0" smtClean="0">
                <a:solidFill>
                  <a:srgbClr val="000000"/>
                </a:solidFill>
                <a:latin typeface="微软雅黑" panose="020B0503020204020204" pitchFamily="34" charset="-122"/>
                <a:ea typeface="微软雅黑" panose="020B0503020204020204" pitchFamily="34" charset="-122"/>
                <a:sym typeface="HelveticaNeueLT Com 65 Md"/>
              </a:rPr>
              <a:t>4 900</a:t>
            </a:r>
            <a:r>
              <a:rPr lang="zh-CN" altLang="en-US" sz="1000" dirty="0" smtClean="0">
                <a:solidFill>
                  <a:srgbClr val="000000"/>
                </a:solidFill>
                <a:latin typeface="微软雅黑" panose="020B0503020204020204" pitchFamily="34" charset="-122"/>
                <a:ea typeface="微软雅黑" panose="020B0503020204020204" pitchFamily="34" charset="-122"/>
                <a:sym typeface="HelveticaNeueLT Com 65 Md"/>
              </a:rPr>
              <a:t>万法郎</a:t>
            </a:r>
            <a:endParaRPr lang="en-US" altLang="zh-CN" sz="1000" dirty="0">
              <a:solidFill>
                <a:srgbClr val="000000"/>
              </a:solidFill>
              <a:latin typeface="微软雅黑" panose="020B0503020204020204" pitchFamily="34" charset="-122"/>
              <a:ea typeface="微软雅黑" panose="020B0503020204020204" pitchFamily="34" charset="-122"/>
              <a:sym typeface="HelveticaNeueLT Com 65 Md"/>
            </a:endParaRPr>
          </a:p>
          <a:p>
            <a:endParaRPr lang="en-US" sz="1000" baseline="30000" dirty="0">
              <a:solidFill>
                <a:srgbClr val="000000"/>
              </a:solidFill>
              <a:sym typeface="HelveticaNeueLT Com 65 Md"/>
            </a:endParaRPr>
          </a:p>
        </p:txBody>
      </p:sp>
      <p:pic>
        <p:nvPicPr>
          <p:cNvPr id="89" name="Picture 334" descr="http://upload.wikimedia.org/wikipedia/de/thumb/7/71/Cnh-logo.svg/783px-Cnh-logo.svg.png"/>
          <p:cNvPicPr>
            <a:picLocks noChangeAspect="1" noChangeArrowheads="1"/>
          </p:cNvPicPr>
          <p:nvPr/>
        </p:nvPicPr>
        <p:blipFill>
          <a:blip r:embed="rId19" cstate="screen">
            <a:grayscl/>
            <a:extLst>
              <a:ext uri="{28A0092B-C50C-407E-A947-70E740481C1C}">
                <a14:useLocalDpi xmlns:a14="http://schemas.microsoft.com/office/drawing/2010/main"/>
              </a:ext>
            </a:extLst>
          </a:blip>
          <a:srcRect/>
          <a:stretch>
            <a:fillRect/>
          </a:stretch>
        </p:blipFill>
        <p:spPr bwMode="auto">
          <a:xfrm>
            <a:off x="7515871" y="4722452"/>
            <a:ext cx="815434" cy="24430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56" descr="http://car4edge.com/wp-content/uploads/2013/01/Aston-Martin-Logo-car4edge-com.jpg"/>
          <p:cNvPicPr>
            <a:picLocks noChangeAspect="1" noChangeArrowheads="1"/>
          </p:cNvPicPr>
          <p:nvPr/>
        </p:nvPicPr>
        <p:blipFill>
          <a:blip r:embed="rId20" cstate="screen">
            <a:grayscl/>
            <a:extLst>
              <a:ext uri="{28A0092B-C50C-407E-A947-70E740481C1C}">
                <a14:useLocalDpi xmlns:a14="http://schemas.microsoft.com/office/drawing/2010/main"/>
              </a:ext>
            </a:extLst>
          </a:blip>
          <a:srcRect/>
          <a:stretch>
            <a:fillRect/>
          </a:stretch>
        </p:blipFill>
        <p:spPr bwMode="auto">
          <a:xfrm>
            <a:off x="7515871" y="5165881"/>
            <a:ext cx="815434" cy="351351"/>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14" descr="http://www.bsr-gmbh.com/bilder/812338/userupload/JohnDeere-Logo-4C-Lvert.jpg"/>
          <p:cNvPicPr>
            <a:picLocks noChangeAspect="1" noChangeArrowheads="1"/>
          </p:cNvPicPr>
          <p:nvPr/>
        </p:nvPicPr>
        <p:blipFill>
          <a:blip r:embed="rId21" cstate="screen">
            <a:grayscl/>
            <a:extLst>
              <a:ext uri="{28A0092B-C50C-407E-A947-70E740481C1C}">
                <a14:useLocalDpi xmlns:a14="http://schemas.microsoft.com/office/drawing/2010/main"/>
              </a:ext>
            </a:extLst>
          </a:blip>
          <a:srcRect/>
          <a:stretch>
            <a:fillRect/>
          </a:stretch>
        </p:blipFill>
        <p:spPr bwMode="auto">
          <a:xfrm>
            <a:off x="7539217" y="5614968"/>
            <a:ext cx="611575" cy="40632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Gewinkelte Verbindung 3"/>
          <p:cNvCxnSpPr>
            <a:stCxn id="30" idx="2"/>
          </p:cNvCxnSpPr>
          <p:nvPr/>
        </p:nvCxnSpPr>
        <p:spPr>
          <a:xfrm rot="16200000" flipH="1">
            <a:off x="6145963" y="-65838"/>
            <a:ext cx="393774" cy="3551225"/>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fik 2"/>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95537" y="2695599"/>
            <a:ext cx="1440160" cy="988584"/>
          </a:xfrm>
          <a:prstGeom prst="rect">
            <a:avLst/>
          </a:prstGeom>
        </p:spPr>
      </p:pic>
      <p:sp>
        <p:nvSpPr>
          <p:cNvPr id="45" name="Rectangle 15"/>
          <p:cNvSpPr>
            <a:spLocks noChangeArrowheads="1"/>
          </p:cNvSpPr>
          <p:nvPr>
            <p:custDataLst>
              <p:tags r:id="rId3"/>
            </p:custDataLst>
          </p:nvPr>
        </p:nvSpPr>
        <p:spPr bwMode="gray">
          <a:xfrm>
            <a:off x="7231136" y="1901240"/>
            <a:ext cx="1584970" cy="730250"/>
          </a:xfrm>
          <a:prstGeom prst="rect">
            <a:avLst/>
          </a:prstGeom>
          <a:solidFill>
            <a:schemeClr val="tx2">
              <a:lumMod val="50000"/>
            </a:schemeClr>
          </a:solidFill>
          <a:ln>
            <a:noFill/>
          </a:ln>
          <a:extLst/>
        </p:spPr>
        <p:txBody>
          <a:bodyPr lIns="72000" tIns="36000" rIns="72000" bIns="360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buClr>
                <a:srgbClr val="5F5F5F"/>
              </a:buClr>
              <a:buFont typeface="Wingdings" pitchFamily="2" charset="2"/>
              <a:buNone/>
            </a:pPr>
            <a:r>
              <a:rPr lang="en-US" altLang="de-DE" sz="1400" b="1" dirty="0" smtClean="0">
                <a:solidFill>
                  <a:schemeClr val="bg1"/>
                </a:solidFill>
                <a:sym typeface="Arial" pitchFamily="34" charset="0"/>
              </a:rPr>
              <a:t>Drive Systems Segment</a:t>
            </a:r>
          </a:p>
          <a:p>
            <a:pPr>
              <a:buClr>
                <a:srgbClr val="5F5F5F"/>
              </a:buClr>
              <a:buFont typeface="Wingdings" pitchFamily="2" charset="2"/>
              <a:buNone/>
            </a:pPr>
            <a:r>
              <a:rPr lang="zh-CN" altLang="en-US" sz="1400" b="1" dirty="0" smtClean="0">
                <a:solidFill>
                  <a:schemeClr val="bg1"/>
                </a:solidFill>
                <a:latin typeface="微软雅黑" panose="020B0503020204020204" pitchFamily="34" charset="-122"/>
                <a:ea typeface="微软雅黑" panose="020B0503020204020204" pitchFamily="34" charset="-122"/>
                <a:sym typeface="Arial" pitchFamily="34" charset="0"/>
              </a:rPr>
              <a:t>传动事业板块</a:t>
            </a:r>
            <a:endParaRPr lang="en-US" altLang="de-DE" sz="1400" b="1" dirty="0">
              <a:solidFill>
                <a:schemeClr val="bg1"/>
              </a:solidFill>
              <a:latin typeface="微软雅黑" panose="020B0503020204020204" pitchFamily="34" charset="-122"/>
              <a:ea typeface="微软雅黑" panose="020B0503020204020204" pitchFamily="34" charset="-122"/>
              <a:sym typeface="Arial" pitchFamily="34" charset="0"/>
            </a:endParaRPr>
          </a:p>
        </p:txBody>
      </p:sp>
      <p:sp>
        <p:nvSpPr>
          <p:cNvPr id="47" name="Fußzeilenplatzhalter 1"/>
          <p:cNvSpPr>
            <a:spLocks noGrp="1"/>
          </p:cNvSpPr>
          <p:nvPr>
            <p:ph type="ftr" sz="quarter" idx="10"/>
          </p:nvPr>
        </p:nvSpPr>
        <p:spPr>
          <a:xfrm>
            <a:off x="1079499" y="6524625"/>
            <a:ext cx="6623845" cy="180976"/>
          </a:xfrm>
        </p:spPr>
        <p:txBody>
          <a:bodyPr/>
          <a:lstStyle/>
          <a:p>
            <a:r>
              <a:rPr lang="en-US" dirty="0" smtClean="0"/>
              <a:t>Presentation Tools &amp; Equipment (04. January 2017)</a:t>
            </a:r>
            <a:endParaRPr lang="de-DE" dirty="0"/>
          </a:p>
        </p:txBody>
      </p:sp>
    </p:spTree>
    <p:extLst>
      <p:ext uri="{BB962C8B-B14F-4D97-AF65-F5344CB8AC3E}">
        <p14:creationId xmlns:p14="http://schemas.microsoft.com/office/powerpoint/2010/main" val="79460221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r Verbinder 18"/>
          <p:cNvCxnSpPr/>
          <p:nvPr/>
        </p:nvCxnSpPr>
        <p:spPr>
          <a:xfrm>
            <a:off x="2915816" y="1988840"/>
            <a:ext cx="58328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2915816" y="3005958"/>
            <a:ext cx="58328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2915816" y="4023076"/>
            <a:ext cx="58328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2915816" y="5040193"/>
            <a:ext cx="58328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pPr algn="l" rtl="0"/>
            <a:r>
              <a:rPr lang="en" b="1" i="0" u="none" baseline="0" dirty="0"/>
              <a:t>Key </a:t>
            </a:r>
            <a:r>
              <a:rPr lang="en" b="1" i="0" u="none" baseline="0" dirty="0" smtClean="0"/>
              <a:t>facts </a:t>
            </a:r>
            <a:r>
              <a:rPr lang="zh-CN" altLang="en-US" b="1" i="0" u="none" baseline="0" dirty="0" smtClean="0">
                <a:latin typeface="微软雅黑" panose="020B0503020204020204" pitchFamily="34" charset="-122"/>
                <a:ea typeface="微软雅黑" panose="020B0503020204020204" pitchFamily="34" charset="-122"/>
              </a:rPr>
              <a:t>重要事实</a:t>
            </a:r>
            <a:r>
              <a:rPr lang="en" dirty="0"/>
              <a:t/>
            </a:r>
            <a:br>
              <a:rPr lang="en" dirty="0"/>
            </a:br>
            <a:r>
              <a:rPr lang="en" b="1" i="0" u="none" baseline="0" dirty="0"/>
              <a:t>Surface Solutions </a:t>
            </a:r>
            <a:r>
              <a:rPr lang="en" b="1" i="0" u="none" baseline="0" dirty="0" smtClean="0"/>
              <a:t>Segment</a:t>
            </a:r>
            <a:r>
              <a:rPr lang="zh-CN" altLang="en-US" b="1" i="0" u="none" baseline="0" dirty="0" smtClean="0">
                <a:latin typeface="微软雅黑" panose="020B0503020204020204" pitchFamily="34" charset="-122"/>
                <a:ea typeface="微软雅黑" panose="020B0503020204020204" pitchFamily="34" charset="-122"/>
              </a:rPr>
              <a:t>表面处理事业板块</a:t>
            </a:r>
            <a:endParaRPr lang="en" dirty="0">
              <a:latin typeface="微软雅黑" panose="020B0503020204020204" pitchFamily="34" charset="-122"/>
              <a:ea typeface="微软雅黑" panose="020B0503020204020204" pitchFamily="34" charset="-122"/>
            </a:endParaRPr>
          </a:p>
        </p:txBody>
      </p:sp>
      <p:sp>
        <p:nvSpPr>
          <p:cNvPr id="4" name="Foliennummernplatzhalter 3"/>
          <p:cNvSpPr>
            <a:spLocks noGrp="1"/>
          </p:cNvSpPr>
          <p:nvPr>
            <p:ph type="sldNum" sz="quarter" idx="11"/>
          </p:nvPr>
        </p:nvSpPr>
        <p:spPr/>
        <p:txBody>
          <a:bodyPr/>
          <a:lstStyle/>
          <a:p>
            <a:pPr algn="l" rtl="0"/>
            <a:r>
              <a:rPr lang="en" b="0" i="0" u="none" baseline="0"/>
              <a:t>Page </a:t>
            </a:r>
            <a:fld id="{D126E9C2-5A98-4FED-83CF-BD978A28F274}" type="slidenum">
              <a:rPr/>
              <a:pPr algn="l" rtl="0"/>
              <a:t>4</a:t>
            </a:fld>
            <a:endParaRPr lang="en" dirty="0"/>
          </a:p>
        </p:txBody>
      </p:sp>
      <p:sp>
        <p:nvSpPr>
          <p:cNvPr id="16" name="Textfeld 15"/>
          <p:cNvSpPr txBox="1"/>
          <p:nvPr/>
        </p:nvSpPr>
        <p:spPr>
          <a:xfrm>
            <a:off x="5868144" y="840468"/>
            <a:ext cx="3946744" cy="1207235"/>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800" b="1" i="0" u="none" baseline="0" dirty="0" smtClean="0">
                <a:solidFill>
                  <a:schemeClr val="bg2"/>
                </a:solidFill>
              </a:rPr>
              <a:t>6,100</a:t>
            </a:r>
            <a:r>
              <a:rPr lang="en" sz="1600" b="0" i="0" u="none" baseline="0" dirty="0" smtClean="0">
                <a:solidFill>
                  <a:schemeClr val="bg2"/>
                </a:solidFill>
              </a:rPr>
              <a:t>employees </a:t>
            </a:r>
          </a:p>
          <a:p>
            <a:pPr algn="l" rtl="0">
              <a:spcBef>
                <a:spcPts val="300"/>
              </a:spcBef>
              <a:spcAft>
                <a:spcPts val="300"/>
              </a:spcAft>
              <a:buClr>
                <a:schemeClr val="bg2"/>
              </a:buClr>
            </a:pPr>
            <a:r>
              <a:rPr lang="en" sz="1600" b="0" i="0" u="none" baseline="0" dirty="0" smtClean="0">
                <a:solidFill>
                  <a:schemeClr val="bg2"/>
                </a:solidFill>
                <a:latin typeface="微软雅黑" panose="020B0503020204020204" pitchFamily="34" charset="-122"/>
                <a:ea typeface="微软雅黑" panose="020B0503020204020204" pitchFamily="34" charset="-122"/>
              </a:rPr>
              <a:t>6,100</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名员工</a:t>
            </a:r>
            <a:endParaRPr lang="en" sz="1600" b="1" dirty="0" smtClean="0">
              <a:solidFill>
                <a:schemeClr val="bg2"/>
              </a:solidFill>
              <a:latin typeface="微软雅黑" panose="020B0503020204020204" pitchFamily="34" charset="-122"/>
              <a:ea typeface="微软雅黑" panose="020B0503020204020204" pitchFamily="34" charset="-122"/>
            </a:endParaRPr>
          </a:p>
        </p:txBody>
      </p:sp>
      <p:sp>
        <p:nvSpPr>
          <p:cNvPr id="22" name="Textfeld 21"/>
          <p:cNvSpPr txBox="1"/>
          <p:nvPr/>
        </p:nvSpPr>
        <p:spPr>
          <a:xfrm>
            <a:off x="5775936" y="1805033"/>
            <a:ext cx="3946744" cy="1207235"/>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800" b="1" i="0" u="none" baseline="0" dirty="0">
                <a:solidFill>
                  <a:schemeClr val="bg2"/>
                </a:solidFill>
              </a:rPr>
              <a:t>1.2</a:t>
            </a:r>
            <a:r>
              <a:rPr lang="en" sz="1600" b="0" i="0" u="none" baseline="0" dirty="0">
                <a:solidFill>
                  <a:schemeClr val="bg2"/>
                </a:solidFill>
              </a:rPr>
              <a:t>bn CHF </a:t>
            </a:r>
            <a:r>
              <a:rPr lang="en" sz="1600" b="0" i="0" u="none" baseline="0" dirty="0" smtClean="0">
                <a:solidFill>
                  <a:schemeClr val="bg2"/>
                </a:solidFill>
              </a:rPr>
              <a:t>sales</a:t>
            </a:r>
          </a:p>
          <a:p>
            <a:pPr algn="l" rtl="0">
              <a:spcBef>
                <a:spcPts val="300"/>
              </a:spcBef>
              <a:spcAft>
                <a:spcPts val="300"/>
              </a:spcAft>
              <a:buClr>
                <a:schemeClr val="bg2"/>
              </a:buClr>
            </a:pPr>
            <a:r>
              <a:rPr lang="en" sz="1600" b="0" i="0" u="none" baseline="0" dirty="0" smtClean="0">
                <a:solidFill>
                  <a:schemeClr val="bg2"/>
                </a:solidFill>
              </a:rPr>
              <a:t> </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销售额</a:t>
            </a:r>
            <a:r>
              <a:rPr lang="en-US" altLang="zh-CN" sz="1600" b="0" i="0" u="none" baseline="0" dirty="0" smtClean="0">
                <a:solidFill>
                  <a:schemeClr val="bg2"/>
                </a:solidFill>
                <a:latin typeface="微软雅黑" panose="020B0503020204020204" pitchFamily="34" charset="-122"/>
                <a:ea typeface="微软雅黑" panose="020B0503020204020204" pitchFamily="34" charset="-122"/>
              </a:rPr>
              <a:t>12</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亿法郎</a:t>
            </a:r>
            <a:endParaRPr lang="en" sz="1600" b="1" dirty="0" smtClean="0">
              <a:solidFill>
                <a:schemeClr val="bg2"/>
              </a:solidFill>
              <a:latin typeface="微软雅黑" panose="020B0503020204020204" pitchFamily="34" charset="-122"/>
              <a:ea typeface="微软雅黑" panose="020B0503020204020204" pitchFamily="34" charset="-122"/>
            </a:endParaRPr>
          </a:p>
        </p:txBody>
      </p:sp>
      <p:sp>
        <p:nvSpPr>
          <p:cNvPr id="23" name="Textfeld 22"/>
          <p:cNvSpPr txBox="1"/>
          <p:nvPr/>
        </p:nvSpPr>
        <p:spPr>
          <a:xfrm>
            <a:off x="5868144" y="2904926"/>
            <a:ext cx="3946744" cy="1207235"/>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800" b="1" i="0" u="none" baseline="0" dirty="0">
                <a:solidFill>
                  <a:schemeClr val="bg2"/>
                </a:solidFill>
              </a:rPr>
              <a:t>145</a:t>
            </a:r>
            <a:r>
              <a:rPr lang="en" sz="1600" b="0" i="0" u="none" baseline="0" dirty="0">
                <a:solidFill>
                  <a:schemeClr val="bg2"/>
                </a:solidFill>
              </a:rPr>
              <a:t> </a:t>
            </a:r>
            <a:r>
              <a:rPr lang="en" sz="1600" b="0" i="0" u="none" baseline="0" dirty="0" smtClean="0">
                <a:solidFill>
                  <a:schemeClr val="bg2"/>
                </a:solidFill>
              </a:rPr>
              <a:t>locations </a:t>
            </a:r>
          </a:p>
          <a:p>
            <a:pPr algn="l" rtl="0">
              <a:spcBef>
                <a:spcPts val="300"/>
              </a:spcBef>
              <a:spcAft>
                <a:spcPts val="300"/>
              </a:spcAft>
              <a:buClr>
                <a:schemeClr val="bg2"/>
              </a:buClr>
            </a:pPr>
            <a:r>
              <a:rPr lang="en" sz="1600" b="0" i="0" u="none" baseline="0" dirty="0" smtClean="0">
                <a:solidFill>
                  <a:schemeClr val="bg2"/>
                </a:solidFill>
                <a:latin typeface="微软雅黑" panose="020B0503020204020204" pitchFamily="34" charset="-122"/>
                <a:ea typeface="微软雅黑" panose="020B0503020204020204" pitchFamily="34" charset="-122"/>
              </a:rPr>
              <a:t>145</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个服务点</a:t>
            </a:r>
            <a:endParaRPr lang="en" sz="1600" b="1" dirty="0" smtClean="0">
              <a:solidFill>
                <a:schemeClr val="bg2"/>
              </a:solidFill>
              <a:latin typeface="微软雅黑" panose="020B0503020204020204" pitchFamily="34" charset="-122"/>
              <a:ea typeface="微软雅黑" panose="020B0503020204020204" pitchFamily="34" charset="-122"/>
            </a:endParaRPr>
          </a:p>
        </p:txBody>
      </p:sp>
      <p:sp>
        <p:nvSpPr>
          <p:cNvPr id="24" name="Textfeld 23"/>
          <p:cNvSpPr txBox="1"/>
          <p:nvPr/>
        </p:nvSpPr>
        <p:spPr>
          <a:xfrm>
            <a:off x="5863406" y="3941048"/>
            <a:ext cx="3946744" cy="1207235"/>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800" b="1" i="0" u="none" baseline="0" dirty="0">
                <a:solidFill>
                  <a:schemeClr val="bg2"/>
                </a:solidFill>
              </a:rPr>
              <a:t>140</a:t>
            </a:r>
            <a:r>
              <a:rPr lang="en" sz="1600" b="0" i="0" u="none" baseline="0" dirty="0">
                <a:solidFill>
                  <a:schemeClr val="bg2"/>
                </a:solidFill>
              </a:rPr>
              <a:t>customer </a:t>
            </a:r>
            <a:r>
              <a:rPr lang="en" sz="1600" b="0" i="0" u="none" baseline="0" dirty="0" smtClean="0">
                <a:solidFill>
                  <a:schemeClr val="bg2"/>
                </a:solidFill>
              </a:rPr>
              <a:t>centres  </a:t>
            </a:r>
          </a:p>
          <a:p>
            <a:pPr algn="l" rtl="0">
              <a:spcBef>
                <a:spcPts val="300"/>
              </a:spcBef>
              <a:spcAft>
                <a:spcPts val="300"/>
              </a:spcAft>
              <a:buClr>
                <a:schemeClr val="bg2"/>
              </a:buClr>
            </a:pPr>
            <a:r>
              <a:rPr lang="en" sz="1600" b="0" i="0" u="none" baseline="0" dirty="0" smtClean="0">
                <a:solidFill>
                  <a:schemeClr val="bg2"/>
                </a:solidFill>
                <a:latin typeface="微软雅黑" panose="020B0503020204020204" pitchFamily="34" charset="-122"/>
                <a:ea typeface="微软雅黑" panose="020B0503020204020204" pitchFamily="34" charset="-122"/>
              </a:rPr>
              <a:t>140</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个</a:t>
            </a:r>
            <a:r>
              <a:rPr lang="zh-CN" altLang="en-US" sz="1600" dirty="0">
                <a:solidFill>
                  <a:schemeClr val="bg2"/>
                </a:solidFill>
                <a:latin typeface="微软雅黑" panose="020B0503020204020204" pitchFamily="34" charset="-122"/>
                <a:ea typeface="微软雅黑" panose="020B0503020204020204" pitchFamily="34" charset="-122"/>
              </a:rPr>
              <a:t>客户</a:t>
            </a:r>
            <a:r>
              <a:rPr lang="zh-CN" altLang="en-US" sz="1600" dirty="0" smtClean="0">
                <a:solidFill>
                  <a:schemeClr val="bg2"/>
                </a:solidFill>
                <a:latin typeface="微软雅黑" panose="020B0503020204020204" pitchFamily="34" charset="-122"/>
                <a:ea typeface="微软雅黑" panose="020B0503020204020204" pitchFamily="34" charset="-122"/>
              </a:rPr>
              <a:t>中心</a:t>
            </a:r>
            <a:endParaRPr lang="en" sz="1600" b="1" dirty="0" smtClean="0">
              <a:solidFill>
                <a:schemeClr val="bg2"/>
              </a:solidFill>
              <a:latin typeface="微软雅黑" panose="020B0503020204020204" pitchFamily="34" charset="-122"/>
              <a:ea typeface="微软雅黑" panose="020B0503020204020204" pitchFamily="34" charset="-122"/>
            </a:endParaRPr>
          </a:p>
        </p:txBody>
      </p:sp>
      <p:sp>
        <p:nvSpPr>
          <p:cNvPr id="25" name="Textfeld 24"/>
          <p:cNvSpPr txBox="1"/>
          <p:nvPr/>
        </p:nvSpPr>
        <p:spPr>
          <a:xfrm>
            <a:off x="5863406" y="5190962"/>
            <a:ext cx="3946744" cy="1207235"/>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800" b="1" i="0" u="none" baseline="0" dirty="0">
                <a:solidFill>
                  <a:schemeClr val="bg2"/>
                </a:solidFill>
              </a:rPr>
              <a:t>37</a:t>
            </a:r>
            <a:r>
              <a:rPr lang="en" sz="1600" b="0" i="0" u="none" baseline="0" dirty="0">
                <a:solidFill>
                  <a:schemeClr val="bg2"/>
                </a:solidFill>
              </a:rPr>
              <a:t> </a:t>
            </a:r>
            <a:r>
              <a:rPr lang="en" sz="1600" b="0" i="0" u="none" baseline="0" dirty="0" smtClean="0">
                <a:solidFill>
                  <a:schemeClr val="bg2"/>
                </a:solidFill>
              </a:rPr>
              <a:t>countries </a:t>
            </a:r>
          </a:p>
          <a:p>
            <a:pPr algn="l" rtl="0">
              <a:spcBef>
                <a:spcPts val="300"/>
              </a:spcBef>
              <a:spcAft>
                <a:spcPts val="300"/>
              </a:spcAft>
              <a:buClr>
                <a:schemeClr val="bg2"/>
              </a:buClr>
            </a:pPr>
            <a:r>
              <a:rPr lang="en" sz="1600" b="0" i="0" u="none" baseline="0" dirty="0" smtClean="0">
                <a:solidFill>
                  <a:schemeClr val="bg2"/>
                </a:solidFill>
                <a:latin typeface="微软雅黑" panose="020B0503020204020204" pitchFamily="34" charset="-122"/>
                <a:ea typeface="微软雅黑" panose="020B0503020204020204" pitchFamily="34" charset="-122"/>
              </a:rPr>
              <a:t>37</a:t>
            </a:r>
            <a:r>
              <a:rPr lang="zh-CN" altLang="en-US" sz="1600" b="0" i="0" u="none" baseline="0" dirty="0" smtClean="0">
                <a:solidFill>
                  <a:schemeClr val="bg2"/>
                </a:solidFill>
                <a:latin typeface="微软雅黑" panose="020B0503020204020204" pitchFamily="34" charset="-122"/>
                <a:ea typeface="微软雅黑" panose="020B0503020204020204" pitchFamily="34" charset="-122"/>
              </a:rPr>
              <a:t>个国家</a:t>
            </a:r>
            <a:endParaRPr lang="en" sz="1600" b="1" dirty="0" smtClean="0">
              <a:solidFill>
                <a:schemeClr val="bg2"/>
              </a:solidFill>
              <a:latin typeface="微软雅黑" panose="020B0503020204020204" pitchFamily="34" charset="-122"/>
              <a:ea typeface="微软雅黑" panose="020B0503020204020204" pitchFamily="34" charset="-122"/>
            </a:endParaRPr>
          </a:p>
        </p:txBody>
      </p:sp>
      <p:grpSp>
        <p:nvGrpSpPr>
          <p:cNvPr id="7" name="Gruppieren 6"/>
          <p:cNvGrpSpPr/>
          <p:nvPr/>
        </p:nvGrpSpPr>
        <p:grpSpPr>
          <a:xfrm>
            <a:off x="-1" y="1805033"/>
            <a:ext cx="3923927" cy="4193416"/>
            <a:chOff x="-900608" y="1218326"/>
            <a:chExt cx="4649841" cy="4649841"/>
          </a:xfrm>
        </p:grpSpPr>
        <p:grpSp>
          <p:nvGrpSpPr>
            <p:cNvPr id="31" name="Gruppieren 30"/>
            <p:cNvGrpSpPr/>
            <p:nvPr/>
          </p:nvGrpSpPr>
          <p:grpSpPr>
            <a:xfrm>
              <a:off x="-900608" y="1218326"/>
              <a:ext cx="4649841" cy="4649841"/>
              <a:chOff x="1974327" y="1469574"/>
              <a:chExt cx="10048523" cy="10048523"/>
            </a:xfrm>
          </p:grpSpPr>
          <p:sp>
            <p:nvSpPr>
              <p:cNvPr id="33" name="Ellipse 32"/>
              <p:cNvSpPr/>
              <p:nvPr/>
            </p:nvSpPr>
            <p:spPr>
              <a:xfrm>
                <a:off x="1974327" y="1469574"/>
                <a:ext cx="10048523" cy="1004852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32" name="Ellipse 31"/>
              <p:cNvSpPr/>
              <p:nvPr/>
            </p:nvSpPr>
            <p:spPr>
              <a:xfrm>
                <a:off x="3455458" y="2950705"/>
                <a:ext cx="7086260" cy="7086260"/>
              </a:xfrm>
              <a:prstGeom prst="ellipse">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bg1"/>
                  </a:solidFill>
                </a:endParaRPr>
              </a:p>
            </p:txBody>
          </p:sp>
        </p:grpSp>
        <p:sp>
          <p:nvSpPr>
            <p:cNvPr id="35" name="Rechteck 34"/>
            <p:cNvSpPr/>
            <p:nvPr/>
          </p:nvSpPr>
          <p:spPr>
            <a:xfrm>
              <a:off x="-215231" y="1905383"/>
              <a:ext cx="3274345" cy="3277408"/>
            </a:xfrm>
            <a:prstGeom prst="rect">
              <a:avLst/>
            </a:prstGeom>
          </p:spPr>
          <p:txBody>
            <a:bodyPr wrap="square" anchor="t">
              <a:noAutofit/>
            </a:bodyPr>
            <a:lstStyle/>
            <a:p>
              <a:endParaRPr lang="en" b="1" dirty="0" smtClean="0">
                <a:solidFill>
                  <a:schemeClr val="bg1"/>
                </a:solidFill>
              </a:endParaRPr>
            </a:p>
            <a:p>
              <a:endParaRPr lang="en" b="1" dirty="0">
                <a:solidFill>
                  <a:schemeClr val="bg1"/>
                </a:solidFill>
              </a:endParaRPr>
            </a:p>
            <a:p>
              <a:endParaRPr lang="en" b="1" dirty="0" smtClean="0">
                <a:solidFill>
                  <a:schemeClr val="bg1"/>
                </a:solidFill>
              </a:endParaRPr>
            </a:p>
            <a:p>
              <a:pPr algn="l" rtl="0"/>
              <a:r>
                <a:rPr lang="en" b="1" i="0" u="none" baseline="0" dirty="0">
                  <a:solidFill>
                    <a:schemeClr val="bg1"/>
                  </a:solidFill>
                </a:rPr>
                <a:t>    Surface Solutions</a:t>
              </a:r>
              <a:r>
                <a:rPr lang="en" b="1" dirty="0">
                  <a:solidFill>
                    <a:schemeClr val="bg1"/>
                  </a:solidFill>
                </a:rPr>
                <a:t/>
              </a:r>
              <a:br>
                <a:rPr lang="en" b="1" dirty="0">
                  <a:solidFill>
                    <a:schemeClr val="bg1"/>
                  </a:solidFill>
                </a:rPr>
              </a:br>
              <a:r>
                <a:rPr lang="en" b="1" i="0" u="none" baseline="0" dirty="0">
                  <a:solidFill>
                    <a:schemeClr val="bg1"/>
                  </a:solidFill>
                </a:rPr>
                <a:t>    </a:t>
              </a:r>
              <a:r>
                <a:rPr lang="en" b="1" i="0" u="none" baseline="0" dirty="0" smtClean="0">
                  <a:solidFill>
                    <a:schemeClr val="bg1"/>
                  </a:solidFill>
                </a:rPr>
                <a:t>Segment </a:t>
              </a:r>
              <a:r>
                <a:rPr lang="zh-CN" altLang="en-US" sz="1200" b="1" i="0" u="none" baseline="0" dirty="0" smtClean="0">
                  <a:solidFill>
                    <a:schemeClr val="bg1"/>
                  </a:solidFill>
                  <a:latin typeface="微软雅黑" panose="020B0503020204020204" pitchFamily="34" charset="-122"/>
                  <a:ea typeface="微软雅黑" panose="020B0503020204020204" pitchFamily="34" charset="-122"/>
                </a:rPr>
                <a:t>表面处理事业板块</a:t>
              </a:r>
              <a:endParaRPr lang="en" sz="1200" b="1" dirty="0">
                <a:solidFill>
                  <a:schemeClr val="bg1"/>
                </a:solidFill>
                <a:latin typeface="微软雅黑" panose="020B0503020204020204" pitchFamily="34" charset="-122"/>
                <a:ea typeface="微软雅黑" panose="020B0503020204020204" pitchFamily="34" charset="-122"/>
              </a:endParaRPr>
            </a:p>
          </p:txBody>
        </p:sp>
      </p:gr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91421" y="3220221"/>
            <a:ext cx="1052285" cy="581983"/>
          </a:xfrm>
          <a:prstGeom prst="rect">
            <a:avLst/>
          </a:prstGeom>
        </p:spPr>
      </p:pic>
      <p:pic>
        <p:nvPicPr>
          <p:cNvPr id="9" name="Grafik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3870" y="5185432"/>
            <a:ext cx="1504331" cy="734903"/>
          </a:xfrm>
          <a:prstGeom prst="rect">
            <a:avLst/>
          </a:prstGeom>
        </p:spPr>
      </p:pic>
      <p:pic>
        <p:nvPicPr>
          <p:cNvPr id="40" name="Grafik 39"/>
          <p:cNvPicPr>
            <a:picLocks noChangeAspect="1"/>
          </p:cNvPicPr>
          <p:nvPr/>
        </p:nvPicPr>
        <p:blipFill rotWithShape="1">
          <a:blip r:embed="rId5" cstate="print">
            <a:extLst>
              <a:ext uri="{28A0092B-C50C-407E-A947-70E740481C1C}">
                <a14:useLocalDpi xmlns:a14="http://schemas.microsoft.com/office/drawing/2010/main" val="0"/>
              </a:ext>
            </a:extLst>
          </a:blip>
          <a:srcRect t="-26487" b="-1"/>
          <a:stretch/>
        </p:blipFill>
        <p:spPr>
          <a:xfrm>
            <a:off x="4523974" y="1052737"/>
            <a:ext cx="744120" cy="736138"/>
          </a:xfrm>
          <a:prstGeom prst="rect">
            <a:avLst/>
          </a:prstGeom>
        </p:spPr>
      </p:pic>
      <p:pic>
        <p:nvPicPr>
          <p:cNvPr id="41" name="Grafik 4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71370" y="4143363"/>
            <a:ext cx="795263" cy="711122"/>
          </a:xfrm>
          <a:prstGeom prst="rect">
            <a:avLst/>
          </a:prstGeom>
        </p:spPr>
      </p:pic>
      <p:pic>
        <p:nvPicPr>
          <p:cNvPr id="42" name="Grafik 4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48637" y="2122890"/>
            <a:ext cx="494794" cy="736138"/>
          </a:xfrm>
          <a:prstGeom prst="rect">
            <a:avLst/>
          </a:prstGeom>
        </p:spPr>
      </p:pic>
      <p:sp>
        <p:nvSpPr>
          <p:cNvPr id="26" name="Rechteck 25"/>
          <p:cNvSpPr/>
          <p:nvPr/>
        </p:nvSpPr>
        <p:spPr>
          <a:xfrm>
            <a:off x="5656237" y="1046476"/>
            <a:ext cx="364202" cy="461665"/>
          </a:xfrm>
          <a:prstGeom prst="rect">
            <a:avLst/>
          </a:prstGeom>
        </p:spPr>
        <p:txBody>
          <a:bodyPr wrap="none">
            <a:spAutoFit/>
          </a:bodyPr>
          <a:lstStyle/>
          <a:p>
            <a:pPr algn="l" rtl="0"/>
            <a:r>
              <a:rPr lang="en" sz="2400" b="0" i="0" u="none" baseline="0" dirty="0">
                <a:solidFill>
                  <a:schemeClr val="bg2"/>
                </a:solidFill>
              </a:rPr>
              <a:t>&gt;</a:t>
            </a:r>
            <a:endParaRPr lang="en" sz="2400" dirty="0"/>
          </a:p>
        </p:txBody>
      </p:sp>
      <p:sp>
        <p:nvSpPr>
          <p:cNvPr id="27" name="Rechteck 26"/>
          <p:cNvSpPr/>
          <p:nvPr/>
        </p:nvSpPr>
        <p:spPr>
          <a:xfrm>
            <a:off x="5656237" y="3094077"/>
            <a:ext cx="364202" cy="461665"/>
          </a:xfrm>
          <a:prstGeom prst="rect">
            <a:avLst/>
          </a:prstGeom>
        </p:spPr>
        <p:txBody>
          <a:bodyPr wrap="none">
            <a:spAutoFit/>
          </a:bodyPr>
          <a:lstStyle/>
          <a:p>
            <a:pPr algn="l" rtl="0"/>
            <a:r>
              <a:rPr lang="en" sz="2400" b="0" i="0" u="none" baseline="0" dirty="0">
                <a:solidFill>
                  <a:schemeClr val="bg2"/>
                </a:solidFill>
              </a:rPr>
              <a:t>&gt;</a:t>
            </a:r>
            <a:endParaRPr lang="en" sz="2400" dirty="0"/>
          </a:p>
        </p:txBody>
      </p:sp>
      <p:sp>
        <p:nvSpPr>
          <p:cNvPr id="28" name="Rechteck 27"/>
          <p:cNvSpPr/>
          <p:nvPr/>
        </p:nvSpPr>
        <p:spPr>
          <a:xfrm>
            <a:off x="5648201" y="4168556"/>
            <a:ext cx="364202" cy="461665"/>
          </a:xfrm>
          <a:prstGeom prst="rect">
            <a:avLst/>
          </a:prstGeom>
        </p:spPr>
        <p:txBody>
          <a:bodyPr wrap="none">
            <a:spAutoFit/>
          </a:bodyPr>
          <a:lstStyle/>
          <a:p>
            <a:pPr algn="l" rtl="0"/>
            <a:r>
              <a:rPr lang="en" sz="2400" b="0" i="0" u="none" baseline="0" dirty="0">
                <a:solidFill>
                  <a:schemeClr val="bg2"/>
                </a:solidFill>
              </a:rPr>
              <a:t>&gt;</a:t>
            </a:r>
            <a:endParaRPr lang="en" sz="2400" dirty="0"/>
          </a:p>
        </p:txBody>
      </p:sp>
      <p:pic>
        <p:nvPicPr>
          <p:cNvPr id="29" name="Grafik 2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6736" y="3885099"/>
            <a:ext cx="975349" cy="383202"/>
          </a:xfrm>
          <a:prstGeom prst="rect">
            <a:avLst/>
          </a:prstGeom>
        </p:spPr>
      </p:pic>
      <p:pic>
        <p:nvPicPr>
          <p:cNvPr id="5" name="Grafik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050442" y="3901741"/>
            <a:ext cx="975349" cy="384028"/>
          </a:xfrm>
          <a:prstGeom prst="rect">
            <a:avLst/>
          </a:prstGeom>
        </p:spPr>
      </p:pic>
      <p:sp>
        <p:nvSpPr>
          <p:cNvPr id="30" name="Fußzeilenplatzhalter 1"/>
          <p:cNvSpPr>
            <a:spLocks noGrp="1"/>
          </p:cNvSpPr>
          <p:nvPr>
            <p:ph type="ftr" sz="quarter" idx="10"/>
          </p:nvPr>
        </p:nvSpPr>
        <p:spPr>
          <a:xfrm>
            <a:off x="1079499" y="6524625"/>
            <a:ext cx="6623845" cy="180976"/>
          </a:xfrm>
        </p:spPr>
        <p:txBody>
          <a:bodyPr/>
          <a:lstStyle/>
          <a:p>
            <a:r>
              <a:rPr lang="en-US" dirty="0" smtClean="0"/>
              <a:t>Presentation Tools &amp; Equipment (04. January 2017)</a:t>
            </a:r>
            <a:endParaRPr lang="de-DE" dirty="0"/>
          </a:p>
        </p:txBody>
      </p:sp>
    </p:spTree>
    <p:extLst>
      <p:ext uri="{BB962C8B-B14F-4D97-AF65-F5344CB8AC3E}">
        <p14:creationId xmlns:p14="http://schemas.microsoft.com/office/powerpoint/2010/main" val="22464977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0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3" name="Rechteck 10"/>
          <p:cNvSpPr>
            <a:spLocks noChangeArrowheads="1"/>
          </p:cNvSpPr>
          <p:nvPr/>
        </p:nvSpPr>
        <p:spPr bwMode="gray">
          <a:xfrm>
            <a:off x="377945" y="1159756"/>
            <a:ext cx="8367168" cy="544513"/>
          </a:xfrm>
          <a:prstGeom prst="rect">
            <a:avLst/>
          </a:prstGeom>
          <a:solidFill>
            <a:schemeClr val="bg2"/>
          </a:solidFill>
          <a:ln w="19050">
            <a:solidFill>
              <a:schemeClr val="bg2"/>
            </a:solidFill>
          </a:ln>
          <a:extLst/>
        </p:spPr>
        <p:txBody>
          <a:bodyPr lIns="72000" tIns="0" rIns="0" bIns="0" anchor="ctr"/>
          <a:lstStyle/>
          <a:p>
            <a:pPr algn="ctr">
              <a:buClr>
                <a:srgbClr val="5F5F5F"/>
              </a:buClr>
              <a:buFont typeface="Wingdings" pitchFamily="2" charset="2"/>
              <a:buNone/>
              <a:defRPr/>
            </a:pPr>
            <a:r>
              <a:rPr lang="en-US" sz="2000" b="1" dirty="0" smtClean="0">
                <a:solidFill>
                  <a:schemeClr val="bg1"/>
                </a:solidFill>
                <a:latin typeface="Arial" panose="020B0604020202020204" pitchFamily="34" charset="0"/>
                <a:cs typeface="Arial" panose="020B0604020202020204" pitchFamily="34" charset="0"/>
              </a:rPr>
              <a:t>Surface Solutions</a:t>
            </a:r>
            <a:r>
              <a:rPr lang="zh-CN" altLang="en-US" sz="2000" b="1"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表面处理解决方案板块</a:t>
            </a:r>
            <a:endParaRPr lang="en-US" sz="20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 name="Titel 1"/>
          <p:cNvSpPr>
            <a:spLocks noGrp="1"/>
          </p:cNvSpPr>
          <p:nvPr>
            <p:ph type="title"/>
          </p:nvPr>
        </p:nvSpPr>
        <p:spPr>
          <a:xfrm>
            <a:off x="395288" y="142877"/>
            <a:ext cx="7308056" cy="909635"/>
          </a:xfrm>
        </p:spPr>
        <p:txBody>
          <a:bodyPr/>
          <a:lstStyle/>
          <a:p>
            <a:r>
              <a:rPr lang="de-DE" dirty="0"/>
              <a:t>Business Units in </a:t>
            </a:r>
            <a:r>
              <a:rPr lang="de-DE" dirty="0" smtClean="0"/>
              <a:t>the Surface </a:t>
            </a:r>
            <a:r>
              <a:rPr lang="de-DE" dirty="0"/>
              <a:t>Solutions </a:t>
            </a:r>
            <a:r>
              <a:rPr lang="de-DE" dirty="0" smtClean="0"/>
              <a:t>Segment</a:t>
            </a:r>
            <a:r>
              <a:rPr lang="zh-CN" altLang="en-US" dirty="0">
                <a:latin typeface="微软雅黑" panose="020B0503020204020204" pitchFamily="34" charset="-122"/>
                <a:ea typeface="微软雅黑" panose="020B0503020204020204" pitchFamily="34" charset="-122"/>
              </a:rPr>
              <a:t>表面处理事业板块业务单元</a:t>
            </a:r>
            <a:r>
              <a:rPr lang="de-DE" altLang="zh-CN" dirty="0"/>
              <a:t/>
            </a:r>
            <a:br>
              <a:rPr lang="de-DE" altLang="zh-CN" dirty="0"/>
            </a:br>
            <a:r>
              <a:rPr lang="de-DE" dirty="0" smtClean="0"/>
              <a:t/>
            </a:r>
            <a:br>
              <a:rPr lang="de-DE" dirty="0" smtClean="0"/>
            </a:br>
            <a:endParaRPr lang="de-DE" dirty="0"/>
          </a:p>
        </p:txBody>
      </p:sp>
      <p:sp>
        <p:nvSpPr>
          <p:cNvPr id="29" name="Footer Placeholder 2"/>
          <p:cNvSpPr>
            <a:spLocks noGrp="1"/>
          </p:cNvSpPr>
          <p:nvPr>
            <p:ph type="ftr" sz="quarter" idx="14"/>
          </p:nvPr>
        </p:nvSpPr>
        <p:spPr>
          <a:prstGeom prst="rect">
            <a:avLst/>
          </a:prstGeom>
        </p:spPr>
        <p:txBody>
          <a:bodyPr/>
          <a:lstStyle/>
          <a:p>
            <a:r>
              <a:rPr lang="en-US" sz="900" noProof="0" dirty="0" smtClean="0"/>
              <a:t>Presentation Tools &amp; Equipment (04. January 2017)</a:t>
            </a:r>
            <a:endParaRPr lang="de-DE" sz="900" noProof="0" dirty="0"/>
          </a:p>
        </p:txBody>
      </p:sp>
      <p:sp>
        <p:nvSpPr>
          <p:cNvPr id="28" name="Slide Number Placeholder 27"/>
          <p:cNvSpPr>
            <a:spLocks noGrp="1"/>
          </p:cNvSpPr>
          <p:nvPr>
            <p:ph type="sldNum" sz="quarter" idx="15"/>
          </p:nvPr>
        </p:nvSpPr>
        <p:spPr/>
        <p:txBody>
          <a:bodyPr/>
          <a:lstStyle/>
          <a:p>
            <a:r>
              <a:rPr lang="en-US" smtClean="0"/>
              <a:t>Page </a:t>
            </a:r>
            <a:fld id="{4CBDD732-51B5-4C98-8D6E-EE22A137A5B2}" type="slidenum">
              <a:rPr lang="en-US" smtClean="0"/>
              <a:pPr/>
              <a:t>5</a:t>
            </a:fld>
            <a:endParaRPr lang="en-US" dirty="0"/>
          </a:p>
        </p:txBody>
      </p:sp>
      <p:pic>
        <p:nvPicPr>
          <p:cNvPr id="4" name="Grafik 3"/>
          <p:cNvPicPr>
            <a:picLocks noChangeAspect="1"/>
          </p:cNvPicPr>
          <p:nvPr/>
        </p:nvPicPr>
        <p:blipFill rotWithShape="1">
          <a:blip r:embed="rId7" cstate="print">
            <a:extLst>
              <a:ext uri="{28A0092B-C50C-407E-A947-70E740481C1C}">
                <a14:useLocalDpi xmlns:a14="http://schemas.microsoft.com/office/drawing/2010/main" val="0"/>
              </a:ext>
            </a:extLst>
          </a:blip>
          <a:srcRect t="-40474" b="-1"/>
          <a:stretch/>
        </p:blipFill>
        <p:spPr>
          <a:xfrm>
            <a:off x="395289" y="1813821"/>
            <a:ext cx="2675983" cy="2658935"/>
          </a:xfrm>
          <a:prstGeom prst="rect">
            <a:avLst/>
          </a:prstGeom>
          <a:ln w="19050">
            <a:solidFill>
              <a:schemeClr val="bg2"/>
            </a:solidFill>
          </a:ln>
        </p:spPr>
      </p:pic>
      <p:sp>
        <p:nvSpPr>
          <p:cNvPr id="9" name="Textfeld 8"/>
          <p:cNvSpPr txBox="1"/>
          <p:nvPr/>
        </p:nvSpPr>
        <p:spPr>
          <a:xfrm>
            <a:off x="467544" y="1844824"/>
            <a:ext cx="2603728" cy="576064"/>
          </a:xfrm>
          <a:prstGeom prst="rect">
            <a:avLst/>
          </a:prstGeom>
          <a:noFill/>
        </p:spPr>
        <p:txBody>
          <a:bodyPr wrap="square" lIns="0" tIns="0" rIns="0" bIns="0" rtlCol="0">
            <a:noAutofit/>
          </a:bodyPr>
          <a:lstStyle/>
          <a:p>
            <a:pPr>
              <a:spcBef>
                <a:spcPts val="300"/>
              </a:spcBef>
              <a:spcAft>
                <a:spcPts val="300"/>
              </a:spcAft>
              <a:buClr>
                <a:schemeClr val="bg2"/>
              </a:buClr>
            </a:pPr>
            <a:r>
              <a:rPr lang="de-CH" b="1" dirty="0" smtClean="0"/>
              <a:t>Balzers Industrial </a:t>
            </a:r>
            <a:br>
              <a:rPr lang="de-CH" b="1" dirty="0" smtClean="0"/>
            </a:br>
            <a:r>
              <a:rPr lang="de-CH" b="1" dirty="0" smtClean="0"/>
              <a:t>Solutions</a:t>
            </a:r>
          </a:p>
          <a:p>
            <a:pPr>
              <a:spcBef>
                <a:spcPts val="300"/>
              </a:spcBef>
              <a:spcAft>
                <a:spcPts val="300"/>
              </a:spcAft>
              <a:buClr>
                <a:schemeClr val="bg2"/>
              </a:buClr>
            </a:pPr>
            <a:r>
              <a:rPr lang="zh-CN" altLang="en-US" b="1" dirty="0" smtClean="0">
                <a:latin typeface="微软雅黑" panose="020B0503020204020204" pitchFamily="34" charset="-122"/>
                <a:ea typeface="微软雅黑" panose="020B0503020204020204" pitchFamily="34" charset="-122"/>
              </a:rPr>
              <a:t>巴尔查斯工业解决方案</a:t>
            </a:r>
            <a:endParaRPr lang="en-US" b="1" dirty="0" err="1" smtClean="0">
              <a:latin typeface="微软雅黑" panose="020B0503020204020204" pitchFamily="34" charset="-122"/>
              <a:ea typeface="微软雅黑" panose="020B0503020204020204" pitchFamily="34" charset="-122"/>
            </a:endParaRPr>
          </a:p>
        </p:txBody>
      </p:sp>
      <p:pic>
        <p:nvPicPr>
          <p:cNvPr id="25" name="Grafik 24"/>
          <p:cNvPicPr>
            <a:picLocks noChangeAspect="1"/>
          </p:cNvPicPr>
          <p:nvPr/>
        </p:nvPicPr>
        <p:blipFill rotWithShape="1">
          <a:blip r:embed="rId8" cstate="print">
            <a:extLst>
              <a:ext uri="{28A0092B-C50C-407E-A947-70E740481C1C}">
                <a14:useLocalDpi xmlns:a14="http://schemas.microsoft.com/office/drawing/2010/main" val="0"/>
              </a:ext>
            </a:extLst>
          </a:blip>
          <a:srcRect r="10789"/>
          <a:stretch/>
        </p:blipFill>
        <p:spPr>
          <a:xfrm>
            <a:off x="3240087" y="1813820"/>
            <a:ext cx="1768899" cy="2658935"/>
          </a:xfrm>
          <a:prstGeom prst="rect">
            <a:avLst/>
          </a:prstGeom>
        </p:spPr>
      </p:pic>
      <p:sp>
        <p:nvSpPr>
          <p:cNvPr id="26" name="Rechteck 10"/>
          <p:cNvSpPr>
            <a:spLocks noChangeArrowheads="1"/>
          </p:cNvSpPr>
          <p:nvPr/>
        </p:nvSpPr>
        <p:spPr bwMode="gray">
          <a:xfrm>
            <a:off x="3240088" y="1847563"/>
            <a:ext cx="1907976" cy="1260000"/>
          </a:xfrm>
          <a:prstGeom prst="rect">
            <a:avLst/>
          </a:prstGeom>
          <a:noFill/>
          <a:ln w="19050">
            <a:noFill/>
          </a:ln>
          <a:extLst/>
        </p:spPr>
        <p:txBody>
          <a:bodyPr lIns="72000" tIns="0" rIns="0" bIns="0" anchor="t"/>
          <a:lstStyle/>
          <a:p>
            <a:pPr>
              <a:buClr>
                <a:srgbClr val="5F5F5F"/>
              </a:buClr>
              <a:buFont typeface="Wingdings" pitchFamily="2" charset="2"/>
              <a:buNone/>
              <a:defRPr/>
            </a:pPr>
            <a:r>
              <a:rPr lang="en-US" b="1" dirty="0" smtClean="0">
                <a:latin typeface="Arial" panose="020B0604020202020204" pitchFamily="34" charset="0"/>
                <a:cs typeface="Arial" panose="020B0604020202020204" pitchFamily="34" charset="0"/>
              </a:rPr>
              <a:t>Automotive Solutions</a:t>
            </a:r>
          </a:p>
          <a:p>
            <a:pPr>
              <a:buClr>
                <a:srgbClr val="5F5F5F"/>
              </a:buClr>
              <a:buFont typeface="Wingdings" pitchFamily="2" charset="2"/>
              <a:buNone/>
              <a:defRPr/>
            </a:pPr>
            <a:r>
              <a:rPr lang="zh-CN" altLang="en-US" b="1" dirty="0" smtClean="0">
                <a:latin typeface="微软雅黑" panose="020B0503020204020204" pitchFamily="34" charset="-122"/>
                <a:ea typeface="微软雅黑" panose="020B0503020204020204" pitchFamily="34" charset="-122"/>
                <a:cs typeface="Arial" panose="020B0604020202020204" pitchFamily="34" charset="0"/>
              </a:rPr>
              <a:t>汽车解决方案</a:t>
            </a:r>
            <a:r>
              <a:rPr lang="en-US" b="1" dirty="0" smtClean="0">
                <a:latin typeface="Arial" panose="020B0604020202020204" pitchFamily="34" charset="0"/>
                <a:cs typeface="Arial" panose="020B0604020202020204" pitchFamily="34" charset="0"/>
              </a:rPr>
              <a:t/>
            </a:r>
            <a:br>
              <a:rPr lang="en-US" b="1" dirty="0" smtClean="0">
                <a:latin typeface="Arial" panose="020B0604020202020204" pitchFamily="34" charset="0"/>
                <a:cs typeface="Arial" panose="020B0604020202020204" pitchFamily="34" charset="0"/>
              </a:rPr>
            </a:br>
            <a:endParaRPr lang="en-US" b="1" dirty="0">
              <a:latin typeface="Arial" panose="020B0604020202020204" pitchFamily="34" charset="0"/>
              <a:cs typeface="Arial" panose="020B0604020202020204" pitchFamily="34" charset="0"/>
            </a:endParaRPr>
          </a:p>
        </p:txBody>
      </p:sp>
      <p:pic>
        <p:nvPicPr>
          <p:cNvPr id="20" name="Grafik 19"/>
          <p:cNvPicPr>
            <a:picLocks noChangeAspect="1"/>
          </p:cNvPicPr>
          <p:nvPr/>
        </p:nvPicPr>
        <p:blipFill rotWithShape="1">
          <a:blip r:embed="rId8" cstate="print">
            <a:extLst>
              <a:ext uri="{28A0092B-C50C-407E-A947-70E740481C1C}">
                <a14:useLocalDpi xmlns:a14="http://schemas.microsoft.com/office/drawing/2010/main" val="0"/>
              </a:ext>
            </a:extLst>
          </a:blip>
          <a:srcRect r="10789"/>
          <a:stretch/>
        </p:blipFill>
        <p:spPr>
          <a:xfrm>
            <a:off x="5076056" y="1816127"/>
            <a:ext cx="1728986" cy="2653447"/>
          </a:xfrm>
          <a:prstGeom prst="rect">
            <a:avLst/>
          </a:prstGeom>
        </p:spPr>
      </p:pic>
      <p:pic>
        <p:nvPicPr>
          <p:cNvPr id="21" name="Grafik 20"/>
          <p:cNvPicPr>
            <a:picLocks noChangeAspect="1"/>
          </p:cNvPicPr>
          <p:nvPr/>
        </p:nvPicPr>
        <p:blipFill rotWithShape="1">
          <a:blip r:embed="rId8" cstate="print">
            <a:extLst>
              <a:ext uri="{28A0092B-C50C-407E-A947-70E740481C1C}">
                <a14:useLocalDpi xmlns:a14="http://schemas.microsoft.com/office/drawing/2010/main" val="0"/>
              </a:ext>
            </a:extLst>
          </a:blip>
          <a:srcRect r="10789"/>
          <a:stretch/>
        </p:blipFill>
        <p:spPr>
          <a:xfrm>
            <a:off x="6877051" y="1813822"/>
            <a:ext cx="1868062" cy="2658934"/>
          </a:xfrm>
          <a:prstGeom prst="rect">
            <a:avLst/>
          </a:prstGeom>
        </p:spPr>
      </p:pic>
      <p:sp>
        <p:nvSpPr>
          <p:cNvPr id="22" name="Rechteck 10"/>
          <p:cNvSpPr>
            <a:spLocks noChangeArrowheads="1"/>
          </p:cNvSpPr>
          <p:nvPr/>
        </p:nvSpPr>
        <p:spPr bwMode="gray">
          <a:xfrm>
            <a:off x="5076056" y="1847563"/>
            <a:ext cx="1907976" cy="933365"/>
          </a:xfrm>
          <a:prstGeom prst="rect">
            <a:avLst/>
          </a:prstGeom>
          <a:noFill/>
          <a:ln w="19050">
            <a:noFill/>
          </a:ln>
          <a:extLst/>
        </p:spPr>
        <p:txBody>
          <a:bodyPr lIns="72000" tIns="0" rIns="0" bIns="0" anchor="t"/>
          <a:lstStyle/>
          <a:p>
            <a:pPr>
              <a:buClr>
                <a:srgbClr val="5F5F5F"/>
              </a:buClr>
              <a:defRPr/>
            </a:pPr>
            <a:r>
              <a:rPr lang="en-US" b="1" dirty="0" smtClean="0">
                <a:latin typeface="Arial" panose="020B0604020202020204" pitchFamily="34" charset="0"/>
                <a:cs typeface="Arial" panose="020B0604020202020204" pitchFamily="34" charset="0"/>
              </a:rPr>
              <a:t>Metco </a:t>
            </a:r>
            <a:r>
              <a:rPr lang="en-US" b="1" dirty="0">
                <a:latin typeface="Arial" panose="020B0604020202020204" pitchFamily="34" charset="0"/>
                <a:cs typeface="Arial" panose="020B0604020202020204" pitchFamily="34" charset="0"/>
              </a:rPr>
              <a:t>Aero </a:t>
            </a:r>
            <a:r>
              <a:rPr lang="en-US" b="1" dirty="0" smtClean="0">
                <a:latin typeface="Arial" panose="020B0604020202020204" pitchFamily="34" charset="0"/>
                <a:cs typeface="Arial" panose="020B0604020202020204" pitchFamily="34" charset="0"/>
              </a:rPr>
              <a:t/>
            </a:r>
            <a:br>
              <a:rPr lang="en-US" b="1" dirty="0" smtClean="0">
                <a:latin typeface="Arial" panose="020B0604020202020204" pitchFamily="34" charset="0"/>
                <a:cs typeface="Arial" panose="020B0604020202020204" pitchFamily="34" charset="0"/>
              </a:rPr>
            </a:br>
            <a:r>
              <a:rPr lang="en-US" b="1" dirty="0" smtClean="0">
                <a:latin typeface="Arial" panose="020B0604020202020204" pitchFamily="34" charset="0"/>
                <a:cs typeface="Arial" panose="020B0604020202020204" pitchFamily="34" charset="0"/>
              </a:rPr>
              <a:t>&amp; Energy</a:t>
            </a:r>
          </a:p>
          <a:p>
            <a:pPr>
              <a:buClr>
                <a:srgbClr val="5F5F5F"/>
              </a:buClr>
              <a:defRPr/>
            </a:pPr>
            <a:r>
              <a:rPr lang="zh-CN" altLang="en-US" b="1" dirty="0" smtClean="0">
                <a:latin typeface="微软雅黑" panose="020B0503020204020204" pitchFamily="34" charset="-122"/>
                <a:ea typeface="微软雅黑" panose="020B0503020204020204" pitchFamily="34" charset="-122"/>
                <a:cs typeface="Arial" panose="020B0604020202020204" pitchFamily="34" charset="0"/>
              </a:rPr>
              <a:t>美科航空和能源</a:t>
            </a:r>
            <a:endParaRPr lang="en-US" b="1" dirty="0">
              <a:latin typeface="微软雅黑" panose="020B0503020204020204" pitchFamily="34" charset="-122"/>
              <a:ea typeface="微软雅黑" panose="020B0503020204020204" pitchFamily="34" charset="-122"/>
              <a:cs typeface="Arial" panose="020B0604020202020204" pitchFamily="34" charset="0"/>
            </a:endParaRPr>
          </a:p>
          <a:p>
            <a:pPr>
              <a:buClr>
                <a:srgbClr val="5F5F5F"/>
              </a:buClr>
              <a:buFont typeface="Wingdings" pitchFamily="2" charset="2"/>
              <a:buNone/>
              <a:defRPr/>
            </a:pPr>
            <a:endParaRPr lang="en-US" b="1" dirty="0">
              <a:latin typeface="Arial" panose="020B0604020202020204" pitchFamily="34" charset="0"/>
              <a:cs typeface="Arial" panose="020B0604020202020204" pitchFamily="34" charset="0"/>
            </a:endParaRPr>
          </a:p>
        </p:txBody>
      </p:sp>
      <p:sp>
        <p:nvSpPr>
          <p:cNvPr id="31" name="Rechteck 10"/>
          <p:cNvSpPr>
            <a:spLocks noChangeArrowheads="1"/>
          </p:cNvSpPr>
          <p:nvPr/>
        </p:nvSpPr>
        <p:spPr bwMode="gray">
          <a:xfrm>
            <a:off x="6886608" y="1844824"/>
            <a:ext cx="1907976" cy="1260000"/>
          </a:xfrm>
          <a:prstGeom prst="rect">
            <a:avLst/>
          </a:prstGeom>
          <a:noFill/>
          <a:ln w="19050">
            <a:noFill/>
          </a:ln>
          <a:extLst/>
        </p:spPr>
        <p:txBody>
          <a:bodyPr lIns="72000" tIns="0" rIns="0" bIns="0" anchor="t"/>
          <a:lstStyle/>
          <a:p>
            <a:pPr>
              <a:buClr>
                <a:srgbClr val="5F5F5F"/>
              </a:buClr>
              <a:defRPr/>
            </a:pPr>
            <a:r>
              <a:rPr lang="en-US" b="1" dirty="0">
                <a:latin typeface="Arial" panose="020B0604020202020204" pitchFamily="34" charset="0"/>
                <a:cs typeface="Arial" panose="020B0604020202020204" pitchFamily="34" charset="0"/>
              </a:rPr>
              <a:t>Additive </a:t>
            </a:r>
            <a:r>
              <a:rPr lang="en-US" b="1" dirty="0" smtClean="0">
                <a:latin typeface="Arial" panose="020B0604020202020204" pitchFamily="34" charset="0"/>
                <a:cs typeface="Arial" panose="020B0604020202020204" pitchFamily="34" charset="0"/>
              </a:rPr>
              <a:t>Manufacturing</a:t>
            </a:r>
          </a:p>
          <a:p>
            <a:pPr>
              <a:buClr>
                <a:srgbClr val="5F5F5F"/>
              </a:buClr>
              <a:defRPr/>
            </a:pPr>
            <a:r>
              <a:rPr lang="zh-CN" altLang="en-US" b="1" dirty="0">
                <a:latin typeface="微软雅黑" panose="020B0503020204020204" pitchFamily="34" charset="-122"/>
                <a:ea typeface="微软雅黑" panose="020B0503020204020204" pitchFamily="34" charset="-122"/>
                <a:cs typeface="Arial" panose="020B0604020202020204" pitchFamily="34" charset="0"/>
              </a:rPr>
              <a:t>增</a:t>
            </a:r>
            <a:r>
              <a:rPr lang="zh-CN" altLang="en-US" b="1" dirty="0" smtClean="0">
                <a:latin typeface="微软雅黑" panose="020B0503020204020204" pitchFamily="34" charset="-122"/>
                <a:ea typeface="微软雅黑" panose="020B0503020204020204" pitchFamily="34" charset="-122"/>
                <a:cs typeface="Arial" panose="020B0604020202020204" pitchFamily="34" charset="0"/>
              </a:rPr>
              <a:t>材制造</a:t>
            </a:r>
            <a:r>
              <a:rPr lang="en-US" b="1" dirty="0" smtClean="0">
                <a:latin typeface="Arial" panose="020B0604020202020204" pitchFamily="34" charset="0"/>
                <a:cs typeface="Arial" panose="020B0604020202020204" pitchFamily="34" charset="0"/>
              </a:rPr>
              <a:t/>
            </a:r>
            <a:br>
              <a:rPr lang="en-US" b="1" dirty="0" smtClean="0">
                <a:latin typeface="Arial" panose="020B0604020202020204" pitchFamily="34" charset="0"/>
                <a:cs typeface="Arial" panose="020B0604020202020204" pitchFamily="34" charset="0"/>
              </a:rPr>
            </a:br>
            <a:endParaRPr lang="en-US"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50380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r Verbinder 18"/>
          <p:cNvCxnSpPr/>
          <p:nvPr/>
        </p:nvCxnSpPr>
        <p:spPr>
          <a:xfrm>
            <a:off x="2915816" y="1988840"/>
            <a:ext cx="58328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2915816" y="2906942"/>
            <a:ext cx="58328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2915816" y="3825044"/>
            <a:ext cx="58328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2987575" y="4743146"/>
            <a:ext cx="576113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Foliennummernplatzhalter 3"/>
          <p:cNvSpPr>
            <a:spLocks noGrp="1"/>
          </p:cNvSpPr>
          <p:nvPr>
            <p:ph type="sldNum" sz="quarter" idx="11"/>
          </p:nvPr>
        </p:nvSpPr>
        <p:spPr/>
        <p:txBody>
          <a:bodyPr/>
          <a:lstStyle/>
          <a:p>
            <a:pPr algn="l" rtl="0"/>
            <a:r>
              <a:rPr lang="en" b="0" i="0" u="none" baseline="0"/>
              <a:t>Page </a:t>
            </a:r>
            <a:fld id="{D126E9C2-5A98-4FED-83CF-BD978A28F274}" type="slidenum">
              <a:rPr/>
              <a:pPr algn="l" rtl="0"/>
              <a:t>6</a:t>
            </a:fld>
            <a:endParaRPr lang="en" dirty="0"/>
          </a:p>
        </p:txBody>
      </p:sp>
      <p:sp>
        <p:nvSpPr>
          <p:cNvPr id="16" name="Textfeld 15"/>
          <p:cNvSpPr txBox="1"/>
          <p:nvPr/>
        </p:nvSpPr>
        <p:spPr>
          <a:xfrm>
            <a:off x="5868144" y="964507"/>
            <a:ext cx="2880569" cy="1114902"/>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400" b="1" i="0" u="none" baseline="0" dirty="0" smtClean="0">
                <a:solidFill>
                  <a:schemeClr val="bg2"/>
                </a:solidFill>
              </a:rPr>
              <a:t>3’000</a:t>
            </a:r>
            <a:r>
              <a:rPr lang="en" sz="1400" b="0" i="0" u="none" baseline="0" dirty="0" smtClean="0">
                <a:solidFill>
                  <a:schemeClr val="bg2"/>
                </a:solidFill>
              </a:rPr>
              <a:t>employees </a:t>
            </a:r>
          </a:p>
          <a:p>
            <a:pPr algn="l" rtl="0">
              <a:spcBef>
                <a:spcPts val="300"/>
              </a:spcBef>
              <a:spcAft>
                <a:spcPts val="300"/>
              </a:spcAft>
              <a:buClr>
                <a:schemeClr val="bg2"/>
              </a:buClr>
            </a:pPr>
            <a:r>
              <a:rPr lang="zh-CN" altLang="en-US" sz="1400" b="0" i="0" u="none" baseline="0" dirty="0" smtClean="0">
                <a:solidFill>
                  <a:schemeClr val="bg2"/>
                </a:solidFill>
                <a:latin typeface="微软雅黑" panose="020B0503020204020204" pitchFamily="34" charset="-122"/>
                <a:ea typeface="微软雅黑" panose="020B0503020204020204" pitchFamily="34" charset="-122"/>
              </a:rPr>
              <a:t>员工</a:t>
            </a:r>
            <a:r>
              <a:rPr lang="en-US" altLang="zh-CN" sz="1400" b="0" i="0" u="none" baseline="0" dirty="0" smtClean="0">
                <a:solidFill>
                  <a:schemeClr val="bg2"/>
                </a:solidFill>
                <a:latin typeface="微软雅黑" panose="020B0503020204020204" pitchFamily="34" charset="-122"/>
                <a:ea typeface="微软雅黑" panose="020B0503020204020204" pitchFamily="34" charset="-122"/>
              </a:rPr>
              <a:t>3,000</a:t>
            </a:r>
            <a:r>
              <a:rPr lang="zh-CN" altLang="en-US" sz="1400" b="0" i="0" u="none" baseline="0" dirty="0" smtClean="0">
                <a:solidFill>
                  <a:schemeClr val="bg2"/>
                </a:solidFill>
                <a:latin typeface="微软雅黑" panose="020B0503020204020204" pitchFamily="34" charset="-122"/>
                <a:ea typeface="微软雅黑" panose="020B0503020204020204" pitchFamily="34" charset="-122"/>
              </a:rPr>
              <a:t>多名</a:t>
            </a:r>
            <a:endParaRPr lang="en" sz="1400" b="1" dirty="0" smtClean="0">
              <a:solidFill>
                <a:schemeClr val="bg2"/>
              </a:solidFill>
              <a:latin typeface="微软雅黑" panose="020B0503020204020204" pitchFamily="34" charset="-122"/>
              <a:ea typeface="微软雅黑" panose="020B0503020204020204" pitchFamily="34" charset="-122"/>
            </a:endParaRPr>
          </a:p>
        </p:txBody>
      </p:sp>
      <p:sp>
        <p:nvSpPr>
          <p:cNvPr id="22" name="Textfeld 21"/>
          <p:cNvSpPr txBox="1"/>
          <p:nvPr/>
        </p:nvSpPr>
        <p:spPr>
          <a:xfrm>
            <a:off x="5860729" y="1948335"/>
            <a:ext cx="3946744" cy="1037958"/>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400" b="1" i="0" u="none" baseline="0" dirty="0">
                <a:solidFill>
                  <a:schemeClr val="bg2"/>
                </a:solidFill>
              </a:rPr>
              <a:t>450</a:t>
            </a:r>
            <a:r>
              <a:rPr lang="en" sz="1400" b="0" i="0" u="none" baseline="0" dirty="0">
                <a:solidFill>
                  <a:schemeClr val="bg2"/>
                </a:solidFill>
              </a:rPr>
              <a:t>million CHF </a:t>
            </a:r>
            <a:r>
              <a:rPr lang="en" sz="1400" b="0" i="0" u="none" baseline="0" dirty="0" smtClean="0">
                <a:solidFill>
                  <a:schemeClr val="bg2"/>
                </a:solidFill>
              </a:rPr>
              <a:t>sales                               </a:t>
            </a:r>
            <a:r>
              <a:rPr lang="zh-CN" altLang="en-US" sz="1400" b="0" i="0" u="none" baseline="0" dirty="0" smtClean="0">
                <a:solidFill>
                  <a:schemeClr val="bg2"/>
                </a:solidFill>
                <a:latin typeface="微软雅黑" panose="020B0503020204020204" pitchFamily="34" charset="-122"/>
                <a:ea typeface="微软雅黑" panose="020B0503020204020204" pitchFamily="34" charset="-122"/>
              </a:rPr>
              <a:t>销售额</a:t>
            </a:r>
            <a:r>
              <a:rPr lang="en-US" altLang="zh-CN" sz="1400" b="0" i="0" u="none" baseline="0" dirty="0" smtClean="0">
                <a:solidFill>
                  <a:schemeClr val="bg2"/>
                </a:solidFill>
                <a:latin typeface="微软雅黑" panose="020B0503020204020204" pitchFamily="34" charset="-122"/>
                <a:ea typeface="微软雅黑" panose="020B0503020204020204" pitchFamily="34" charset="-122"/>
              </a:rPr>
              <a:t>4.5</a:t>
            </a:r>
            <a:r>
              <a:rPr lang="zh-CN" altLang="en-US" sz="1400" b="0" i="0" u="none" baseline="0" dirty="0" smtClean="0">
                <a:solidFill>
                  <a:schemeClr val="bg2"/>
                </a:solidFill>
                <a:latin typeface="微软雅黑" panose="020B0503020204020204" pitchFamily="34" charset="-122"/>
                <a:ea typeface="微软雅黑" panose="020B0503020204020204" pitchFamily="34" charset="-122"/>
              </a:rPr>
              <a:t>亿法郎</a:t>
            </a:r>
            <a:endParaRPr lang="en" sz="1400" b="1" dirty="0" smtClean="0">
              <a:solidFill>
                <a:schemeClr val="bg2"/>
              </a:solidFill>
              <a:latin typeface="微软雅黑" panose="020B0503020204020204" pitchFamily="34" charset="-122"/>
              <a:ea typeface="微软雅黑" panose="020B0503020204020204" pitchFamily="34" charset="-122"/>
            </a:endParaRPr>
          </a:p>
        </p:txBody>
      </p:sp>
      <p:sp>
        <p:nvSpPr>
          <p:cNvPr id="23" name="Textfeld 22"/>
          <p:cNvSpPr txBox="1"/>
          <p:nvPr/>
        </p:nvSpPr>
        <p:spPr>
          <a:xfrm>
            <a:off x="5868144" y="2813561"/>
            <a:ext cx="2880569" cy="1114902"/>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400" b="1" i="0" u="none" baseline="0" dirty="0" smtClean="0">
                <a:solidFill>
                  <a:schemeClr val="bg2"/>
                </a:solidFill>
              </a:rPr>
              <a:t>1’100</a:t>
            </a:r>
            <a:r>
              <a:rPr lang="en" sz="1400" b="0" i="0" u="none" baseline="0" dirty="0" smtClean="0">
                <a:solidFill>
                  <a:schemeClr val="bg2"/>
                </a:solidFill>
              </a:rPr>
              <a:t>systems*</a:t>
            </a:r>
            <a:r>
              <a:rPr lang="en" sz="1600" b="0" i="0" u="none" baseline="0" dirty="0" smtClean="0">
                <a:solidFill>
                  <a:schemeClr val="bg2"/>
                </a:solidFill>
              </a:rPr>
              <a:t> </a:t>
            </a:r>
          </a:p>
          <a:p>
            <a:pPr algn="l" rtl="0">
              <a:spcBef>
                <a:spcPts val="300"/>
              </a:spcBef>
              <a:spcAft>
                <a:spcPts val="300"/>
              </a:spcAft>
              <a:buClr>
                <a:schemeClr val="bg2"/>
              </a:buClr>
            </a:pPr>
            <a:r>
              <a:rPr lang="en" sz="1400" b="0" i="0" u="none" baseline="0" dirty="0" smtClean="0">
                <a:solidFill>
                  <a:schemeClr val="bg2"/>
                </a:solidFill>
                <a:latin typeface="微软雅黑" panose="020B0503020204020204" pitchFamily="34" charset="-122"/>
                <a:ea typeface="微软雅黑" panose="020B0503020204020204" pitchFamily="34" charset="-122"/>
              </a:rPr>
              <a:t>1,100</a:t>
            </a:r>
            <a:r>
              <a:rPr lang="zh-CN" altLang="en-US" sz="1400" dirty="0" smtClean="0">
                <a:solidFill>
                  <a:schemeClr val="bg2"/>
                </a:solidFill>
                <a:latin typeface="微软雅黑" panose="020B0503020204020204" pitchFamily="34" charset="-122"/>
                <a:ea typeface="微软雅黑" panose="020B0503020204020204" pitchFamily="34" charset="-122"/>
              </a:rPr>
              <a:t>台在运行表面处理</a:t>
            </a:r>
            <a:r>
              <a:rPr lang="zh-CN" altLang="en-US" sz="1400" b="0" i="0" u="none" baseline="0" dirty="0" smtClean="0">
                <a:solidFill>
                  <a:schemeClr val="bg2"/>
                </a:solidFill>
                <a:latin typeface="微软雅黑" panose="020B0503020204020204" pitchFamily="34" charset="-122"/>
                <a:ea typeface="微软雅黑" panose="020B0503020204020204" pitchFamily="34" charset="-122"/>
              </a:rPr>
              <a:t>系统</a:t>
            </a:r>
            <a:endParaRPr lang="en" sz="1400" b="1" dirty="0" smtClean="0">
              <a:solidFill>
                <a:schemeClr val="bg2"/>
              </a:solidFill>
              <a:latin typeface="微软雅黑" panose="020B0503020204020204" pitchFamily="34" charset="-122"/>
              <a:ea typeface="微软雅黑" panose="020B0503020204020204" pitchFamily="34" charset="-122"/>
            </a:endParaRPr>
          </a:p>
        </p:txBody>
      </p:sp>
      <p:sp>
        <p:nvSpPr>
          <p:cNvPr id="25" name="Textfeld 24"/>
          <p:cNvSpPr txBox="1"/>
          <p:nvPr/>
        </p:nvSpPr>
        <p:spPr>
          <a:xfrm>
            <a:off x="5868144" y="3822482"/>
            <a:ext cx="3275856" cy="1037958"/>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400" b="1" i="0" u="none" baseline="0" dirty="0">
                <a:solidFill>
                  <a:srgbClr val="EB0000"/>
                </a:solidFill>
              </a:rPr>
              <a:t>100</a:t>
            </a:r>
            <a:r>
              <a:rPr lang="en" sz="1600" b="0" i="0" u="none" baseline="0" dirty="0">
                <a:solidFill>
                  <a:srgbClr val="EB0000"/>
                </a:solidFill>
              </a:rPr>
              <a:t> </a:t>
            </a:r>
            <a:r>
              <a:rPr lang="en" sz="1400" b="0" i="0" u="none" baseline="0" dirty="0">
                <a:solidFill>
                  <a:srgbClr val="EB0000"/>
                </a:solidFill>
              </a:rPr>
              <a:t>coating </a:t>
            </a:r>
            <a:r>
              <a:rPr lang="en" sz="1400" b="0" i="0" u="none" baseline="0" dirty="0" smtClean="0">
                <a:solidFill>
                  <a:srgbClr val="EB0000"/>
                </a:solidFill>
              </a:rPr>
              <a:t>centres                   </a:t>
            </a:r>
            <a:r>
              <a:rPr lang="en" sz="1400" b="0" i="0" u="none" baseline="0" dirty="0" smtClean="0">
                <a:solidFill>
                  <a:srgbClr val="EB0000"/>
                </a:solidFill>
                <a:latin typeface="微软雅黑" panose="020B0503020204020204" pitchFamily="34" charset="-122"/>
                <a:ea typeface="微软雅黑" panose="020B0503020204020204" pitchFamily="34" charset="-122"/>
              </a:rPr>
              <a:t>100</a:t>
            </a:r>
            <a:r>
              <a:rPr lang="zh-CN" altLang="en-US" sz="1400" b="0" i="0" u="none" baseline="0" dirty="0" smtClean="0">
                <a:solidFill>
                  <a:srgbClr val="EB0000"/>
                </a:solidFill>
                <a:latin typeface="微软雅黑" panose="020B0503020204020204" pitchFamily="34" charset="-122"/>
                <a:ea typeface="微软雅黑" panose="020B0503020204020204" pitchFamily="34" charset="-122"/>
              </a:rPr>
              <a:t>多个涂层中心</a:t>
            </a:r>
            <a:endParaRPr lang="en" sz="1400" b="1" dirty="0" smtClean="0">
              <a:solidFill>
                <a:srgbClr val="EB0000"/>
              </a:solidFill>
              <a:latin typeface="微软雅黑" panose="020B0503020204020204" pitchFamily="34" charset="-122"/>
              <a:ea typeface="微软雅黑" panose="020B0503020204020204" pitchFamily="34" charset="-122"/>
            </a:endParaRPr>
          </a:p>
        </p:txBody>
      </p:sp>
      <p:grpSp>
        <p:nvGrpSpPr>
          <p:cNvPr id="7" name="Gruppieren 6"/>
          <p:cNvGrpSpPr/>
          <p:nvPr/>
        </p:nvGrpSpPr>
        <p:grpSpPr>
          <a:xfrm>
            <a:off x="0" y="2029346"/>
            <a:ext cx="3992879" cy="4026013"/>
            <a:chOff x="-900608" y="1218326"/>
            <a:chExt cx="4649841" cy="4649841"/>
          </a:xfrm>
        </p:grpSpPr>
        <p:grpSp>
          <p:nvGrpSpPr>
            <p:cNvPr id="31" name="Gruppieren 30"/>
            <p:cNvGrpSpPr/>
            <p:nvPr/>
          </p:nvGrpSpPr>
          <p:grpSpPr>
            <a:xfrm>
              <a:off x="-900608" y="1218326"/>
              <a:ext cx="4649841" cy="4649841"/>
              <a:chOff x="1974327" y="1469574"/>
              <a:chExt cx="10048523" cy="10048523"/>
            </a:xfrm>
          </p:grpSpPr>
          <p:sp>
            <p:nvSpPr>
              <p:cNvPr id="33" name="Ellipse 32"/>
              <p:cNvSpPr/>
              <p:nvPr/>
            </p:nvSpPr>
            <p:spPr>
              <a:xfrm>
                <a:off x="1974327" y="1469574"/>
                <a:ext cx="10048523" cy="10048523"/>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32" name="Ellipse 31"/>
              <p:cNvSpPr/>
              <p:nvPr/>
            </p:nvSpPr>
            <p:spPr>
              <a:xfrm>
                <a:off x="3455458" y="2950705"/>
                <a:ext cx="7086260" cy="7086260"/>
              </a:xfrm>
              <a:prstGeom prst="ellipse">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bg1"/>
                  </a:solidFill>
                </a:endParaRPr>
              </a:p>
            </p:txBody>
          </p:sp>
        </p:grpSp>
        <p:sp>
          <p:nvSpPr>
            <p:cNvPr id="35" name="Rechteck 34"/>
            <p:cNvSpPr/>
            <p:nvPr/>
          </p:nvSpPr>
          <p:spPr>
            <a:xfrm>
              <a:off x="-215231" y="1905383"/>
              <a:ext cx="3274345" cy="3277408"/>
            </a:xfrm>
            <a:prstGeom prst="rect">
              <a:avLst/>
            </a:prstGeom>
          </p:spPr>
          <p:txBody>
            <a:bodyPr wrap="square" anchor="ctr">
              <a:noAutofit/>
            </a:bodyPr>
            <a:lstStyle/>
            <a:p>
              <a:pPr algn="ctr" rtl="0"/>
              <a:endParaRPr lang="en" b="1" dirty="0">
                <a:solidFill>
                  <a:schemeClr val="bg1"/>
                </a:solidFill>
              </a:endParaRPr>
            </a:p>
          </p:txBody>
        </p:sp>
      </p:gr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87059" y="3065272"/>
            <a:ext cx="499407" cy="693091"/>
          </a:xfrm>
          <a:prstGeom prst="rect">
            <a:avLst/>
          </a:prstGeom>
        </p:spPr>
      </p:pic>
      <p:pic>
        <p:nvPicPr>
          <p:cNvPr id="40" name="Grafik 39"/>
          <p:cNvPicPr>
            <a:picLocks noChangeAspect="1"/>
          </p:cNvPicPr>
          <p:nvPr/>
        </p:nvPicPr>
        <p:blipFill rotWithShape="1">
          <a:blip r:embed="rId4" cstate="print">
            <a:extLst>
              <a:ext uri="{28A0092B-C50C-407E-A947-70E740481C1C}">
                <a14:useLocalDpi xmlns:a14="http://schemas.microsoft.com/office/drawing/2010/main" val="0"/>
              </a:ext>
            </a:extLst>
          </a:blip>
          <a:srcRect t="-26487" b="-1"/>
          <a:stretch/>
        </p:blipFill>
        <p:spPr>
          <a:xfrm>
            <a:off x="4523974" y="1052737"/>
            <a:ext cx="744120" cy="736138"/>
          </a:xfrm>
          <a:prstGeom prst="rect">
            <a:avLst/>
          </a:prstGeom>
        </p:spPr>
      </p:pic>
      <p:pic>
        <p:nvPicPr>
          <p:cNvPr id="41" name="Grafik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23974" y="3940043"/>
            <a:ext cx="795263" cy="711122"/>
          </a:xfrm>
          <a:prstGeom prst="rect">
            <a:avLst/>
          </a:prstGeom>
        </p:spPr>
      </p:pic>
      <p:pic>
        <p:nvPicPr>
          <p:cNvPr id="42" name="Grafik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48637" y="2122890"/>
            <a:ext cx="494794" cy="736138"/>
          </a:xfrm>
          <a:prstGeom prst="rect">
            <a:avLst/>
          </a:prstGeom>
        </p:spPr>
      </p:pic>
      <p:pic>
        <p:nvPicPr>
          <p:cNvPr id="26" name="Grafik 2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5576" y="3411818"/>
            <a:ext cx="1987266" cy="780772"/>
          </a:xfrm>
          <a:prstGeom prst="rect">
            <a:avLst/>
          </a:prstGeom>
        </p:spPr>
      </p:pic>
      <p:sp>
        <p:nvSpPr>
          <p:cNvPr id="29" name="Textfeld 28"/>
          <p:cNvSpPr txBox="1"/>
          <p:nvPr/>
        </p:nvSpPr>
        <p:spPr>
          <a:xfrm>
            <a:off x="5868144" y="4663537"/>
            <a:ext cx="3946744" cy="1037958"/>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400" b="1" i="0" u="none" baseline="0" dirty="0">
                <a:solidFill>
                  <a:schemeClr val="bg2"/>
                </a:solidFill>
              </a:rPr>
              <a:t>35</a:t>
            </a:r>
            <a:r>
              <a:rPr lang="en" sz="1600" b="0" i="0" u="none" baseline="0" dirty="0">
                <a:solidFill>
                  <a:schemeClr val="bg2"/>
                </a:solidFill>
              </a:rPr>
              <a:t> </a:t>
            </a:r>
            <a:r>
              <a:rPr lang="en" sz="1400" b="0" i="0" u="none" baseline="0" dirty="0" smtClean="0">
                <a:solidFill>
                  <a:schemeClr val="bg2"/>
                </a:solidFill>
              </a:rPr>
              <a:t>countries                                                             </a:t>
            </a:r>
            <a:r>
              <a:rPr lang="en" sz="1400" b="0" i="0" u="none" baseline="0" dirty="0" smtClean="0">
                <a:solidFill>
                  <a:schemeClr val="bg2"/>
                </a:solidFill>
                <a:latin typeface="微软雅黑" panose="020B0503020204020204" pitchFamily="34" charset="-122"/>
                <a:ea typeface="微软雅黑" panose="020B0503020204020204" pitchFamily="34" charset="-122"/>
              </a:rPr>
              <a:t>35</a:t>
            </a:r>
            <a:r>
              <a:rPr lang="zh-CN" altLang="en-US" sz="1400" b="0" i="0" u="none" baseline="0" dirty="0" smtClean="0">
                <a:solidFill>
                  <a:schemeClr val="bg2"/>
                </a:solidFill>
                <a:latin typeface="微软雅黑" panose="020B0503020204020204" pitchFamily="34" charset="-122"/>
                <a:ea typeface="微软雅黑" panose="020B0503020204020204" pitchFamily="34" charset="-122"/>
              </a:rPr>
              <a:t>个国家</a:t>
            </a:r>
            <a:endParaRPr lang="en" sz="1400" b="1" dirty="0" smtClean="0">
              <a:solidFill>
                <a:schemeClr val="bg2"/>
              </a:solidFill>
              <a:latin typeface="微软雅黑" panose="020B0503020204020204" pitchFamily="34" charset="-122"/>
              <a:ea typeface="微软雅黑" panose="020B0503020204020204" pitchFamily="34" charset="-122"/>
            </a:endParaRPr>
          </a:p>
        </p:txBody>
      </p:sp>
      <p:pic>
        <p:nvPicPr>
          <p:cNvPr id="30" name="Grafik 2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84596" y="4883848"/>
            <a:ext cx="1504331" cy="734903"/>
          </a:xfrm>
          <a:prstGeom prst="rect">
            <a:avLst/>
          </a:prstGeom>
        </p:spPr>
      </p:pic>
      <p:cxnSp>
        <p:nvCxnSpPr>
          <p:cNvPr id="34" name="Gerader Verbinder 33"/>
          <p:cNvCxnSpPr/>
          <p:nvPr/>
        </p:nvCxnSpPr>
        <p:spPr>
          <a:xfrm>
            <a:off x="2987575" y="5618751"/>
            <a:ext cx="583289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 name="Rechteck 5"/>
          <p:cNvSpPr/>
          <p:nvPr/>
        </p:nvSpPr>
        <p:spPr>
          <a:xfrm>
            <a:off x="5627731" y="1146268"/>
            <a:ext cx="364202" cy="461665"/>
          </a:xfrm>
          <a:prstGeom prst="rect">
            <a:avLst/>
          </a:prstGeom>
        </p:spPr>
        <p:txBody>
          <a:bodyPr wrap="none">
            <a:spAutoFit/>
          </a:bodyPr>
          <a:lstStyle/>
          <a:p>
            <a:pPr algn="l" rtl="0"/>
            <a:r>
              <a:rPr lang="en" sz="2400" b="0" i="0" u="none" baseline="0" dirty="0">
                <a:solidFill>
                  <a:schemeClr val="bg2"/>
                </a:solidFill>
              </a:rPr>
              <a:t>&gt;</a:t>
            </a:r>
            <a:endParaRPr lang="en" sz="2400" dirty="0"/>
          </a:p>
        </p:txBody>
      </p:sp>
      <p:sp>
        <p:nvSpPr>
          <p:cNvPr id="39" name="Rechteck 38"/>
          <p:cNvSpPr/>
          <p:nvPr/>
        </p:nvSpPr>
        <p:spPr>
          <a:xfrm>
            <a:off x="5637089" y="2236482"/>
            <a:ext cx="364202" cy="461665"/>
          </a:xfrm>
          <a:prstGeom prst="rect">
            <a:avLst/>
          </a:prstGeom>
        </p:spPr>
        <p:txBody>
          <a:bodyPr wrap="none">
            <a:spAutoFit/>
          </a:bodyPr>
          <a:lstStyle/>
          <a:p>
            <a:pPr algn="l" rtl="0"/>
            <a:r>
              <a:rPr lang="en" sz="2400" b="0" i="0" u="none" baseline="0">
                <a:solidFill>
                  <a:schemeClr val="bg2"/>
                </a:solidFill>
              </a:rPr>
              <a:t>&gt;</a:t>
            </a:r>
            <a:endParaRPr lang="en" sz="2400" dirty="0"/>
          </a:p>
        </p:txBody>
      </p:sp>
      <p:sp>
        <p:nvSpPr>
          <p:cNvPr id="45" name="Rechteck 44"/>
          <p:cNvSpPr/>
          <p:nvPr/>
        </p:nvSpPr>
        <p:spPr>
          <a:xfrm>
            <a:off x="5621057" y="2986293"/>
            <a:ext cx="364202" cy="461665"/>
          </a:xfrm>
          <a:prstGeom prst="rect">
            <a:avLst/>
          </a:prstGeom>
        </p:spPr>
        <p:txBody>
          <a:bodyPr wrap="none">
            <a:spAutoFit/>
          </a:bodyPr>
          <a:lstStyle/>
          <a:p>
            <a:pPr algn="l" rtl="0"/>
            <a:r>
              <a:rPr lang="en" sz="2400" b="0" i="0" u="none" baseline="0" dirty="0">
                <a:solidFill>
                  <a:schemeClr val="bg2"/>
                </a:solidFill>
              </a:rPr>
              <a:t>&gt;</a:t>
            </a:r>
            <a:endParaRPr lang="en" sz="2400" dirty="0"/>
          </a:p>
        </p:txBody>
      </p:sp>
      <p:grpSp>
        <p:nvGrpSpPr>
          <p:cNvPr id="10" name="Gruppieren 9"/>
          <p:cNvGrpSpPr/>
          <p:nvPr/>
        </p:nvGrpSpPr>
        <p:grpSpPr>
          <a:xfrm>
            <a:off x="4838803" y="5440998"/>
            <a:ext cx="4911099" cy="1114902"/>
            <a:chOff x="4897115" y="3696163"/>
            <a:chExt cx="4911099" cy="1114902"/>
          </a:xfrm>
        </p:grpSpPr>
        <p:sp>
          <p:nvSpPr>
            <p:cNvPr id="24" name="Textfeld 23"/>
            <p:cNvSpPr txBox="1"/>
            <p:nvPr/>
          </p:nvSpPr>
          <p:spPr>
            <a:xfrm>
              <a:off x="5861470" y="3696163"/>
              <a:ext cx="3946744" cy="1114902"/>
            </a:xfrm>
            <a:prstGeom prst="rect">
              <a:avLst/>
            </a:prstGeom>
            <a:noFill/>
          </p:spPr>
          <p:txBody>
            <a:bodyPr wrap="square" lIns="72000" tIns="72000" rIns="72000" bIns="72000" rtlCol="0">
              <a:spAutoFit/>
            </a:bodyPr>
            <a:lstStyle/>
            <a:p>
              <a:pPr algn="l" rtl="0">
                <a:spcBef>
                  <a:spcPts val="300"/>
                </a:spcBef>
                <a:spcAft>
                  <a:spcPts val="300"/>
                </a:spcAft>
                <a:buClr>
                  <a:schemeClr val="bg2"/>
                </a:buClr>
              </a:pPr>
              <a:r>
                <a:rPr lang="en" sz="4400" b="1" i="0" u="none" baseline="0" dirty="0" smtClean="0">
                  <a:solidFill>
                    <a:schemeClr val="bg2"/>
                  </a:solidFill>
                </a:rPr>
                <a:t>33</a:t>
              </a:r>
            </a:p>
            <a:p>
              <a:pPr>
                <a:spcBef>
                  <a:spcPts val="300"/>
                </a:spcBef>
                <a:spcAft>
                  <a:spcPts val="300"/>
                </a:spcAft>
                <a:buClr>
                  <a:schemeClr val="bg2"/>
                </a:buClr>
              </a:pPr>
              <a:r>
                <a:rPr lang="zh-CN" altLang="en-US" sz="1400" dirty="0">
                  <a:solidFill>
                    <a:schemeClr val="bg2"/>
                  </a:solidFill>
                  <a:latin typeface="微软雅黑" panose="020B0503020204020204" pitchFamily="34" charset="-122"/>
                  <a:ea typeface="微软雅黑" panose="020B0503020204020204" pitchFamily="34" charset="-122"/>
                </a:rPr>
                <a:t>在巴尔查斯全球工具涂层业务中占比</a:t>
              </a:r>
              <a:r>
                <a:rPr lang="en-US" altLang="zh-CN" sz="1400" dirty="0">
                  <a:solidFill>
                    <a:schemeClr val="bg2"/>
                  </a:solidFill>
                  <a:latin typeface="微软雅黑" panose="020B0503020204020204" pitchFamily="34" charset="-122"/>
                  <a:ea typeface="微软雅黑" panose="020B0503020204020204" pitchFamily="34" charset="-122"/>
                </a:rPr>
                <a:t>33</a:t>
              </a:r>
              <a:r>
                <a:rPr lang="en-US" altLang="zh-CN" sz="1400" dirty="0" smtClean="0">
                  <a:solidFill>
                    <a:schemeClr val="bg2"/>
                  </a:solidFill>
                  <a:latin typeface="微软雅黑" panose="020B0503020204020204" pitchFamily="34" charset="-122"/>
                  <a:ea typeface="微软雅黑" panose="020B0503020204020204" pitchFamily="34" charset="-122"/>
                </a:rPr>
                <a:t>%</a:t>
              </a:r>
              <a:endParaRPr lang="en" sz="1400" b="1" dirty="0">
                <a:solidFill>
                  <a:schemeClr val="bg2"/>
                </a:solidFill>
                <a:latin typeface="微软雅黑" panose="020B0503020204020204" pitchFamily="34" charset="-122"/>
                <a:ea typeface="微软雅黑" panose="020B0503020204020204" pitchFamily="34" charset="-122"/>
              </a:endParaRPr>
            </a:p>
          </p:txBody>
        </p:sp>
        <p:pic>
          <p:nvPicPr>
            <p:cNvPr id="44" name="Grafik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97115" y="3937550"/>
              <a:ext cx="138805" cy="693091"/>
            </a:xfrm>
            <a:prstGeom prst="rect">
              <a:avLst/>
            </a:prstGeom>
          </p:spPr>
        </p:pic>
        <p:sp>
          <p:nvSpPr>
            <p:cNvPr id="5" name="Rechteck 4"/>
            <p:cNvSpPr/>
            <p:nvPr/>
          </p:nvSpPr>
          <p:spPr>
            <a:xfrm>
              <a:off x="6623273" y="3860073"/>
              <a:ext cx="2097049" cy="523220"/>
            </a:xfrm>
            <a:prstGeom prst="rect">
              <a:avLst/>
            </a:prstGeom>
          </p:spPr>
          <p:txBody>
            <a:bodyPr wrap="none">
              <a:spAutoFit/>
            </a:bodyPr>
            <a:lstStyle/>
            <a:p>
              <a:pPr>
                <a:spcBef>
                  <a:spcPts val="300"/>
                </a:spcBef>
                <a:spcAft>
                  <a:spcPts val="300"/>
                </a:spcAft>
                <a:buClr>
                  <a:schemeClr val="bg2"/>
                </a:buClr>
              </a:pPr>
              <a:r>
                <a:rPr lang="en" sz="1400" dirty="0" smtClean="0">
                  <a:solidFill>
                    <a:schemeClr val="bg2"/>
                  </a:solidFill>
                </a:rPr>
                <a:t>% of </a:t>
              </a:r>
              <a:r>
                <a:rPr lang="en" sz="1400" dirty="0">
                  <a:solidFill>
                    <a:schemeClr val="bg2"/>
                  </a:solidFill>
                </a:rPr>
                <a:t>all tools worldwide </a:t>
              </a:r>
              <a:r>
                <a:rPr lang="en" sz="1400" dirty="0" smtClean="0">
                  <a:solidFill>
                    <a:schemeClr val="bg2"/>
                  </a:solidFill>
                </a:rPr>
                <a:t/>
              </a:r>
              <a:br>
                <a:rPr lang="en" sz="1400" dirty="0" smtClean="0">
                  <a:solidFill>
                    <a:schemeClr val="bg2"/>
                  </a:solidFill>
                </a:rPr>
              </a:br>
              <a:r>
                <a:rPr lang="en" sz="1400" dirty="0" smtClean="0">
                  <a:solidFill>
                    <a:schemeClr val="bg2"/>
                  </a:solidFill>
                </a:rPr>
                <a:t>coated by Balzers</a:t>
              </a:r>
            </a:p>
          </p:txBody>
        </p:sp>
      </p:grpSp>
      <p:sp>
        <p:nvSpPr>
          <p:cNvPr id="46" name="Rechteck 45"/>
          <p:cNvSpPr/>
          <p:nvPr/>
        </p:nvSpPr>
        <p:spPr>
          <a:xfrm>
            <a:off x="5652955" y="4110638"/>
            <a:ext cx="364202" cy="461665"/>
          </a:xfrm>
          <a:prstGeom prst="rect">
            <a:avLst/>
          </a:prstGeom>
        </p:spPr>
        <p:txBody>
          <a:bodyPr wrap="none">
            <a:spAutoFit/>
          </a:bodyPr>
          <a:lstStyle/>
          <a:p>
            <a:pPr algn="l" rtl="0"/>
            <a:r>
              <a:rPr lang="en" sz="2400" b="0" i="0" u="none" baseline="0">
                <a:solidFill>
                  <a:schemeClr val="bg2"/>
                </a:solidFill>
              </a:rPr>
              <a:t>&gt;</a:t>
            </a:r>
            <a:endParaRPr lang="en" sz="2400" dirty="0"/>
          </a:p>
        </p:txBody>
      </p:sp>
      <p:sp>
        <p:nvSpPr>
          <p:cNvPr id="9" name="Title 8"/>
          <p:cNvSpPr>
            <a:spLocks noGrp="1"/>
          </p:cNvSpPr>
          <p:nvPr>
            <p:ph type="title"/>
          </p:nvPr>
        </p:nvSpPr>
        <p:spPr/>
        <p:txBody>
          <a:bodyPr/>
          <a:lstStyle/>
          <a:p>
            <a:r>
              <a:rPr lang="en" altLang="zh-CN" dirty="0"/>
              <a:t>Key facts </a:t>
            </a:r>
            <a:r>
              <a:rPr lang="zh-CN" altLang="en-US" dirty="0" smtClean="0">
                <a:latin typeface="微软雅黑" panose="020B0503020204020204" pitchFamily="34" charset="-122"/>
                <a:ea typeface="微软雅黑" panose="020B0503020204020204" pitchFamily="34" charset="-122"/>
              </a:rPr>
              <a:t>重要事实</a:t>
            </a:r>
            <a:r>
              <a:rPr lang="en" altLang="zh-CN" dirty="0" smtClean="0"/>
              <a:t/>
            </a:r>
            <a:br>
              <a:rPr lang="en" altLang="zh-CN" dirty="0" smtClean="0"/>
            </a:br>
            <a:r>
              <a:rPr lang="en" altLang="zh-CN" dirty="0" smtClean="0"/>
              <a:t>Business Unit Balzers </a:t>
            </a:r>
            <a:r>
              <a:rPr lang="en" altLang="zh-CN" dirty="0"/>
              <a:t>Industrial </a:t>
            </a:r>
            <a:r>
              <a:rPr lang="en" altLang="zh-CN" dirty="0" smtClean="0"/>
              <a:t>Solutions</a:t>
            </a:r>
            <a:br>
              <a:rPr lang="en" altLang="zh-CN" dirty="0" smtClean="0"/>
            </a:br>
            <a:r>
              <a:rPr lang="zh-CN" altLang="en-US" dirty="0" smtClean="0">
                <a:latin typeface="微软雅黑" panose="020B0503020204020204" pitchFamily="34" charset="-122"/>
                <a:ea typeface="微软雅黑" panose="020B0503020204020204" pitchFamily="34" charset="-122"/>
              </a:rPr>
              <a:t>巴尔查斯工业解决方案事业</a:t>
            </a:r>
            <a:r>
              <a:rPr lang="zh-CN" altLang="en-US" dirty="0">
                <a:latin typeface="微软雅黑" panose="020B0503020204020204" pitchFamily="34" charset="-122"/>
                <a:ea typeface="微软雅黑" panose="020B0503020204020204" pitchFamily="34" charset="-122"/>
              </a:rPr>
              <a:t>单元</a:t>
            </a:r>
          </a:p>
        </p:txBody>
      </p:sp>
      <p:sp>
        <p:nvSpPr>
          <p:cNvPr id="43" name="Fußzeilenplatzhalter 2"/>
          <p:cNvSpPr>
            <a:spLocks noGrp="1"/>
          </p:cNvSpPr>
          <p:nvPr>
            <p:ph type="ftr" sz="quarter" idx="4294967295"/>
          </p:nvPr>
        </p:nvSpPr>
        <p:spPr>
          <a:xfrm>
            <a:off x="1079499" y="6524625"/>
            <a:ext cx="6623845" cy="180976"/>
          </a:xfrm>
          <a:prstGeom prst="rect">
            <a:avLst/>
          </a:prstGeom>
        </p:spPr>
        <p:txBody>
          <a:bodyPr/>
          <a:lstStyle/>
          <a:p>
            <a:pPr algn="l" rtl="0"/>
            <a:r>
              <a:rPr lang="en-US" sz="900" b="0" i="0" u="none" baseline="0" smtClean="0"/>
              <a:t>Presentation Tools &amp; Equipment (04. January 2017)</a:t>
            </a:r>
            <a:endParaRPr lang="en" sz="900" dirty="0"/>
          </a:p>
        </p:txBody>
      </p:sp>
    </p:spTree>
    <p:extLst>
      <p:ext uri="{BB962C8B-B14F-4D97-AF65-F5344CB8AC3E}">
        <p14:creationId xmlns:p14="http://schemas.microsoft.com/office/powerpoint/2010/main" val="221611822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5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3" name="Rechteck 10"/>
          <p:cNvSpPr>
            <a:spLocks noChangeArrowheads="1"/>
          </p:cNvSpPr>
          <p:nvPr/>
        </p:nvSpPr>
        <p:spPr bwMode="gray">
          <a:xfrm>
            <a:off x="395289" y="1050313"/>
            <a:ext cx="8367168" cy="544513"/>
          </a:xfrm>
          <a:prstGeom prst="rect">
            <a:avLst/>
          </a:prstGeom>
          <a:solidFill>
            <a:schemeClr val="bg2"/>
          </a:solidFill>
          <a:ln w="19050">
            <a:solidFill>
              <a:schemeClr val="bg2"/>
            </a:solidFill>
          </a:ln>
          <a:extLst/>
        </p:spPr>
        <p:txBody>
          <a:bodyPr lIns="72000" tIns="0" rIns="0" bIns="0" anchor="ctr"/>
          <a:lstStyle/>
          <a:p>
            <a:pPr algn="ctr">
              <a:buClr>
                <a:srgbClr val="5F5F5F"/>
              </a:buClr>
              <a:buFont typeface="Wingdings" pitchFamily="2" charset="2"/>
              <a:buNone/>
              <a:defRPr/>
            </a:pPr>
            <a:r>
              <a:rPr lang="en-US" sz="2000" b="1" dirty="0" err="1" smtClean="0">
                <a:solidFill>
                  <a:schemeClr val="bg1"/>
                </a:solidFill>
                <a:latin typeface="Arial" panose="020B0604020202020204" pitchFamily="34" charset="0"/>
                <a:cs typeface="Arial" panose="020B0604020202020204" pitchFamily="34" charset="0"/>
              </a:rPr>
              <a:t>Balzers</a:t>
            </a:r>
            <a:r>
              <a:rPr lang="en-US" sz="2000" b="1" dirty="0" smtClean="0">
                <a:solidFill>
                  <a:schemeClr val="bg1"/>
                </a:solidFill>
                <a:latin typeface="Arial" panose="020B0604020202020204" pitchFamily="34" charset="0"/>
                <a:cs typeface="Arial" panose="020B0604020202020204" pitchFamily="34" charset="0"/>
              </a:rPr>
              <a:t> Industrial Solutions</a:t>
            </a:r>
            <a:r>
              <a:rPr lang="zh-CN" altLang="en-US" sz="2000" b="1" dirty="0" smtClean="0">
                <a:solidFill>
                  <a:schemeClr val="bg1"/>
                </a:solidFill>
                <a:latin typeface="微软雅黑" panose="020B0503020204020204" pitchFamily="34" charset="-122"/>
                <a:ea typeface="微软雅黑" panose="020B0503020204020204" pitchFamily="34" charset="-122"/>
                <a:cs typeface="Arial" panose="020B0604020202020204" pitchFamily="34" charset="0"/>
              </a:rPr>
              <a:t>巴尔查斯工业解决方案</a:t>
            </a:r>
            <a:endParaRPr lang="en-US" sz="2000" b="1" dirty="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2" name="Titel 1"/>
          <p:cNvSpPr>
            <a:spLocks noGrp="1"/>
          </p:cNvSpPr>
          <p:nvPr>
            <p:ph type="title"/>
          </p:nvPr>
        </p:nvSpPr>
        <p:spPr/>
        <p:txBody>
          <a:bodyPr/>
          <a:lstStyle/>
          <a:p>
            <a:r>
              <a:rPr lang="de-DE" dirty="0" smtClean="0"/>
              <a:t>Balzers Industrial Solutions</a:t>
            </a:r>
            <a:br>
              <a:rPr lang="de-DE" dirty="0" smtClean="0"/>
            </a:br>
            <a:r>
              <a:rPr lang="zh-CN" altLang="en-US" dirty="0" smtClean="0">
                <a:latin typeface="微软雅黑" panose="020B0503020204020204" pitchFamily="34" charset="-122"/>
                <a:ea typeface="微软雅黑" panose="020B0503020204020204" pitchFamily="34" charset="-122"/>
              </a:rPr>
              <a:t>巴尔查斯工业解决方案</a:t>
            </a:r>
            <a:r>
              <a:rPr lang="de-DE" dirty="0" smtClean="0"/>
              <a:t/>
            </a:r>
            <a:br>
              <a:rPr lang="de-DE" dirty="0" smtClean="0"/>
            </a:br>
            <a:endParaRPr lang="de-DE" dirty="0"/>
          </a:p>
        </p:txBody>
      </p:sp>
      <p:sp>
        <p:nvSpPr>
          <p:cNvPr id="29" name="Footer Placeholder 2"/>
          <p:cNvSpPr>
            <a:spLocks noGrp="1"/>
          </p:cNvSpPr>
          <p:nvPr>
            <p:ph type="ftr" sz="quarter" idx="14"/>
          </p:nvPr>
        </p:nvSpPr>
        <p:spPr>
          <a:prstGeom prst="rect">
            <a:avLst/>
          </a:prstGeom>
        </p:spPr>
        <p:txBody>
          <a:bodyPr/>
          <a:lstStyle/>
          <a:p>
            <a:r>
              <a:rPr lang="en-US" sz="900" noProof="0" smtClean="0"/>
              <a:t>Presentation Tools &amp; Equipment (04. January 2017)</a:t>
            </a:r>
            <a:endParaRPr lang="de-DE" sz="900" noProof="0" dirty="0"/>
          </a:p>
        </p:txBody>
      </p:sp>
      <p:sp>
        <p:nvSpPr>
          <p:cNvPr id="28" name="Slide Number Placeholder 27"/>
          <p:cNvSpPr>
            <a:spLocks noGrp="1"/>
          </p:cNvSpPr>
          <p:nvPr>
            <p:ph type="sldNum" sz="quarter" idx="15"/>
          </p:nvPr>
        </p:nvSpPr>
        <p:spPr/>
        <p:txBody>
          <a:bodyPr/>
          <a:lstStyle/>
          <a:p>
            <a:r>
              <a:rPr lang="en-US" smtClean="0"/>
              <a:t>Page </a:t>
            </a:r>
            <a:fld id="{4CBDD732-51B5-4C98-8D6E-EE22A137A5B2}" type="slidenum">
              <a:rPr lang="en-US" smtClean="0"/>
              <a:pPr/>
              <a:t>7</a:t>
            </a:fld>
            <a:endParaRPr lang="en-US" dirty="0"/>
          </a:p>
        </p:txBody>
      </p:sp>
      <p:pic>
        <p:nvPicPr>
          <p:cNvPr id="25" name="Grafik 24"/>
          <p:cNvPicPr>
            <a:picLocks noChangeAspect="1"/>
          </p:cNvPicPr>
          <p:nvPr/>
        </p:nvPicPr>
        <p:blipFill rotWithShape="1">
          <a:blip r:embed="rId7" cstate="print">
            <a:extLst>
              <a:ext uri="{28A0092B-C50C-407E-A947-70E740481C1C}">
                <a14:useLocalDpi xmlns:a14="http://schemas.microsoft.com/office/drawing/2010/main" val="0"/>
              </a:ext>
            </a:extLst>
          </a:blip>
          <a:srcRect r="10789"/>
          <a:stretch/>
        </p:blipFill>
        <p:spPr>
          <a:xfrm>
            <a:off x="395289" y="1778175"/>
            <a:ext cx="4105274" cy="2487463"/>
          </a:xfrm>
          <a:prstGeom prst="rect">
            <a:avLst/>
          </a:prstGeom>
          <a:ln w="19050">
            <a:solidFill>
              <a:schemeClr val="bg2"/>
            </a:solidFill>
          </a:ln>
        </p:spPr>
      </p:pic>
      <p:sp>
        <p:nvSpPr>
          <p:cNvPr id="30" name="Rechteck 10"/>
          <p:cNvSpPr>
            <a:spLocks noChangeArrowheads="1"/>
          </p:cNvSpPr>
          <p:nvPr/>
        </p:nvSpPr>
        <p:spPr bwMode="gray">
          <a:xfrm>
            <a:off x="367180" y="1775098"/>
            <a:ext cx="2691933" cy="545998"/>
          </a:xfrm>
          <a:prstGeom prst="rect">
            <a:avLst/>
          </a:prstGeom>
          <a:extLst/>
        </p:spPr>
        <p:txBody>
          <a:bodyPr lIns="72000" tIns="0" rIns="0" bIns="0" anchor="ctr"/>
          <a:lstStyle/>
          <a:p>
            <a:pPr>
              <a:buClr>
                <a:srgbClr val="5F5F5F"/>
              </a:buClr>
              <a:buFont typeface="Wingdings" pitchFamily="2" charset="2"/>
              <a:buNone/>
            </a:pPr>
            <a:r>
              <a:rPr lang="en-US" sz="1600" b="1" dirty="0" smtClean="0">
                <a:latin typeface="Arial" panose="020B0604020202020204" pitchFamily="34" charset="0"/>
                <a:cs typeface="Arial" panose="020B0604020202020204" pitchFamily="34" charset="0"/>
              </a:rPr>
              <a:t>Tools</a:t>
            </a:r>
          </a:p>
          <a:p>
            <a:pPr>
              <a:buClr>
                <a:srgbClr val="5F5F5F"/>
              </a:buClr>
              <a:buFont typeface="Wingdings" pitchFamily="2" charset="2"/>
              <a:buNone/>
            </a:pPr>
            <a:r>
              <a:rPr lang="zh-CN" altLang="en-US" sz="1600" b="1" dirty="0" smtClean="0">
                <a:latin typeface="微软雅黑" panose="020B0503020204020204" pitchFamily="34" charset="-122"/>
                <a:ea typeface="微软雅黑" panose="020B0503020204020204" pitchFamily="34" charset="-122"/>
                <a:cs typeface="Arial" panose="020B0604020202020204" pitchFamily="34" charset="0"/>
              </a:rPr>
              <a:t>工具</a:t>
            </a:r>
            <a:endParaRPr lang="en-US" sz="1600" b="1"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17" name="Grafik 16"/>
          <p:cNvPicPr>
            <a:picLocks noChangeAspect="1"/>
          </p:cNvPicPr>
          <p:nvPr/>
        </p:nvPicPr>
        <p:blipFill rotWithShape="1">
          <a:blip r:embed="rId7" cstate="print">
            <a:extLst>
              <a:ext uri="{28A0092B-C50C-407E-A947-70E740481C1C}">
                <a14:useLocalDpi xmlns:a14="http://schemas.microsoft.com/office/drawing/2010/main" val="0"/>
              </a:ext>
            </a:extLst>
          </a:blip>
          <a:srcRect r="10789"/>
          <a:stretch/>
        </p:blipFill>
        <p:spPr>
          <a:xfrm>
            <a:off x="4653430" y="1775098"/>
            <a:ext cx="4109027" cy="2503215"/>
          </a:xfrm>
          <a:prstGeom prst="rect">
            <a:avLst/>
          </a:prstGeom>
        </p:spPr>
      </p:pic>
      <p:sp>
        <p:nvSpPr>
          <p:cNvPr id="19" name="Rechteck 10"/>
          <p:cNvSpPr>
            <a:spLocks noChangeArrowheads="1"/>
          </p:cNvSpPr>
          <p:nvPr/>
        </p:nvSpPr>
        <p:spPr bwMode="gray">
          <a:xfrm>
            <a:off x="4644008" y="1778175"/>
            <a:ext cx="2691933" cy="545998"/>
          </a:xfrm>
          <a:prstGeom prst="rect">
            <a:avLst/>
          </a:prstGeom>
          <a:extLst/>
        </p:spPr>
        <p:txBody>
          <a:bodyPr lIns="72000" tIns="0" rIns="0" bIns="0" anchor="ctr"/>
          <a:lstStyle/>
          <a:p>
            <a:pPr algn="ctr">
              <a:buClr>
                <a:srgbClr val="5F5F5F"/>
              </a:buClr>
              <a:buFont typeface="Wingdings" pitchFamily="2" charset="2"/>
              <a:buNone/>
            </a:pPr>
            <a:r>
              <a:rPr lang="en-US" sz="1600" b="1" dirty="0" smtClean="0">
                <a:latin typeface="Arial" panose="020B0604020202020204" pitchFamily="34" charset="0"/>
                <a:cs typeface="Arial" panose="020B0604020202020204" pitchFamily="34" charset="0"/>
              </a:rPr>
              <a:t>TF Precision Components</a:t>
            </a:r>
          </a:p>
          <a:p>
            <a:pPr algn="ctr">
              <a:buClr>
                <a:srgbClr val="5F5F5F"/>
              </a:buClr>
              <a:buFont typeface="Wingdings" pitchFamily="2" charset="2"/>
              <a:buNone/>
            </a:pPr>
            <a:r>
              <a:rPr lang="zh-CN" altLang="en-US" sz="1600" b="1" dirty="0">
                <a:latin typeface="微软雅黑" panose="020B0503020204020204" pitchFamily="34" charset="-122"/>
                <a:ea typeface="微软雅黑" panose="020B0503020204020204" pitchFamily="34" charset="-122"/>
                <a:cs typeface="Arial" panose="020B0604020202020204" pitchFamily="34" charset="0"/>
              </a:rPr>
              <a:t>薄膜</a:t>
            </a:r>
            <a:r>
              <a:rPr lang="zh-CN" altLang="en-US" sz="1600" b="1" dirty="0" smtClean="0">
                <a:latin typeface="微软雅黑" panose="020B0503020204020204" pitchFamily="34" charset="-122"/>
                <a:ea typeface="微软雅黑" panose="020B0503020204020204" pitchFamily="34" charset="-122"/>
                <a:cs typeface="Arial" panose="020B0604020202020204" pitchFamily="34" charset="0"/>
              </a:rPr>
              <a:t>精密零部件</a:t>
            </a:r>
            <a:endParaRPr lang="en-US" sz="1600" b="1"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20" name="Grafik 19"/>
          <p:cNvPicPr>
            <a:picLocks noChangeAspect="1"/>
          </p:cNvPicPr>
          <p:nvPr/>
        </p:nvPicPr>
        <p:blipFill rotWithShape="1">
          <a:blip r:embed="rId7" cstate="print">
            <a:extLst>
              <a:ext uri="{28A0092B-C50C-407E-A947-70E740481C1C}">
                <a14:useLocalDpi xmlns:a14="http://schemas.microsoft.com/office/drawing/2010/main" val="0"/>
              </a:ext>
            </a:extLst>
          </a:blip>
          <a:srcRect r="10789"/>
          <a:stretch/>
        </p:blipFill>
        <p:spPr>
          <a:xfrm>
            <a:off x="395289" y="4402957"/>
            <a:ext cx="8353424" cy="1905768"/>
          </a:xfrm>
          <a:prstGeom prst="rect">
            <a:avLst/>
          </a:prstGeom>
          <a:ln w="19050">
            <a:solidFill>
              <a:schemeClr val="bg2"/>
            </a:solidFill>
          </a:ln>
        </p:spPr>
      </p:pic>
      <p:sp>
        <p:nvSpPr>
          <p:cNvPr id="21" name="Rechteck 10"/>
          <p:cNvSpPr>
            <a:spLocks noChangeArrowheads="1"/>
          </p:cNvSpPr>
          <p:nvPr/>
        </p:nvSpPr>
        <p:spPr bwMode="gray">
          <a:xfrm>
            <a:off x="395289" y="4395170"/>
            <a:ext cx="2691933" cy="545998"/>
          </a:xfrm>
          <a:prstGeom prst="rect">
            <a:avLst/>
          </a:prstGeom>
          <a:extLst/>
        </p:spPr>
        <p:txBody>
          <a:bodyPr lIns="72000" tIns="0" rIns="0" bIns="0" anchor="ctr"/>
          <a:lstStyle/>
          <a:p>
            <a:pPr>
              <a:buClr>
                <a:srgbClr val="5F5F5F"/>
              </a:buClr>
              <a:buFont typeface="Wingdings" pitchFamily="2" charset="2"/>
              <a:buNone/>
            </a:pPr>
            <a:r>
              <a:rPr lang="en-US" sz="1600" b="1" dirty="0" smtClean="0">
                <a:latin typeface="Arial" panose="020B0604020202020204" pitchFamily="34" charset="0"/>
                <a:cs typeface="Arial" panose="020B0604020202020204" pitchFamily="34" charset="0"/>
              </a:rPr>
              <a:t>Equipment &amp; After Sales</a:t>
            </a:r>
          </a:p>
          <a:p>
            <a:pPr>
              <a:buClr>
                <a:srgbClr val="5F5F5F"/>
              </a:buClr>
              <a:buFont typeface="Wingdings" pitchFamily="2" charset="2"/>
              <a:buNone/>
            </a:pPr>
            <a:r>
              <a:rPr lang="zh-CN" altLang="en-US" sz="1600" b="1" dirty="0" smtClean="0">
                <a:latin typeface="微软雅黑" panose="020B0503020204020204" pitchFamily="34" charset="-122"/>
                <a:ea typeface="微软雅黑" panose="020B0503020204020204" pitchFamily="34" charset="-122"/>
                <a:cs typeface="Arial" panose="020B0604020202020204" pitchFamily="34" charset="0"/>
              </a:rPr>
              <a:t>设备和售后</a:t>
            </a:r>
            <a:endParaRPr lang="en-US" sz="1600" b="1" dirty="0">
              <a:latin typeface="微软雅黑" panose="020B0503020204020204" pitchFamily="34" charset="-122"/>
              <a:ea typeface="微软雅黑" panose="020B0503020204020204" pitchFamily="34" charset="-122"/>
              <a:cs typeface="Arial" panose="020B0604020202020204" pitchFamily="34" charset="0"/>
            </a:endParaRPr>
          </a:p>
        </p:txBody>
      </p:sp>
      <p:pic>
        <p:nvPicPr>
          <p:cNvPr id="18" name="Grafik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3864" y="2629353"/>
            <a:ext cx="4102924" cy="782030"/>
          </a:xfrm>
          <a:prstGeom prst="rect">
            <a:avLst/>
          </a:prstGeom>
        </p:spPr>
      </p:pic>
      <p:pic>
        <p:nvPicPr>
          <p:cNvPr id="23" name="Grafik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43438" y="2636838"/>
            <a:ext cx="4102011" cy="787427"/>
          </a:xfrm>
          <a:prstGeom prst="rect">
            <a:avLst/>
          </a:prstGeom>
        </p:spPr>
      </p:pic>
      <p:pic>
        <p:nvPicPr>
          <p:cNvPr id="24" name="Grafik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7639" y="5124450"/>
            <a:ext cx="4102924" cy="788866"/>
          </a:xfrm>
          <a:prstGeom prst="rect">
            <a:avLst/>
          </a:prstGeom>
        </p:spPr>
      </p:pic>
    </p:spTree>
    <p:extLst>
      <p:ext uri="{BB962C8B-B14F-4D97-AF65-F5344CB8AC3E}">
        <p14:creationId xmlns:p14="http://schemas.microsoft.com/office/powerpoint/2010/main" val="22102654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5" name="think-cell Folie" r:id="rId5" imgW="216" imgH="216" progId="TCLayout.ActiveDocument.1">
                  <p:embed/>
                </p:oleObj>
              </mc:Choice>
              <mc:Fallback>
                <p:oleObj name="think-cell Foli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2" name="Grafik 51"/>
          <p:cNvPicPr>
            <a:picLocks noChangeAspect="1"/>
          </p:cNvPicPr>
          <p:nvPr/>
        </p:nvPicPr>
        <p:blipFill rotWithShape="1">
          <a:blip r:embed="rId7">
            <a:extLst>
              <a:ext uri="{28A0092B-C50C-407E-A947-70E740481C1C}">
                <a14:useLocalDpi xmlns:a14="http://schemas.microsoft.com/office/drawing/2010/main" val="0"/>
              </a:ext>
            </a:extLst>
          </a:blip>
          <a:srcRect l="9775" t="-194" r="846" b="-397"/>
          <a:stretch/>
        </p:blipFill>
        <p:spPr>
          <a:xfrm>
            <a:off x="-36511" y="-27384"/>
            <a:ext cx="9217024" cy="6912768"/>
          </a:xfrm>
          <a:prstGeom prst="rect">
            <a:avLst/>
          </a:prstGeom>
        </p:spPr>
      </p:pic>
      <p:sp>
        <p:nvSpPr>
          <p:cNvPr id="2" name="Titel 1"/>
          <p:cNvSpPr>
            <a:spLocks noGrp="1"/>
          </p:cNvSpPr>
          <p:nvPr>
            <p:ph type="title"/>
          </p:nvPr>
        </p:nvSpPr>
        <p:spPr/>
        <p:txBody>
          <a:bodyPr/>
          <a:lstStyle/>
          <a:p>
            <a:pPr algn="l" rtl="0"/>
            <a:r>
              <a:rPr lang="en" b="1" i="0" u="none" baseline="0" dirty="0"/>
              <a:t>Milestones in our </a:t>
            </a:r>
            <a:r>
              <a:rPr lang="en" b="1" i="0" u="none" baseline="0" dirty="0" smtClean="0"/>
              <a:t>history </a:t>
            </a:r>
            <a:br>
              <a:rPr lang="en" b="1" i="0" u="none" baseline="0" dirty="0" smtClean="0"/>
            </a:br>
            <a:r>
              <a:rPr lang="zh-CN" altLang="en-US" b="1" i="0" u="none" baseline="0" dirty="0" smtClean="0">
                <a:latin typeface="微软雅黑" panose="020B0503020204020204" pitchFamily="34" charset="-122"/>
                <a:ea typeface="微软雅黑" panose="020B0503020204020204" pitchFamily="34" charset="-122"/>
              </a:rPr>
              <a:t>我们历史上的重要里程碑</a:t>
            </a:r>
            <a:r>
              <a:rPr lang="en" dirty="0">
                <a:latin typeface="微软雅黑" panose="020B0503020204020204" pitchFamily="34" charset="-122"/>
                <a:ea typeface="微软雅黑" panose="020B0503020204020204" pitchFamily="34" charset="-122"/>
              </a:rPr>
              <a:t/>
            </a:r>
            <a:br>
              <a:rPr lang="en" dirty="0">
                <a:latin typeface="微软雅黑" panose="020B0503020204020204" pitchFamily="34" charset="-122"/>
                <a:ea typeface="微软雅黑" panose="020B0503020204020204" pitchFamily="34" charset="-122"/>
              </a:rPr>
            </a:br>
            <a:endParaRPr lang="en" dirty="0">
              <a:latin typeface="微软雅黑" panose="020B0503020204020204" pitchFamily="34" charset="-122"/>
              <a:ea typeface="微软雅黑" panose="020B0503020204020204" pitchFamily="34" charset="-122"/>
            </a:endParaRPr>
          </a:p>
        </p:txBody>
      </p:sp>
      <p:sp>
        <p:nvSpPr>
          <p:cNvPr id="4" name="Fußzeilenplatzhalter 3"/>
          <p:cNvSpPr>
            <a:spLocks noGrp="1"/>
          </p:cNvSpPr>
          <p:nvPr>
            <p:ph type="ftr" sz="quarter" idx="14"/>
          </p:nvPr>
        </p:nvSpPr>
        <p:spPr/>
        <p:txBody>
          <a:bodyPr/>
          <a:lstStyle/>
          <a:p>
            <a:pPr algn="l" rtl="0"/>
            <a:r>
              <a:rPr lang="en-US" b="0" i="0" u="none" baseline="0" smtClean="0"/>
              <a:t>Presentation Tools &amp; Equipment (04. January 2017)</a:t>
            </a:r>
            <a:endParaRPr lang="en" noProof="0" dirty="0"/>
          </a:p>
        </p:txBody>
      </p:sp>
      <p:sp>
        <p:nvSpPr>
          <p:cNvPr id="5" name="Foliennummernplatzhalter 4"/>
          <p:cNvSpPr>
            <a:spLocks noGrp="1"/>
          </p:cNvSpPr>
          <p:nvPr>
            <p:ph type="sldNum" sz="quarter" idx="15"/>
          </p:nvPr>
        </p:nvSpPr>
        <p:spPr/>
        <p:txBody>
          <a:bodyPr/>
          <a:lstStyle/>
          <a:p>
            <a:pPr algn="l" rtl="0"/>
            <a:r>
              <a:rPr lang="en" b="0" i="0" u="none" baseline="0"/>
              <a:t>Page </a:t>
            </a:r>
            <a:fld id="{D126E9C2-5A98-4FED-83CF-BD978A28F274}" type="slidenum">
              <a:rPr/>
              <a:pPr algn="l" rtl="0"/>
              <a:t>8</a:t>
            </a:fld>
            <a:endParaRPr lang="en" noProof="0" dirty="0"/>
          </a:p>
        </p:txBody>
      </p:sp>
      <p:grpSp>
        <p:nvGrpSpPr>
          <p:cNvPr id="10" name="Gruppieren 9"/>
          <p:cNvGrpSpPr/>
          <p:nvPr/>
        </p:nvGrpSpPr>
        <p:grpSpPr>
          <a:xfrm>
            <a:off x="2630230" y="1792347"/>
            <a:ext cx="1692155" cy="1692155"/>
            <a:chOff x="1974327" y="1469574"/>
            <a:chExt cx="10048523" cy="10048523"/>
          </a:xfrm>
        </p:grpSpPr>
        <p:sp>
          <p:nvSpPr>
            <p:cNvPr id="11" name="Ellipse 10"/>
            <p:cNvSpPr/>
            <p:nvPr/>
          </p:nvSpPr>
          <p:spPr>
            <a:xfrm>
              <a:off x="3455458" y="2950705"/>
              <a:ext cx="7086260" cy="7086260"/>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12" name="Ellipse 11"/>
            <p:cNvSpPr/>
            <p:nvPr/>
          </p:nvSpPr>
          <p:spPr>
            <a:xfrm>
              <a:off x="1974327" y="1469574"/>
              <a:ext cx="10048523" cy="10048523"/>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20" name="Textfeld 1"/>
          <p:cNvSpPr txBox="1"/>
          <p:nvPr/>
        </p:nvSpPr>
        <p:spPr>
          <a:xfrm>
            <a:off x="688970" y="4489171"/>
            <a:ext cx="1342148" cy="1303809"/>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chemeClr val="bg2"/>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Founding of Gerätebauanstalt </a:t>
            </a:r>
            <a:r>
              <a:rPr lang="en" sz="1100" b="0" i="0" u="none" baseline="0" dirty="0" smtClean="0">
                <a:solidFill>
                  <a:schemeClr val="accent1">
                    <a:lumMod val="25000"/>
                  </a:schemeClr>
                </a:solidFill>
                <a:cs typeface="Arial"/>
              </a:rPr>
              <a:t>Balzers</a:t>
            </a:r>
          </a:p>
          <a:p>
            <a:pPr marL="1588" algn="l" rtl="0" fontAlgn="base">
              <a:spcBef>
                <a:spcPct val="0"/>
              </a:spcBef>
              <a:spcAft>
                <a:spcPct val="0"/>
              </a:spcAft>
              <a:buClr>
                <a:schemeClr val="tx2"/>
              </a:buClr>
            </a:pPr>
            <a:endParaRPr lang="en" sz="1100" b="0" i="0" u="none" baseline="0" dirty="0" smtClean="0">
              <a:solidFill>
                <a:schemeClr val="accent1">
                  <a:lumMod val="25000"/>
                </a:schemeClr>
              </a:solidFill>
              <a:cs typeface="Arial"/>
            </a:endParaRPr>
          </a:p>
          <a:p>
            <a:pPr marL="1588" fontAlgn="base">
              <a:spcBef>
                <a:spcPct val="0"/>
              </a:spcBef>
              <a:spcAft>
                <a:spcPct val="0"/>
              </a:spcAft>
              <a:buClr>
                <a:schemeClr val="tx2"/>
              </a:buClr>
            </a:pPr>
            <a:r>
              <a:rPr lang="en" altLang="zh-CN" sz="1100" dirty="0" smtClean="0">
                <a:solidFill>
                  <a:schemeClr val="accent1">
                    <a:lumMod val="25000"/>
                  </a:schemeClr>
                </a:solidFill>
                <a:latin typeface="微软雅黑" panose="020B0503020204020204" pitchFamily="34" charset="-122"/>
                <a:ea typeface="微软雅黑" panose="020B0503020204020204" pitchFamily="34" charset="-122"/>
                <a:cs typeface="Arial"/>
              </a:rPr>
              <a:t>Gerätebauanstalt</a:t>
            </a:r>
            <a:r>
              <a:rPr lang="zh-CN" altLang="en-US" sz="1100" dirty="0">
                <a:solidFill>
                  <a:schemeClr val="accent1">
                    <a:lumMod val="25000"/>
                  </a:schemeClr>
                </a:solidFill>
                <a:latin typeface="微软雅黑" panose="020B0503020204020204" pitchFamily="34" charset="-122"/>
                <a:ea typeface="微软雅黑" panose="020B0503020204020204" pitchFamily="34" charset="-122"/>
                <a:cs typeface="Arial"/>
              </a:rPr>
              <a:t>巴尔查斯成</a:t>
            </a:r>
            <a:r>
              <a:rPr lang="zh-CN" altLang="en-US" sz="1100" dirty="0" smtClean="0">
                <a:solidFill>
                  <a:schemeClr val="accent1">
                    <a:lumMod val="25000"/>
                  </a:schemeClr>
                </a:solidFill>
                <a:latin typeface="微软雅黑" panose="020B0503020204020204" pitchFamily="34" charset="-122"/>
                <a:ea typeface="微软雅黑" panose="020B0503020204020204" pitchFamily="34" charset="-122"/>
                <a:cs typeface="Arial"/>
              </a:rPr>
              <a:t>立</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pic>
        <p:nvPicPr>
          <p:cNvPr id="21" name="Picture 32" descr="C:\Judith\zu erledigen\Cutting Tools Präsentation\Bilder\Test-BALINIT.jpg"/>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0" b="90000" l="10000" r="90000"/>
                    </a14:imgEffect>
                  </a14:imgLayer>
                </a14:imgProps>
              </a:ext>
              <a:ext uri="{28A0092B-C50C-407E-A947-70E740481C1C}">
                <a14:useLocalDpi xmlns:a14="http://schemas.microsoft.com/office/drawing/2010/main" val="0"/>
              </a:ext>
            </a:extLst>
          </a:blip>
          <a:srcRect/>
          <a:stretch>
            <a:fillRect/>
          </a:stretch>
        </p:blipFill>
        <p:spPr bwMode="auto">
          <a:xfrm>
            <a:off x="2918311" y="3668828"/>
            <a:ext cx="1152728" cy="1152728"/>
          </a:xfrm>
          <a:prstGeom prst="rect">
            <a:avLst/>
          </a:prstGeom>
          <a:noFill/>
          <a:extLst>
            <a:ext uri="{909E8E84-426E-40DD-AFC4-6F175D3DCCD1}">
              <a14:hiddenFill xmlns:a14="http://schemas.microsoft.com/office/drawing/2010/main">
                <a:solidFill>
                  <a:srgbClr val="FFFFFF"/>
                </a:solidFill>
              </a14:hiddenFill>
            </a:ext>
          </a:extLst>
        </p:spPr>
      </p:pic>
      <p:sp>
        <p:nvSpPr>
          <p:cNvPr id="31" name="Textfeld 30"/>
          <p:cNvSpPr txBox="1"/>
          <p:nvPr/>
        </p:nvSpPr>
        <p:spPr>
          <a:xfrm>
            <a:off x="2627784" y="1203177"/>
            <a:ext cx="1692156" cy="584775"/>
          </a:xfrm>
          <a:prstGeom prst="rect">
            <a:avLst/>
          </a:prstGeom>
          <a:noFill/>
        </p:spPr>
        <p:txBody>
          <a:bodyPr wrap="square" lIns="144000" rIns="144000" rtlCol="0">
            <a:spAutoFit/>
          </a:bodyPr>
          <a:lstStyle/>
          <a:p>
            <a:pPr algn="ctr" rtl="0"/>
            <a:r>
              <a:rPr lang="en" sz="3200" b="1" i="0" u="none" baseline="0">
                <a:solidFill>
                  <a:schemeClr val="bg2"/>
                </a:solidFill>
                <a:effectLst>
                  <a:innerShdw blurRad="63500" dist="50800" dir="13500000">
                    <a:prstClr val="black">
                      <a:alpha val="50000"/>
                    </a:prstClr>
                  </a:innerShdw>
                </a:effectLst>
              </a:rPr>
              <a:t>1978</a:t>
            </a:r>
            <a:endParaRPr lang="en" sz="2000" b="1" dirty="0">
              <a:solidFill>
                <a:schemeClr val="bg2"/>
              </a:solidFill>
              <a:effectLst>
                <a:innerShdw blurRad="63500" dist="50800" dir="13500000">
                  <a:prstClr val="black">
                    <a:alpha val="50000"/>
                  </a:prstClr>
                </a:innerShdw>
              </a:effectLst>
            </a:endParaRPr>
          </a:p>
        </p:txBody>
      </p:sp>
      <p:grpSp>
        <p:nvGrpSpPr>
          <p:cNvPr id="17" name="Gruppieren 16"/>
          <p:cNvGrpSpPr/>
          <p:nvPr/>
        </p:nvGrpSpPr>
        <p:grpSpPr>
          <a:xfrm>
            <a:off x="2893670" y="2355305"/>
            <a:ext cx="1008256" cy="579338"/>
            <a:chOff x="1966670" y="979506"/>
            <a:chExt cx="1008256" cy="579338"/>
          </a:xfrm>
        </p:grpSpPr>
        <p:pic>
          <p:nvPicPr>
            <p:cNvPr id="51" name="Grafik 50"/>
            <p:cNvPicPr>
              <a:picLocks noChangeAspect="1"/>
            </p:cNvPicPr>
            <p:nvPr/>
          </p:nvPicPr>
          <p:blipFill>
            <a:blip r:embed="rId10" cstate="print">
              <a:duotone>
                <a:schemeClr val="accent1">
                  <a:shade val="45000"/>
                  <a:satMod val="135000"/>
                </a:schemeClr>
                <a:prstClr val="white"/>
              </a:duotone>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tretch>
              <a:fillRect/>
            </a:stretch>
          </p:blipFill>
          <p:spPr>
            <a:xfrm>
              <a:off x="2327041" y="979506"/>
              <a:ext cx="647885" cy="579338"/>
            </a:xfrm>
            <a:prstGeom prst="rect">
              <a:avLst/>
            </a:prstGeom>
          </p:spPr>
        </p:pic>
        <p:sp>
          <p:nvSpPr>
            <p:cNvPr id="16" name="Textfeld 15"/>
            <p:cNvSpPr txBox="1"/>
            <p:nvPr/>
          </p:nvSpPr>
          <p:spPr>
            <a:xfrm>
              <a:off x="1966670" y="1051195"/>
              <a:ext cx="793667" cy="281926"/>
            </a:xfrm>
            <a:prstGeom prst="rect">
              <a:avLst/>
            </a:prstGeom>
            <a:noFill/>
          </p:spPr>
          <p:txBody>
            <a:bodyPr wrap="square" lIns="0" tIns="0" rIns="0" bIns="0" rtlCol="0">
              <a:noAutofit/>
            </a:bodyPr>
            <a:lstStyle/>
            <a:p>
              <a:pPr algn="r" rtl="0">
                <a:spcBef>
                  <a:spcPts val="300"/>
                </a:spcBef>
                <a:spcAft>
                  <a:spcPts val="300"/>
                </a:spcAft>
                <a:buClr>
                  <a:schemeClr val="bg2"/>
                </a:buClr>
              </a:pPr>
              <a:r>
                <a:rPr lang="en" sz="1200" b="0" i="0" u="none" baseline="0" dirty="0">
                  <a:solidFill>
                    <a:schemeClr val="bg1"/>
                  </a:solidFill>
                </a:rPr>
                <a:t>1 </a:t>
              </a:r>
              <a:r>
                <a:rPr lang="en" sz="1200" b="0" i="0" u="none" baseline="0" dirty="0" smtClean="0">
                  <a:solidFill>
                    <a:schemeClr val="bg1"/>
                  </a:solidFill>
                </a:rPr>
                <a:t>Centre</a:t>
              </a:r>
            </a:p>
            <a:p>
              <a:pPr algn="r" rtl="0">
                <a:spcBef>
                  <a:spcPts val="300"/>
                </a:spcBef>
                <a:spcAft>
                  <a:spcPts val="300"/>
                </a:spcAft>
                <a:buClr>
                  <a:schemeClr val="bg2"/>
                </a:buClr>
              </a:pPr>
              <a:r>
                <a:rPr lang="zh-CN" altLang="en-US" sz="1200" dirty="0">
                  <a:solidFill>
                    <a:schemeClr val="bg1"/>
                  </a:solidFill>
                </a:rPr>
                <a:t>一</a:t>
              </a:r>
              <a:r>
                <a:rPr lang="zh-CN" altLang="en-US" sz="1200" dirty="0" smtClean="0">
                  <a:solidFill>
                    <a:schemeClr val="bg1"/>
                  </a:solidFill>
                </a:rPr>
                <a:t>个中心</a:t>
              </a:r>
              <a:endParaRPr lang="en" sz="1200" b="0" i="0" u="none" baseline="0" dirty="0">
                <a:solidFill>
                  <a:schemeClr val="bg1"/>
                </a:solidFill>
              </a:endParaRPr>
            </a:p>
          </p:txBody>
        </p:sp>
      </p:grpSp>
      <p:cxnSp>
        <p:nvCxnSpPr>
          <p:cNvPr id="14" name="Gerader Verbinder 13"/>
          <p:cNvCxnSpPr>
            <a:stCxn id="12" idx="6"/>
          </p:cNvCxnSpPr>
          <p:nvPr/>
        </p:nvCxnSpPr>
        <p:spPr>
          <a:xfrm>
            <a:off x="4322385" y="2638425"/>
            <a:ext cx="7860317" cy="0"/>
          </a:xfrm>
          <a:prstGeom prst="line">
            <a:avLst/>
          </a:prstGeom>
          <a:ln w="12700">
            <a:solidFill>
              <a:schemeClr val="bg2"/>
            </a:solidFill>
          </a:ln>
          <a:effectLst>
            <a:innerShdw blurRad="63500" dist="50800" dir="13500000">
              <a:prstClr val="black">
                <a:alpha val="50000"/>
              </a:prstClr>
            </a:innerShdw>
          </a:effectLst>
        </p:spPr>
        <p:style>
          <a:lnRef idx="1">
            <a:schemeClr val="accent1"/>
          </a:lnRef>
          <a:fillRef idx="0">
            <a:schemeClr val="accent1"/>
          </a:fillRef>
          <a:effectRef idx="0">
            <a:schemeClr val="accent1"/>
          </a:effectRef>
          <a:fontRef idx="minor">
            <a:schemeClr val="tx1"/>
          </a:fontRef>
        </p:style>
      </p:cxnSp>
      <p:grpSp>
        <p:nvGrpSpPr>
          <p:cNvPr id="6" name="Gruppieren 5"/>
          <p:cNvGrpSpPr/>
          <p:nvPr/>
        </p:nvGrpSpPr>
        <p:grpSpPr>
          <a:xfrm>
            <a:off x="4894636" y="1749379"/>
            <a:ext cx="1837604" cy="4045715"/>
            <a:chOff x="4894636" y="1749379"/>
            <a:chExt cx="1837604" cy="4045715"/>
          </a:xfrm>
        </p:grpSpPr>
        <p:grpSp>
          <p:nvGrpSpPr>
            <p:cNvPr id="9" name="Gruppieren 8"/>
            <p:cNvGrpSpPr/>
            <p:nvPr/>
          </p:nvGrpSpPr>
          <p:grpSpPr>
            <a:xfrm>
              <a:off x="4894636" y="1749379"/>
              <a:ext cx="1837604" cy="4045715"/>
              <a:chOff x="2933691" y="1749379"/>
              <a:chExt cx="1837604" cy="4045715"/>
            </a:xfrm>
          </p:grpSpPr>
          <p:grpSp>
            <p:nvGrpSpPr>
              <p:cNvPr id="30" name="Gruppieren 29"/>
              <p:cNvGrpSpPr/>
              <p:nvPr/>
            </p:nvGrpSpPr>
            <p:grpSpPr>
              <a:xfrm>
                <a:off x="3563850" y="2370427"/>
                <a:ext cx="544469" cy="544469"/>
                <a:chOff x="4788024" y="3452721"/>
                <a:chExt cx="1692156" cy="1692156"/>
              </a:xfrm>
            </p:grpSpPr>
            <p:sp>
              <p:nvSpPr>
                <p:cNvPr id="29" name="Ellipse 28"/>
                <p:cNvSpPr/>
                <p:nvPr/>
              </p:nvSpPr>
              <p:spPr>
                <a:xfrm>
                  <a:off x="4788024" y="3452721"/>
                  <a:ext cx="1692156" cy="1692156"/>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28" name="Ellipse 27"/>
                <p:cNvSpPr/>
                <p:nvPr/>
              </p:nvSpPr>
              <p:spPr>
                <a:xfrm>
                  <a:off x="5037444" y="3702141"/>
                  <a:ext cx="1193315" cy="1193315"/>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300"/>
                    </a:spcBef>
                    <a:spcAft>
                      <a:spcPts val="300"/>
                    </a:spcAft>
                  </a:pPr>
                  <a:endParaRPr lang="en" sz="1200" b="1" dirty="0" smtClean="0">
                    <a:solidFill>
                      <a:schemeClr val="tx1"/>
                    </a:solidFill>
                  </a:endParaRPr>
                </a:p>
              </p:txBody>
            </p:sp>
          </p:grpSp>
          <p:sp>
            <p:nvSpPr>
              <p:cNvPr id="33" name="Textfeld 1"/>
              <p:cNvSpPr txBox="1"/>
              <p:nvPr/>
            </p:nvSpPr>
            <p:spPr>
              <a:xfrm>
                <a:off x="3172971" y="4491285"/>
                <a:ext cx="1598324" cy="1303809"/>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chemeClr val="bg2"/>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The first coating centres in Italy, Germany, Spain and the </a:t>
                </a:r>
                <a:r>
                  <a:rPr lang="en" sz="1100" b="0" i="0" u="none" baseline="0" dirty="0" smtClean="0">
                    <a:solidFill>
                      <a:schemeClr val="accent1">
                        <a:lumMod val="25000"/>
                      </a:schemeClr>
                    </a:solidFill>
                    <a:cs typeface="Arial"/>
                  </a:rPr>
                  <a:t>USA</a:t>
                </a:r>
              </a:p>
              <a:p>
                <a:pPr marL="1588" algn="l" rtl="0" fontAlgn="base">
                  <a:spcBef>
                    <a:spcPct val="0"/>
                  </a:spcBef>
                  <a:spcAft>
                    <a:spcPct val="0"/>
                  </a:spcAft>
                  <a:buClr>
                    <a:schemeClr val="tx2"/>
                  </a:buClr>
                </a:pPr>
                <a:endParaRPr lang="en" sz="1100" b="0" i="0" u="none" baseline="0" dirty="0" smtClean="0">
                  <a:solidFill>
                    <a:schemeClr val="accent1">
                      <a:lumMod val="25000"/>
                    </a:schemeClr>
                  </a:solidFill>
                  <a:cs typeface="Arial"/>
                </a:endParaRPr>
              </a:p>
              <a:p>
                <a:pPr marL="1588" algn="l" rtl="0" fontAlgn="base">
                  <a:spcBef>
                    <a:spcPct val="0"/>
                  </a:spcBef>
                  <a:spcAft>
                    <a:spcPct val="0"/>
                  </a:spcAft>
                  <a:buClr>
                    <a:schemeClr val="tx2"/>
                  </a:buClr>
                </a:pPr>
                <a:r>
                  <a:rPr lang="zh-CN" altLang="en-US" sz="1100" dirty="0" smtClean="0">
                    <a:solidFill>
                      <a:schemeClr val="accent1">
                        <a:lumMod val="25000"/>
                      </a:schemeClr>
                    </a:solidFill>
                    <a:latin typeface="微软雅黑" panose="020B0503020204020204" pitchFamily="34" charset="-122"/>
                    <a:ea typeface="微软雅黑" panose="020B0503020204020204" pitchFamily="34" charset="-122"/>
                    <a:cs typeface="Arial"/>
                  </a:rPr>
                  <a:t>意大利、德国、西班牙和美国的四个涂层中心</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pic>
            <p:nvPicPr>
              <p:cNvPr id="34" name="Grafik 3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040110" y="3635286"/>
                <a:ext cx="1479318" cy="722684"/>
              </a:xfrm>
              <a:prstGeom prst="rect">
                <a:avLst/>
              </a:prstGeom>
            </p:spPr>
          </p:pic>
          <p:sp>
            <p:nvSpPr>
              <p:cNvPr id="35" name="Textfeld 34"/>
              <p:cNvSpPr txBox="1"/>
              <p:nvPr/>
            </p:nvSpPr>
            <p:spPr>
              <a:xfrm>
                <a:off x="2933691" y="1749379"/>
                <a:ext cx="1692156" cy="584775"/>
              </a:xfrm>
              <a:prstGeom prst="rect">
                <a:avLst/>
              </a:prstGeom>
              <a:noFill/>
            </p:spPr>
            <p:txBody>
              <a:bodyPr wrap="square" lIns="144000" rIns="144000" rtlCol="0">
                <a:spAutoFit/>
              </a:bodyPr>
              <a:lstStyle/>
              <a:p>
                <a:pPr algn="ctr" rtl="0"/>
                <a:r>
                  <a:rPr lang="en" sz="3200" b="1" i="0" u="none" baseline="0" dirty="0">
                    <a:solidFill>
                      <a:schemeClr val="bg2"/>
                    </a:solidFill>
                    <a:effectLst>
                      <a:innerShdw blurRad="63500" dist="50800" dir="13500000">
                        <a:prstClr val="black">
                          <a:alpha val="50000"/>
                        </a:prstClr>
                      </a:innerShdw>
                    </a:effectLst>
                  </a:rPr>
                  <a:t>1984</a:t>
                </a:r>
                <a:endParaRPr lang="en" sz="2000" b="1" dirty="0">
                  <a:solidFill>
                    <a:schemeClr val="bg2"/>
                  </a:solidFill>
                  <a:effectLst>
                    <a:innerShdw blurRad="63500" dist="50800" dir="13500000">
                      <a:prstClr val="black">
                        <a:alpha val="50000"/>
                      </a:prstClr>
                    </a:innerShdw>
                  </a:effectLst>
                </a:endParaRPr>
              </a:p>
            </p:txBody>
          </p:sp>
          <p:sp>
            <p:nvSpPr>
              <p:cNvPr id="36" name="Gleichschenkliges Dreieck 35"/>
              <p:cNvSpPr/>
              <p:nvPr/>
            </p:nvSpPr>
            <p:spPr>
              <a:xfrm rot="10800000">
                <a:off x="3707905" y="3133048"/>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grpSp>
          <p:nvGrpSpPr>
            <p:cNvPr id="53" name="Gruppieren 52"/>
            <p:cNvGrpSpPr/>
            <p:nvPr/>
          </p:nvGrpSpPr>
          <p:grpSpPr>
            <a:xfrm>
              <a:off x="5439384" y="2288938"/>
              <a:ext cx="711350" cy="711350"/>
              <a:chOff x="-2332037" y="1638304"/>
              <a:chExt cx="544469" cy="544469"/>
            </a:xfrm>
          </p:grpSpPr>
          <p:sp>
            <p:nvSpPr>
              <p:cNvPr id="54" name="Ellipse 53"/>
              <p:cNvSpPr/>
              <p:nvPr/>
            </p:nvSpPr>
            <p:spPr>
              <a:xfrm>
                <a:off x="-2332037"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55" name="Ellipse 54"/>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400" b="0" i="0" u="none" baseline="0">
                    <a:solidFill>
                      <a:schemeClr val="bg1"/>
                    </a:solidFill>
                  </a:rPr>
                  <a:t>4</a:t>
                </a:r>
              </a:p>
            </p:txBody>
          </p:sp>
        </p:grpSp>
      </p:grpSp>
      <p:grpSp>
        <p:nvGrpSpPr>
          <p:cNvPr id="7" name="Gruppieren 6"/>
          <p:cNvGrpSpPr/>
          <p:nvPr/>
        </p:nvGrpSpPr>
        <p:grpSpPr>
          <a:xfrm>
            <a:off x="6926017" y="1749379"/>
            <a:ext cx="1750439" cy="4025707"/>
            <a:chOff x="6926017" y="1749379"/>
            <a:chExt cx="1750439" cy="4025707"/>
          </a:xfrm>
        </p:grpSpPr>
        <p:grpSp>
          <p:nvGrpSpPr>
            <p:cNvPr id="13" name="Gruppieren 12"/>
            <p:cNvGrpSpPr/>
            <p:nvPr/>
          </p:nvGrpSpPr>
          <p:grpSpPr>
            <a:xfrm>
              <a:off x="6926017" y="1749379"/>
              <a:ext cx="1750439" cy="4025707"/>
              <a:chOff x="4922991" y="1749379"/>
              <a:chExt cx="1750439" cy="4025707"/>
            </a:xfrm>
          </p:grpSpPr>
          <p:grpSp>
            <p:nvGrpSpPr>
              <p:cNvPr id="37" name="Gruppieren 36"/>
              <p:cNvGrpSpPr/>
              <p:nvPr/>
            </p:nvGrpSpPr>
            <p:grpSpPr>
              <a:xfrm>
                <a:off x="5487878" y="2370427"/>
                <a:ext cx="544469" cy="544469"/>
                <a:chOff x="4788024" y="3452721"/>
                <a:chExt cx="1692156" cy="1692156"/>
              </a:xfrm>
            </p:grpSpPr>
            <p:sp>
              <p:nvSpPr>
                <p:cNvPr id="38" name="Ellipse 37"/>
                <p:cNvSpPr/>
                <p:nvPr/>
              </p:nvSpPr>
              <p:spPr>
                <a:xfrm>
                  <a:off x="4788024" y="3452721"/>
                  <a:ext cx="1692156" cy="1692156"/>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39" name="Ellipse 38"/>
                <p:cNvSpPr/>
                <p:nvPr/>
              </p:nvSpPr>
              <p:spPr>
                <a:xfrm>
                  <a:off x="5037444" y="3702141"/>
                  <a:ext cx="1193315" cy="1193315"/>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40" name="Textfeld 1"/>
              <p:cNvSpPr txBox="1"/>
              <p:nvPr/>
            </p:nvSpPr>
            <p:spPr>
              <a:xfrm>
                <a:off x="5258629" y="4471277"/>
                <a:ext cx="1414801" cy="1303809"/>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New, high-performance TiAIN </a:t>
                </a:r>
                <a:r>
                  <a:rPr lang="en" sz="1100" b="0" i="0" u="none" baseline="0" dirty="0" smtClean="0">
                    <a:solidFill>
                      <a:schemeClr val="accent1">
                        <a:lumMod val="25000"/>
                      </a:schemeClr>
                    </a:solidFill>
                    <a:cs typeface="Arial"/>
                  </a:rPr>
                  <a:t>coatings</a:t>
                </a:r>
              </a:p>
              <a:p>
                <a:pPr marL="1588" algn="l" rtl="0" fontAlgn="base">
                  <a:spcBef>
                    <a:spcPct val="0"/>
                  </a:spcBef>
                  <a:spcAft>
                    <a:spcPct val="0"/>
                  </a:spcAft>
                  <a:buClr>
                    <a:schemeClr val="tx2"/>
                  </a:buClr>
                </a:pPr>
                <a:endParaRPr lang="en" sz="1100" b="0" i="0" u="none" baseline="0" dirty="0" smtClean="0">
                  <a:solidFill>
                    <a:schemeClr val="accent1">
                      <a:lumMod val="25000"/>
                    </a:schemeClr>
                  </a:solidFill>
                  <a:cs typeface="Arial"/>
                </a:endParaRPr>
              </a:p>
              <a:p>
                <a:pPr marL="1588" fontAlgn="base">
                  <a:spcBef>
                    <a:spcPct val="0"/>
                  </a:spcBef>
                  <a:spcAft>
                    <a:spcPct val="0"/>
                  </a:spcAft>
                  <a:buClr>
                    <a:schemeClr val="tx2"/>
                  </a:buClr>
                </a:pPr>
                <a:r>
                  <a:rPr lang="zh-CN" altLang="en-US" sz="1100" dirty="0">
                    <a:solidFill>
                      <a:schemeClr val="accent1">
                        <a:lumMod val="25000"/>
                      </a:schemeClr>
                    </a:solidFill>
                    <a:latin typeface="微软雅黑" panose="020B0503020204020204" pitchFamily="34" charset="-122"/>
                    <a:ea typeface="微软雅黑" panose="020B0503020204020204" pitchFamily="34" charset="-122"/>
                    <a:cs typeface="Arial"/>
                  </a:rPr>
                  <a:t>新</a:t>
                </a:r>
                <a:r>
                  <a:rPr lang="zh-CN" altLang="en-US" sz="1100" dirty="0" smtClean="0">
                    <a:solidFill>
                      <a:schemeClr val="accent1">
                        <a:lumMod val="25000"/>
                      </a:schemeClr>
                    </a:solidFill>
                    <a:latin typeface="微软雅黑" panose="020B0503020204020204" pitchFamily="34" charset="-122"/>
                    <a:ea typeface="微软雅黑" panose="020B0503020204020204" pitchFamily="34" charset="-122"/>
                    <a:cs typeface="Arial"/>
                  </a:rPr>
                  <a:t>的、高性能的</a:t>
                </a:r>
                <a:r>
                  <a:rPr lang="en" altLang="zh-CN" sz="1100" dirty="0">
                    <a:solidFill>
                      <a:schemeClr val="accent1">
                        <a:lumMod val="25000"/>
                      </a:schemeClr>
                    </a:solidFill>
                    <a:cs typeface="Arial"/>
                  </a:rPr>
                  <a:t>TiAIN</a:t>
                </a:r>
                <a:r>
                  <a:rPr lang="zh-CN" altLang="en-US" sz="1100" dirty="0" smtClean="0">
                    <a:solidFill>
                      <a:schemeClr val="accent1">
                        <a:lumMod val="25000"/>
                      </a:schemeClr>
                    </a:solidFill>
                    <a:latin typeface="微软雅黑" panose="020B0503020204020204" pitchFamily="34" charset="-122"/>
                    <a:ea typeface="微软雅黑" panose="020B0503020204020204" pitchFamily="34" charset="-122"/>
                    <a:cs typeface="Arial"/>
                  </a:rPr>
                  <a:t>涂层</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sp>
            <p:nvSpPr>
              <p:cNvPr id="41" name="Textfeld 40"/>
              <p:cNvSpPr txBox="1"/>
              <p:nvPr/>
            </p:nvSpPr>
            <p:spPr>
              <a:xfrm>
                <a:off x="4922991" y="1749379"/>
                <a:ext cx="1692156" cy="584775"/>
              </a:xfrm>
              <a:prstGeom prst="rect">
                <a:avLst/>
              </a:prstGeom>
              <a:noFill/>
            </p:spPr>
            <p:txBody>
              <a:bodyPr wrap="square" lIns="144000" rIns="144000" rtlCol="0">
                <a:spAutoFit/>
              </a:bodyPr>
              <a:lstStyle/>
              <a:p>
                <a:pPr algn="ctr" rtl="0"/>
                <a:r>
                  <a:rPr lang="en" sz="3200" b="1" i="0" u="none" baseline="0" dirty="0">
                    <a:solidFill>
                      <a:schemeClr val="bg2"/>
                    </a:solidFill>
                    <a:effectLst>
                      <a:innerShdw blurRad="63500" dist="50800" dir="13500000">
                        <a:prstClr val="black">
                          <a:alpha val="50000"/>
                        </a:prstClr>
                      </a:innerShdw>
                    </a:effectLst>
                  </a:rPr>
                  <a:t>1996</a:t>
                </a:r>
                <a:endParaRPr lang="en" sz="2000" b="1" dirty="0">
                  <a:solidFill>
                    <a:schemeClr val="bg2"/>
                  </a:solidFill>
                  <a:effectLst>
                    <a:innerShdw blurRad="63500" dist="50800" dir="13500000">
                      <a:prstClr val="black">
                        <a:alpha val="50000"/>
                      </a:prstClr>
                    </a:innerShdw>
                  </a:effectLst>
                </a:endParaRPr>
              </a:p>
            </p:txBody>
          </p:sp>
          <p:sp>
            <p:nvSpPr>
              <p:cNvPr id="42" name="Gleichschenkliges Dreieck 41"/>
              <p:cNvSpPr/>
              <p:nvPr/>
            </p:nvSpPr>
            <p:spPr>
              <a:xfrm rot="10800000">
                <a:off x="5652120" y="3133048"/>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pic>
            <p:nvPicPr>
              <p:cNvPr id="43" name="Grafik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220072" y="3392858"/>
                <a:ext cx="1107951" cy="1107951"/>
              </a:xfrm>
              <a:prstGeom prst="ellipse">
                <a:avLst/>
              </a:prstGeom>
              <a:effectLst>
                <a:innerShdw blurRad="63500" dist="50800" dir="13500000">
                  <a:prstClr val="black">
                    <a:alpha val="50000"/>
                  </a:prstClr>
                </a:innerShdw>
              </a:effectLst>
            </p:spPr>
          </p:pic>
        </p:grpSp>
        <p:grpSp>
          <p:nvGrpSpPr>
            <p:cNvPr id="56" name="Gruppieren 55"/>
            <p:cNvGrpSpPr/>
            <p:nvPr/>
          </p:nvGrpSpPr>
          <p:grpSpPr>
            <a:xfrm>
              <a:off x="7427930" y="2297373"/>
              <a:ext cx="711350" cy="711350"/>
              <a:chOff x="-2332037" y="1638304"/>
              <a:chExt cx="544469" cy="544469"/>
            </a:xfrm>
          </p:grpSpPr>
          <p:sp>
            <p:nvSpPr>
              <p:cNvPr id="57" name="Ellipse 56"/>
              <p:cNvSpPr/>
              <p:nvPr/>
            </p:nvSpPr>
            <p:spPr>
              <a:xfrm>
                <a:off x="-2332037"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58" name="Ellipse 57"/>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400" b="0" i="0" u="none" baseline="0" dirty="0">
                    <a:solidFill>
                      <a:schemeClr val="bg1"/>
                    </a:solidFill>
                  </a:rPr>
                  <a:t>31</a:t>
                </a:r>
              </a:p>
            </p:txBody>
          </p:sp>
        </p:grpSp>
      </p:grpSp>
      <p:pic>
        <p:nvPicPr>
          <p:cNvPr id="73" name="Grafik 72"/>
          <p:cNvPicPr>
            <a:picLocks noChangeAspect="1"/>
          </p:cNvPicPr>
          <p:nvPr/>
        </p:nvPicPr>
        <p:blipFill rotWithShape="1">
          <a:blip r:embed="rId14" cstate="print">
            <a:extLst>
              <a:ext uri="{28A0092B-C50C-407E-A947-70E740481C1C}">
                <a14:useLocalDpi xmlns:a14="http://schemas.microsoft.com/office/drawing/2010/main" val="0"/>
              </a:ext>
            </a:extLst>
          </a:blip>
          <a:srcRect l="-680" t="15405" r="11764" b="28020"/>
          <a:stretch/>
        </p:blipFill>
        <p:spPr>
          <a:xfrm>
            <a:off x="690279" y="3473574"/>
            <a:ext cx="1088452" cy="1107951"/>
          </a:xfrm>
          <a:prstGeom prst="ellipse">
            <a:avLst/>
          </a:prstGeom>
          <a:blipFill>
            <a:blip r:embed="rId15"/>
            <a:tile tx="0" ty="0" sx="100000" sy="100000" flip="none" algn="tl"/>
          </a:blipFill>
          <a:effectLst>
            <a:innerShdw blurRad="63500" dist="50800" dir="13500000">
              <a:prstClr val="black">
                <a:alpha val="50000"/>
              </a:prstClr>
            </a:innerShdw>
          </a:effectLst>
        </p:spPr>
      </p:pic>
      <p:grpSp>
        <p:nvGrpSpPr>
          <p:cNvPr id="74" name="Gruppieren 73"/>
          <p:cNvGrpSpPr/>
          <p:nvPr/>
        </p:nvGrpSpPr>
        <p:grpSpPr>
          <a:xfrm>
            <a:off x="323528" y="1746286"/>
            <a:ext cx="1692156" cy="1538819"/>
            <a:chOff x="2933691" y="1749379"/>
            <a:chExt cx="1692156" cy="1538819"/>
          </a:xfrm>
        </p:grpSpPr>
        <p:sp>
          <p:nvSpPr>
            <p:cNvPr id="80" name="Ellipse 79"/>
            <p:cNvSpPr/>
            <p:nvPr/>
          </p:nvSpPr>
          <p:spPr>
            <a:xfrm>
              <a:off x="3644105" y="2450682"/>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300"/>
                </a:spcBef>
                <a:spcAft>
                  <a:spcPts val="300"/>
                </a:spcAft>
              </a:pPr>
              <a:endParaRPr lang="en" sz="1200" b="1" dirty="0" smtClean="0">
                <a:solidFill>
                  <a:schemeClr val="tx1"/>
                </a:solidFill>
              </a:endParaRPr>
            </a:p>
          </p:txBody>
        </p:sp>
        <p:sp>
          <p:nvSpPr>
            <p:cNvPr id="77" name="Textfeld 76"/>
            <p:cNvSpPr txBox="1"/>
            <p:nvPr/>
          </p:nvSpPr>
          <p:spPr>
            <a:xfrm>
              <a:off x="2933691" y="1749379"/>
              <a:ext cx="1692156" cy="584775"/>
            </a:xfrm>
            <a:prstGeom prst="rect">
              <a:avLst/>
            </a:prstGeom>
            <a:noFill/>
          </p:spPr>
          <p:txBody>
            <a:bodyPr wrap="square" lIns="144000" rIns="144000" rtlCol="0">
              <a:spAutoFit/>
            </a:bodyPr>
            <a:lstStyle/>
            <a:p>
              <a:pPr algn="ctr" rtl="0"/>
              <a:r>
                <a:rPr lang="en" sz="3200" b="1" i="0" u="none" baseline="0">
                  <a:solidFill>
                    <a:schemeClr val="bg2"/>
                  </a:solidFill>
                  <a:effectLst>
                    <a:innerShdw blurRad="63500" dist="50800" dir="13500000">
                      <a:prstClr val="black">
                        <a:alpha val="50000"/>
                      </a:prstClr>
                    </a:innerShdw>
                  </a:effectLst>
                </a:rPr>
                <a:t>1946</a:t>
              </a:r>
              <a:endParaRPr lang="en" sz="2000" b="1" dirty="0">
                <a:solidFill>
                  <a:schemeClr val="bg2"/>
                </a:solidFill>
                <a:effectLst>
                  <a:innerShdw blurRad="63500" dist="50800" dir="13500000">
                    <a:prstClr val="black">
                      <a:alpha val="50000"/>
                    </a:prstClr>
                  </a:innerShdw>
                </a:effectLst>
              </a:endParaRPr>
            </a:p>
          </p:txBody>
        </p:sp>
        <p:sp>
          <p:nvSpPr>
            <p:cNvPr id="78" name="Gleichschenkliges Dreieck 77"/>
            <p:cNvSpPr/>
            <p:nvPr/>
          </p:nvSpPr>
          <p:spPr>
            <a:xfrm rot="10800000">
              <a:off x="3707905" y="3133048"/>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81" name="Textfeld 1"/>
          <p:cNvSpPr txBox="1"/>
          <p:nvPr/>
        </p:nvSpPr>
        <p:spPr>
          <a:xfrm>
            <a:off x="2973906" y="4498698"/>
            <a:ext cx="1598324" cy="1134532"/>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chemeClr val="bg2"/>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Kickoff for BALINIT</a:t>
            </a:r>
            <a:r>
              <a:rPr lang="en" sz="1100" b="0" i="0" u="none" baseline="30000" dirty="0">
                <a:solidFill>
                  <a:schemeClr val="accent1">
                    <a:lumMod val="25000"/>
                  </a:schemeClr>
                </a:solidFill>
                <a:cs typeface="Arial"/>
              </a:rPr>
              <a:t>®</a:t>
            </a:r>
            <a:r>
              <a:rPr lang="en" sz="1100" b="0" i="0" u="none" baseline="0" dirty="0">
                <a:solidFill>
                  <a:schemeClr val="accent1">
                    <a:lumMod val="25000"/>
                  </a:schemeClr>
                </a:solidFill>
                <a:cs typeface="Arial"/>
              </a:rPr>
              <a:t> and IONITRON </a:t>
            </a:r>
            <a:endParaRPr lang="en" sz="1100" b="0" i="0" u="none" baseline="0" dirty="0" smtClean="0">
              <a:solidFill>
                <a:schemeClr val="accent1">
                  <a:lumMod val="25000"/>
                </a:schemeClr>
              </a:solidFill>
              <a:cs typeface="Arial"/>
            </a:endParaRPr>
          </a:p>
          <a:p>
            <a:pPr marL="1588" algn="l" rtl="0" fontAlgn="base">
              <a:spcBef>
                <a:spcPct val="0"/>
              </a:spcBef>
              <a:spcAft>
                <a:spcPct val="0"/>
              </a:spcAft>
              <a:buClr>
                <a:schemeClr val="tx2"/>
              </a:buClr>
            </a:pPr>
            <a:endParaRPr lang="en" sz="1100" b="0" i="0" u="none" baseline="0" dirty="0">
              <a:solidFill>
                <a:schemeClr val="accent1">
                  <a:lumMod val="25000"/>
                </a:schemeClr>
              </a:solidFill>
              <a:cs typeface="Arial"/>
            </a:endParaRPr>
          </a:p>
          <a:p>
            <a:pPr marL="1588" fontAlgn="base">
              <a:spcBef>
                <a:spcPct val="0"/>
              </a:spcBef>
              <a:spcAft>
                <a:spcPct val="0"/>
              </a:spcAft>
              <a:buClr>
                <a:schemeClr val="tx2"/>
              </a:buClr>
            </a:pPr>
            <a:r>
              <a:rPr lang="zh-CN" altLang="en-US" sz="1100" dirty="0">
                <a:solidFill>
                  <a:schemeClr val="accent1">
                    <a:lumMod val="25000"/>
                  </a:schemeClr>
                </a:solidFill>
                <a:latin typeface="微软雅黑" panose="020B0503020204020204" pitchFamily="34" charset="-122"/>
                <a:ea typeface="微软雅黑" panose="020B0503020204020204" pitchFamily="34" charset="-122"/>
                <a:cs typeface="Arial"/>
              </a:rPr>
              <a:t>推出</a:t>
            </a:r>
            <a:r>
              <a:rPr lang="en" altLang="zh-CN" sz="1100" dirty="0" smtClean="0">
                <a:solidFill>
                  <a:schemeClr val="accent1">
                    <a:lumMod val="25000"/>
                  </a:schemeClr>
                </a:solidFill>
                <a:ea typeface="微软雅黑" panose="020B0503020204020204" pitchFamily="34" charset="-122"/>
                <a:cs typeface="Arial"/>
              </a:rPr>
              <a:t>BALINIT</a:t>
            </a:r>
            <a:r>
              <a:rPr lang="en" altLang="zh-CN" sz="1100" baseline="30000" dirty="0">
                <a:solidFill>
                  <a:schemeClr val="accent1">
                    <a:lumMod val="25000"/>
                  </a:schemeClr>
                </a:solidFill>
                <a:ea typeface="微软雅黑" panose="020B0503020204020204" pitchFamily="34" charset="-122"/>
                <a:cs typeface="Arial"/>
              </a:rPr>
              <a:t>®</a:t>
            </a:r>
            <a:r>
              <a:rPr lang="en" altLang="zh-CN" sz="1100" dirty="0">
                <a:solidFill>
                  <a:schemeClr val="accent1">
                    <a:lumMod val="25000"/>
                  </a:schemeClr>
                </a:solidFill>
                <a:ea typeface="微软雅黑" panose="020B0503020204020204" pitchFamily="34" charset="-122"/>
                <a:cs typeface="Arial"/>
              </a:rPr>
              <a:t> </a:t>
            </a:r>
            <a:r>
              <a:rPr lang="zh-CN" altLang="en-US" sz="1100" dirty="0" smtClean="0">
                <a:solidFill>
                  <a:schemeClr val="accent1">
                    <a:lumMod val="25000"/>
                  </a:schemeClr>
                </a:solidFill>
                <a:latin typeface="微软雅黑" panose="020B0503020204020204" pitchFamily="34" charset="-122"/>
                <a:ea typeface="微软雅黑" panose="020B0503020204020204" pitchFamily="34" charset="-122"/>
                <a:cs typeface="Arial"/>
              </a:rPr>
              <a:t>和</a:t>
            </a:r>
            <a:r>
              <a:rPr lang="en" altLang="zh-CN" sz="1100" dirty="0" smtClean="0">
                <a:solidFill>
                  <a:schemeClr val="accent1">
                    <a:lumMod val="25000"/>
                  </a:schemeClr>
                </a:solidFill>
                <a:latin typeface="微软雅黑" panose="020B0503020204020204" pitchFamily="34" charset="-122"/>
                <a:ea typeface="微软雅黑" panose="020B0503020204020204" pitchFamily="34" charset="-122"/>
                <a:cs typeface="Arial"/>
              </a:rPr>
              <a:t> </a:t>
            </a:r>
            <a:r>
              <a:rPr lang="en" altLang="zh-CN" sz="1100" dirty="0">
                <a:solidFill>
                  <a:schemeClr val="accent1">
                    <a:lumMod val="25000"/>
                  </a:schemeClr>
                </a:solidFill>
                <a:ea typeface="微软雅黑" panose="020B0503020204020204" pitchFamily="34" charset="-122"/>
                <a:cs typeface="Arial"/>
              </a:rPr>
              <a:t>IONITRON</a:t>
            </a:r>
            <a:r>
              <a:rPr lang="en" altLang="zh-CN" sz="1100" dirty="0">
                <a:solidFill>
                  <a:schemeClr val="accent1">
                    <a:lumMod val="25000"/>
                  </a:schemeClr>
                </a:solidFill>
                <a:latin typeface="微软雅黑" panose="020B0503020204020204" pitchFamily="34" charset="-122"/>
                <a:ea typeface="微软雅黑" panose="020B0503020204020204" pitchFamily="34" charset="-122"/>
                <a:cs typeface="Arial"/>
              </a:rPr>
              <a:t> </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cxnSp>
        <p:nvCxnSpPr>
          <p:cNvPr id="82" name="Gerader Verbinder 81"/>
          <p:cNvCxnSpPr>
            <a:stCxn id="80" idx="6"/>
            <a:endCxn id="12" idx="2"/>
          </p:cNvCxnSpPr>
          <p:nvPr/>
        </p:nvCxnSpPr>
        <p:spPr>
          <a:xfrm flipV="1">
            <a:off x="1417904" y="2638425"/>
            <a:ext cx="1212326" cy="1145"/>
          </a:xfrm>
          <a:prstGeom prst="line">
            <a:avLst/>
          </a:prstGeom>
          <a:ln w="12700">
            <a:solidFill>
              <a:schemeClr val="bg2"/>
            </a:solidFill>
          </a:ln>
          <a:effectLst>
            <a:innerShdw blurRad="63500" dist="50800" dir="13500000">
              <a:prstClr val="black">
                <a:alpha val="50000"/>
              </a:prstClr>
            </a:innerShdw>
          </a:effectLst>
        </p:spPr>
        <p:style>
          <a:lnRef idx="1">
            <a:schemeClr val="accent1"/>
          </a:lnRef>
          <a:fillRef idx="0">
            <a:schemeClr val="accent1"/>
          </a:fillRef>
          <a:effectRef idx="0">
            <a:schemeClr val="accent1"/>
          </a:effectRef>
          <a:fontRef idx="minor">
            <a:schemeClr val="tx1"/>
          </a:fontRef>
        </p:style>
      </p:cxnSp>
      <p:grpSp>
        <p:nvGrpSpPr>
          <p:cNvPr id="46" name="Group 6"/>
          <p:cNvGrpSpPr/>
          <p:nvPr/>
        </p:nvGrpSpPr>
        <p:grpSpPr bwMode="gray">
          <a:xfrm>
            <a:off x="7704138" y="217488"/>
            <a:ext cx="1044575" cy="416595"/>
            <a:chOff x="7704138" y="217488"/>
            <a:chExt cx="1044575" cy="416595"/>
          </a:xfrm>
        </p:grpSpPr>
        <p:sp>
          <p:nvSpPr>
            <p:cNvPr id="47" name="Freeform 10"/>
            <p:cNvSpPr>
              <a:spLocks noEditPoints="1"/>
            </p:cNvSpPr>
            <p:nvPr userDrawn="1"/>
          </p:nvSpPr>
          <p:spPr bwMode="gray">
            <a:xfrm>
              <a:off x="7704138" y="217488"/>
              <a:ext cx="1044575" cy="223838"/>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 noProof="0" dirty="0"/>
            </a:p>
          </p:txBody>
        </p:sp>
        <p:pic>
          <p:nvPicPr>
            <p:cNvPr id="48" name="Picture 10" descr="oe_balz_pos_rgb"/>
            <p:cNvPicPr>
              <a:picLocks noChangeAspect="1" noChangeArrowheads="1"/>
            </p:cNvPicPr>
            <p:nvPr userDrawn="1">
              <p:custDataLst>
                <p:tags r:id="rId3"/>
              </p:custDataLst>
            </p:nvPr>
          </p:nvPicPr>
          <p:blipFill rotWithShape="1">
            <a:blip r:embed="rId16" cstate="print">
              <a:clrChange>
                <a:clrFrom>
                  <a:srgbClr val="FFFFFF"/>
                </a:clrFrom>
                <a:clrTo>
                  <a:srgbClr val="FFFFFF">
                    <a:alpha val="0"/>
                  </a:srgbClr>
                </a:clrTo>
              </a:clrChange>
            </a:blip>
            <a:srcRect t="53761"/>
            <a:stretch/>
          </p:blipFill>
          <p:spPr bwMode="gray">
            <a:xfrm>
              <a:off x="7704138" y="441324"/>
              <a:ext cx="1044575" cy="192759"/>
            </a:xfrm>
            <a:prstGeom prst="rect">
              <a:avLst/>
            </a:prstGeom>
            <a:noFill/>
          </p:spPr>
        </p:pic>
      </p:grpSp>
    </p:spTree>
    <p:extLst>
      <p:ext uri="{BB962C8B-B14F-4D97-AF65-F5344CB8AC3E}">
        <p14:creationId xmlns:p14="http://schemas.microsoft.com/office/powerpoint/2010/main" val="107462485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82"/>
                                        </p:tgtEl>
                                        <p:attrNameLst>
                                          <p:attrName>style.visibility</p:attrName>
                                        </p:attrNameLst>
                                      </p:cBhvr>
                                      <p:to>
                                        <p:strVal val="visible"/>
                                      </p:to>
                                    </p:set>
                                    <p:animEffect transition="in" filter="wipe(left)">
                                      <p:cBhvr>
                                        <p:cTn id="15" dur="500"/>
                                        <p:tgtEl>
                                          <p:spTgt spid="82"/>
                                        </p:tgtEl>
                                      </p:cBhvr>
                                    </p:animEffec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wipe(left)">
                                      <p:cBhvr>
                                        <p:cTn id="31" dur="500"/>
                                        <p:tgtEl>
                                          <p:spTgt spid="14"/>
                                        </p:tgtEl>
                                      </p:cBhvr>
                                    </p:animEffect>
                                  </p:childTnLst>
                                </p:cTn>
                              </p:par>
                            </p:childTnLst>
                          </p:cTn>
                        </p:par>
                        <p:par>
                          <p:cTn id="32" fill="hold">
                            <p:stCondLst>
                              <p:cond delay="500"/>
                            </p:stCondLst>
                            <p:childTnLst>
                              <p:par>
                                <p:cTn id="33" presetID="1" presetClass="entr" presetSubtype="0" fill="hold" nodeType="afterEffect">
                                  <p:stCondLst>
                                    <p:cond delay="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1" grpId="0"/>
      <p:bldP spid="8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9" name="think-cell Folie" r:id="rId5" imgW="216" imgH="216" progId="TCLayout.ActiveDocument.1">
                  <p:embed/>
                </p:oleObj>
              </mc:Choice>
              <mc:Fallback>
                <p:oleObj name="think-cell Folie" r:id="rId5" imgW="216" imgH="216"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9" name="Grafik 58"/>
          <p:cNvPicPr>
            <a:picLocks noChangeAspect="1"/>
          </p:cNvPicPr>
          <p:nvPr/>
        </p:nvPicPr>
        <p:blipFill rotWithShape="1">
          <a:blip r:embed="rId7">
            <a:extLst>
              <a:ext uri="{28A0092B-C50C-407E-A947-70E740481C1C}">
                <a14:useLocalDpi xmlns:a14="http://schemas.microsoft.com/office/drawing/2010/main" val="0"/>
              </a:ext>
            </a:extLst>
          </a:blip>
          <a:srcRect l="9775" t="-194" r="846" b="-397"/>
          <a:stretch/>
        </p:blipFill>
        <p:spPr>
          <a:xfrm flipH="1">
            <a:off x="-36511" y="-27384"/>
            <a:ext cx="9217024" cy="6912768"/>
          </a:xfrm>
          <a:prstGeom prst="rect">
            <a:avLst/>
          </a:prstGeom>
        </p:spPr>
      </p:pic>
      <p:sp>
        <p:nvSpPr>
          <p:cNvPr id="4" name="Fußzeilenplatzhalter 3"/>
          <p:cNvSpPr>
            <a:spLocks noGrp="1"/>
          </p:cNvSpPr>
          <p:nvPr>
            <p:ph type="ftr" sz="quarter" idx="14"/>
          </p:nvPr>
        </p:nvSpPr>
        <p:spPr/>
        <p:txBody>
          <a:bodyPr/>
          <a:lstStyle/>
          <a:p>
            <a:pPr algn="l" rtl="0"/>
            <a:r>
              <a:rPr lang="en-US" b="0" i="0" u="none" baseline="0" smtClean="0"/>
              <a:t>Presentation Tools &amp; Equipment (04. January 2017)</a:t>
            </a:r>
            <a:endParaRPr lang="en" noProof="0" dirty="0"/>
          </a:p>
        </p:txBody>
      </p:sp>
      <p:sp>
        <p:nvSpPr>
          <p:cNvPr id="5" name="Foliennummernplatzhalter 4"/>
          <p:cNvSpPr>
            <a:spLocks noGrp="1"/>
          </p:cNvSpPr>
          <p:nvPr>
            <p:ph type="sldNum" sz="quarter" idx="15"/>
          </p:nvPr>
        </p:nvSpPr>
        <p:spPr/>
        <p:txBody>
          <a:bodyPr/>
          <a:lstStyle/>
          <a:p>
            <a:pPr algn="l" rtl="0"/>
            <a:r>
              <a:rPr lang="en" b="0" i="0" u="none" baseline="0"/>
              <a:t>Page </a:t>
            </a:r>
            <a:fld id="{D126E9C2-5A98-4FED-83CF-BD978A28F274}" type="slidenum">
              <a:rPr/>
              <a:pPr algn="l" rtl="0"/>
              <a:t>9</a:t>
            </a:fld>
            <a:endParaRPr lang="en" noProof="0" dirty="0"/>
          </a:p>
        </p:txBody>
      </p:sp>
      <p:cxnSp>
        <p:nvCxnSpPr>
          <p:cNvPr id="14" name="Gerader Verbinder 13"/>
          <p:cNvCxnSpPr/>
          <p:nvPr/>
        </p:nvCxnSpPr>
        <p:spPr>
          <a:xfrm>
            <a:off x="-468560" y="2638425"/>
            <a:ext cx="9893468" cy="0"/>
          </a:xfrm>
          <a:prstGeom prst="line">
            <a:avLst/>
          </a:prstGeom>
          <a:ln w="12700">
            <a:solidFill>
              <a:schemeClr val="bg2"/>
            </a:solidFill>
          </a:ln>
          <a:effectLst>
            <a:innerShdw blurRad="63500" dist="50800" dir="13500000">
              <a:prstClr val="black">
                <a:alpha val="50000"/>
              </a:prstClr>
            </a:innerShdw>
          </a:effectLst>
        </p:spPr>
        <p:style>
          <a:lnRef idx="1">
            <a:schemeClr val="accent1"/>
          </a:lnRef>
          <a:fillRef idx="0">
            <a:schemeClr val="accent1"/>
          </a:fillRef>
          <a:effectRef idx="0">
            <a:schemeClr val="accent1"/>
          </a:effectRef>
          <a:fontRef idx="minor">
            <a:schemeClr val="tx1"/>
          </a:fontRef>
        </p:style>
      </p:cxnSp>
      <p:grpSp>
        <p:nvGrpSpPr>
          <p:cNvPr id="73" name="Gruppieren 72"/>
          <p:cNvGrpSpPr/>
          <p:nvPr/>
        </p:nvGrpSpPr>
        <p:grpSpPr>
          <a:xfrm>
            <a:off x="778107" y="2276872"/>
            <a:ext cx="711350" cy="711350"/>
            <a:chOff x="-2332037" y="1638304"/>
            <a:chExt cx="544469" cy="544469"/>
          </a:xfrm>
        </p:grpSpPr>
        <p:sp>
          <p:nvSpPr>
            <p:cNvPr id="78" name="Ellipse 77"/>
            <p:cNvSpPr/>
            <p:nvPr/>
          </p:nvSpPr>
          <p:spPr>
            <a:xfrm>
              <a:off x="-2332037"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79" name="Ellipse 78"/>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400" b="0" i="0" u="none" baseline="0">
                  <a:solidFill>
                    <a:schemeClr val="bg1"/>
                  </a:solidFill>
                </a:rPr>
                <a:t>61</a:t>
              </a:r>
            </a:p>
          </p:txBody>
        </p:sp>
      </p:grpSp>
      <p:grpSp>
        <p:nvGrpSpPr>
          <p:cNvPr id="55" name="Group 6"/>
          <p:cNvGrpSpPr/>
          <p:nvPr/>
        </p:nvGrpSpPr>
        <p:grpSpPr bwMode="gray">
          <a:xfrm>
            <a:off x="7704138" y="217488"/>
            <a:ext cx="1044575" cy="416595"/>
            <a:chOff x="7704138" y="217488"/>
            <a:chExt cx="1044575" cy="416595"/>
          </a:xfrm>
        </p:grpSpPr>
        <p:sp>
          <p:nvSpPr>
            <p:cNvPr id="56" name="Freeform 10"/>
            <p:cNvSpPr>
              <a:spLocks noEditPoints="1"/>
            </p:cNvSpPr>
            <p:nvPr userDrawn="1"/>
          </p:nvSpPr>
          <p:spPr bwMode="gray">
            <a:xfrm>
              <a:off x="7704138" y="217488"/>
              <a:ext cx="1044575" cy="223838"/>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 noProof="0" dirty="0"/>
            </a:p>
          </p:txBody>
        </p:sp>
        <p:pic>
          <p:nvPicPr>
            <p:cNvPr id="57" name="Picture 10" descr="oe_balz_pos_rgb"/>
            <p:cNvPicPr>
              <a:picLocks noChangeAspect="1" noChangeArrowheads="1"/>
            </p:cNvPicPr>
            <p:nvPr userDrawn="1">
              <p:custDataLst>
                <p:tags r:id="rId3"/>
              </p:custDataLst>
            </p:nvPr>
          </p:nvPicPr>
          <p:blipFill rotWithShape="1">
            <a:blip r:embed="rId8" cstate="print">
              <a:clrChange>
                <a:clrFrom>
                  <a:srgbClr val="FFFFFF"/>
                </a:clrFrom>
                <a:clrTo>
                  <a:srgbClr val="FFFFFF">
                    <a:alpha val="0"/>
                  </a:srgbClr>
                </a:clrTo>
              </a:clrChange>
            </a:blip>
            <a:srcRect t="53761"/>
            <a:stretch/>
          </p:blipFill>
          <p:spPr bwMode="gray">
            <a:xfrm>
              <a:off x="7704138" y="441324"/>
              <a:ext cx="1044575" cy="192759"/>
            </a:xfrm>
            <a:prstGeom prst="rect">
              <a:avLst/>
            </a:prstGeom>
            <a:noFill/>
          </p:spPr>
        </p:pic>
      </p:grpSp>
      <p:grpSp>
        <p:nvGrpSpPr>
          <p:cNvPr id="11" name="Group 10"/>
          <p:cNvGrpSpPr/>
          <p:nvPr/>
        </p:nvGrpSpPr>
        <p:grpSpPr>
          <a:xfrm>
            <a:off x="2451872" y="1746204"/>
            <a:ext cx="1837604" cy="3666885"/>
            <a:chOff x="2451872" y="1746204"/>
            <a:chExt cx="1837604" cy="3666885"/>
          </a:xfrm>
        </p:grpSpPr>
        <p:grpSp>
          <p:nvGrpSpPr>
            <p:cNvPr id="7" name="Gruppieren 6"/>
            <p:cNvGrpSpPr/>
            <p:nvPr/>
          </p:nvGrpSpPr>
          <p:grpSpPr>
            <a:xfrm>
              <a:off x="2451872" y="1746204"/>
              <a:ext cx="1837604" cy="3199330"/>
              <a:chOff x="2230340" y="1746204"/>
              <a:chExt cx="1837604" cy="3199330"/>
            </a:xfrm>
          </p:grpSpPr>
          <p:grpSp>
            <p:nvGrpSpPr>
              <p:cNvPr id="24" name="Gruppieren 23"/>
              <p:cNvGrpSpPr/>
              <p:nvPr/>
            </p:nvGrpSpPr>
            <p:grpSpPr>
              <a:xfrm>
                <a:off x="2230340" y="1746204"/>
                <a:ext cx="1837604" cy="3199330"/>
                <a:chOff x="2933691" y="1749379"/>
                <a:chExt cx="1837604" cy="3199330"/>
              </a:xfrm>
            </p:grpSpPr>
            <p:grpSp>
              <p:nvGrpSpPr>
                <p:cNvPr id="25" name="Gruppieren 24"/>
                <p:cNvGrpSpPr/>
                <p:nvPr/>
              </p:nvGrpSpPr>
              <p:grpSpPr>
                <a:xfrm>
                  <a:off x="3563850" y="2370427"/>
                  <a:ext cx="544469" cy="544469"/>
                  <a:chOff x="4788024" y="3452721"/>
                  <a:chExt cx="1692156" cy="1692156"/>
                </a:xfrm>
              </p:grpSpPr>
              <p:sp>
                <p:nvSpPr>
                  <p:cNvPr id="44" name="Ellipse 43"/>
                  <p:cNvSpPr/>
                  <p:nvPr/>
                </p:nvSpPr>
                <p:spPr>
                  <a:xfrm>
                    <a:off x="4788024" y="3452721"/>
                    <a:ext cx="1692156" cy="1692156"/>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45" name="Ellipse 44"/>
                  <p:cNvSpPr/>
                  <p:nvPr/>
                </p:nvSpPr>
                <p:spPr>
                  <a:xfrm>
                    <a:off x="5037444" y="3702141"/>
                    <a:ext cx="1193315" cy="1193315"/>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26" name="Textfeld 1"/>
                <p:cNvSpPr txBox="1"/>
                <p:nvPr/>
              </p:nvSpPr>
              <p:spPr>
                <a:xfrm>
                  <a:off x="3172971" y="4491285"/>
                  <a:ext cx="1598324" cy="457424"/>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chemeClr val="bg2"/>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P3e</a:t>
                  </a:r>
                  <a:r>
                    <a:rPr lang="en" sz="1100" b="0" i="0" u="none" baseline="30000" dirty="0">
                      <a:solidFill>
                        <a:schemeClr val="accent1">
                          <a:lumMod val="25000"/>
                        </a:schemeClr>
                      </a:solidFill>
                      <a:cs typeface="Arial"/>
                    </a:rPr>
                    <a:t>®</a:t>
                  </a:r>
                  <a:r>
                    <a:rPr lang="en" sz="1100" b="0" i="0" u="none" baseline="0" dirty="0">
                      <a:solidFill>
                        <a:schemeClr val="accent1">
                          <a:lumMod val="25000"/>
                        </a:schemeClr>
                      </a:solidFill>
                      <a:cs typeface="Arial"/>
                    </a:rPr>
                    <a:t> technology</a:t>
                  </a:r>
                  <a:endParaRPr lang="en" sz="1100" dirty="0">
                    <a:solidFill>
                      <a:schemeClr val="accent1">
                        <a:lumMod val="25000"/>
                      </a:schemeClr>
                    </a:solidFill>
                    <a:cs typeface="Arial"/>
                  </a:endParaRPr>
                </a:p>
              </p:txBody>
            </p:sp>
            <p:sp>
              <p:nvSpPr>
                <p:cNvPr id="31" name="Textfeld 30"/>
                <p:cNvSpPr txBox="1"/>
                <p:nvPr/>
              </p:nvSpPr>
              <p:spPr>
                <a:xfrm>
                  <a:off x="2933691" y="1749379"/>
                  <a:ext cx="1692156" cy="584775"/>
                </a:xfrm>
                <a:prstGeom prst="rect">
                  <a:avLst/>
                </a:prstGeom>
                <a:noFill/>
              </p:spPr>
              <p:txBody>
                <a:bodyPr wrap="square" lIns="144000" rIns="144000" rtlCol="0">
                  <a:spAutoFit/>
                </a:bodyPr>
                <a:lstStyle/>
                <a:p>
                  <a:pPr algn="ctr" rtl="0"/>
                  <a:r>
                    <a:rPr lang="en" sz="3200" b="1" i="0" u="none" baseline="0">
                      <a:solidFill>
                        <a:schemeClr val="bg2"/>
                      </a:solidFill>
                      <a:effectLst>
                        <a:innerShdw blurRad="63500" dist="50800" dir="13500000">
                          <a:prstClr val="black">
                            <a:alpha val="50000"/>
                          </a:prstClr>
                        </a:innerShdw>
                      </a:effectLst>
                    </a:rPr>
                    <a:t>2007</a:t>
                  </a:r>
                  <a:endParaRPr lang="en" sz="2000" b="1" dirty="0">
                    <a:solidFill>
                      <a:schemeClr val="bg2"/>
                    </a:solidFill>
                    <a:effectLst>
                      <a:innerShdw blurRad="63500" dist="50800" dir="13500000">
                        <a:prstClr val="black">
                          <a:alpha val="50000"/>
                        </a:prstClr>
                      </a:innerShdw>
                    </a:effectLst>
                  </a:endParaRPr>
                </a:p>
              </p:txBody>
            </p:sp>
            <p:sp>
              <p:nvSpPr>
                <p:cNvPr id="32" name="Gleichschenkliges Dreieck 31"/>
                <p:cNvSpPr/>
                <p:nvPr/>
              </p:nvSpPr>
              <p:spPr>
                <a:xfrm rot="10800000">
                  <a:off x="3707905" y="3133048"/>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grpSp>
            <p:nvGrpSpPr>
              <p:cNvPr id="81" name="Gruppieren 80"/>
              <p:cNvGrpSpPr/>
              <p:nvPr/>
            </p:nvGrpSpPr>
            <p:grpSpPr>
              <a:xfrm>
                <a:off x="2748018" y="2275928"/>
                <a:ext cx="711350" cy="711350"/>
                <a:chOff x="-2332037" y="1638304"/>
                <a:chExt cx="544469" cy="544469"/>
              </a:xfrm>
            </p:grpSpPr>
            <p:sp>
              <p:nvSpPr>
                <p:cNvPr id="82" name="Ellipse 81"/>
                <p:cNvSpPr/>
                <p:nvPr/>
              </p:nvSpPr>
              <p:spPr>
                <a:xfrm>
                  <a:off x="-2332037"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83" name="Ellipse 82"/>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400" b="0" i="0" u="none" baseline="0">
                      <a:solidFill>
                        <a:schemeClr val="bg1"/>
                      </a:solidFill>
                    </a:rPr>
                    <a:t>81</a:t>
                  </a:r>
                </a:p>
              </p:txBody>
            </p:sp>
          </p:grpSp>
          <p:pic>
            <p:nvPicPr>
              <p:cNvPr id="3" name="Grafik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711570" y="3379880"/>
                <a:ext cx="944969" cy="965829"/>
              </a:xfrm>
              <a:prstGeom prst="rect">
                <a:avLst/>
              </a:prstGeom>
            </p:spPr>
          </p:pic>
        </p:grpSp>
        <p:sp>
          <p:nvSpPr>
            <p:cNvPr id="58" name="Textfeld 1"/>
            <p:cNvSpPr txBox="1"/>
            <p:nvPr/>
          </p:nvSpPr>
          <p:spPr>
            <a:xfrm>
              <a:off x="2691152" y="4955665"/>
              <a:ext cx="1598324" cy="457424"/>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chemeClr val="bg2"/>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latin typeface="微软雅黑" panose="020B0503020204020204" pitchFamily="34" charset="-122"/>
                  <a:ea typeface="微软雅黑" panose="020B0503020204020204" pitchFamily="34" charset="-122"/>
                  <a:cs typeface="Arial"/>
                </a:rPr>
                <a:t>P3e</a:t>
              </a:r>
              <a:r>
                <a:rPr lang="en" sz="1100" b="0" i="0" u="none" baseline="30000" dirty="0">
                  <a:solidFill>
                    <a:schemeClr val="accent1">
                      <a:lumMod val="25000"/>
                    </a:schemeClr>
                  </a:solidFill>
                  <a:latin typeface="微软雅黑" panose="020B0503020204020204" pitchFamily="34" charset="-122"/>
                  <a:ea typeface="微软雅黑" panose="020B0503020204020204" pitchFamily="34" charset="-122"/>
                  <a:cs typeface="Arial"/>
                </a:rPr>
                <a:t>®</a:t>
              </a:r>
              <a:r>
                <a:rPr lang="en" sz="1100" b="0" i="0" u="none" baseline="0" dirty="0">
                  <a:solidFill>
                    <a:schemeClr val="accent1">
                      <a:lumMod val="25000"/>
                    </a:schemeClr>
                  </a:solidFill>
                  <a:latin typeface="微软雅黑" panose="020B0503020204020204" pitchFamily="34" charset="-122"/>
                  <a:ea typeface="微软雅黑" panose="020B0503020204020204" pitchFamily="34" charset="-122"/>
                  <a:cs typeface="Arial"/>
                </a:rPr>
                <a:t> </a:t>
              </a:r>
              <a:r>
                <a:rPr lang="zh-CN" altLang="en-US" sz="1100" dirty="0">
                  <a:solidFill>
                    <a:schemeClr val="accent1">
                      <a:lumMod val="25000"/>
                    </a:schemeClr>
                  </a:solidFill>
                  <a:latin typeface="微软雅黑" panose="020B0503020204020204" pitchFamily="34" charset="-122"/>
                  <a:ea typeface="微软雅黑" panose="020B0503020204020204" pitchFamily="34" charset="-122"/>
                  <a:cs typeface="Arial"/>
                </a:rPr>
                <a:t>技术</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grpSp>
      <p:grpSp>
        <p:nvGrpSpPr>
          <p:cNvPr id="2" name="Group 1"/>
          <p:cNvGrpSpPr/>
          <p:nvPr/>
        </p:nvGrpSpPr>
        <p:grpSpPr>
          <a:xfrm>
            <a:off x="323528" y="1720822"/>
            <a:ext cx="1769085" cy="3711503"/>
            <a:chOff x="323528" y="1720822"/>
            <a:chExt cx="1769085" cy="3711503"/>
          </a:xfrm>
        </p:grpSpPr>
        <p:grpSp>
          <p:nvGrpSpPr>
            <p:cNvPr id="62" name="Gruppieren 61"/>
            <p:cNvGrpSpPr/>
            <p:nvPr/>
          </p:nvGrpSpPr>
          <p:grpSpPr>
            <a:xfrm>
              <a:off x="323528" y="1720822"/>
              <a:ext cx="1764164" cy="3348599"/>
              <a:chOff x="6912292" y="1720822"/>
              <a:chExt cx="1764164" cy="3348599"/>
            </a:xfrm>
          </p:grpSpPr>
          <p:sp>
            <p:nvSpPr>
              <p:cNvPr id="64" name="Textfeld 1"/>
              <p:cNvSpPr txBox="1"/>
              <p:nvPr/>
            </p:nvSpPr>
            <p:spPr>
              <a:xfrm>
                <a:off x="7261655" y="4442720"/>
                <a:ext cx="1414801" cy="626701"/>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First generation of AlCrN coatings</a:t>
                </a:r>
                <a:endParaRPr lang="en" sz="1100" dirty="0">
                  <a:solidFill>
                    <a:schemeClr val="accent1">
                      <a:lumMod val="25000"/>
                    </a:schemeClr>
                  </a:solidFill>
                  <a:cs typeface="Arial"/>
                </a:endParaRPr>
              </a:p>
            </p:txBody>
          </p:sp>
          <p:sp>
            <p:nvSpPr>
              <p:cNvPr id="65" name="Textfeld 64"/>
              <p:cNvSpPr txBox="1"/>
              <p:nvPr/>
            </p:nvSpPr>
            <p:spPr>
              <a:xfrm>
                <a:off x="6912292" y="1720822"/>
                <a:ext cx="1692156" cy="584775"/>
              </a:xfrm>
              <a:prstGeom prst="rect">
                <a:avLst/>
              </a:prstGeom>
              <a:noFill/>
            </p:spPr>
            <p:txBody>
              <a:bodyPr wrap="square" lIns="144000" rIns="144000" rtlCol="0">
                <a:spAutoFit/>
              </a:bodyPr>
              <a:lstStyle/>
              <a:p>
                <a:pPr algn="ctr" rtl="0"/>
                <a:r>
                  <a:rPr lang="en" sz="3200" b="1" i="0" u="none" baseline="0">
                    <a:solidFill>
                      <a:schemeClr val="bg2"/>
                    </a:solidFill>
                    <a:effectLst>
                      <a:innerShdw blurRad="63500" dist="50800" dir="13500000">
                        <a:prstClr val="black">
                          <a:alpha val="50000"/>
                        </a:prstClr>
                      </a:innerShdw>
                    </a:effectLst>
                  </a:rPr>
                  <a:t>2004</a:t>
                </a:r>
                <a:endParaRPr lang="en" sz="2000" b="1" dirty="0">
                  <a:solidFill>
                    <a:schemeClr val="bg2"/>
                  </a:solidFill>
                  <a:effectLst>
                    <a:innerShdw blurRad="63500" dist="50800" dir="13500000">
                      <a:prstClr val="black">
                        <a:alpha val="50000"/>
                      </a:prstClr>
                    </a:innerShdw>
                  </a:effectLst>
                </a:endParaRPr>
              </a:p>
            </p:txBody>
          </p:sp>
          <p:sp>
            <p:nvSpPr>
              <p:cNvPr id="66" name="Gleichschenkliges Dreieck 65"/>
              <p:cNvSpPr/>
              <p:nvPr/>
            </p:nvSpPr>
            <p:spPr>
              <a:xfrm rot="10800000">
                <a:off x="7596336" y="3129834"/>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pic>
            <p:nvPicPr>
              <p:cNvPr id="67" name="Grafik 6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23098" y="3364301"/>
                <a:ext cx="1107951" cy="1107951"/>
              </a:xfrm>
              <a:prstGeom prst="ellipse">
                <a:avLst/>
              </a:prstGeom>
              <a:effectLst>
                <a:innerShdw blurRad="63500" dist="50800" dir="13500000">
                  <a:prstClr val="black">
                    <a:alpha val="50000"/>
                  </a:prstClr>
                </a:innerShdw>
              </a:effectLst>
            </p:spPr>
          </p:pic>
        </p:grpSp>
        <p:sp>
          <p:nvSpPr>
            <p:cNvPr id="60" name="Textfeld 1"/>
            <p:cNvSpPr txBox="1"/>
            <p:nvPr/>
          </p:nvSpPr>
          <p:spPr>
            <a:xfrm>
              <a:off x="677812" y="4936429"/>
              <a:ext cx="1414801" cy="495896"/>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a:spcBef>
                  <a:spcPts val="300"/>
                </a:spcBef>
                <a:spcAft>
                  <a:spcPts val="300"/>
                </a:spcAft>
                <a:buClr>
                  <a:schemeClr val="bg2"/>
                </a:buClr>
              </a:pPr>
              <a:r>
                <a:rPr lang="zh-CN" altLang="en-US" sz="1100" dirty="0">
                  <a:latin typeface="微软雅黑" panose="020B0503020204020204" pitchFamily="34" charset="-122"/>
                  <a:ea typeface="微软雅黑" panose="020B0503020204020204" pitchFamily="34" charset="-122"/>
                </a:rPr>
                <a:t>第</a:t>
              </a:r>
              <a:r>
                <a:rPr lang="zh-CN" altLang="en-US" sz="1100" dirty="0" smtClean="0">
                  <a:latin typeface="微软雅黑" panose="020B0503020204020204" pitchFamily="34" charset="-122"/>
                  <a:ea typeface="微软雅黑" panose="020B0503020204020204" pitchFamily="34" charset="-122"/>
                </a:rPr>
                <a:t>一代</a:t>
              </a:r>
              <a:r>
                <a:rPr lang="en" altLang="zh-CN" sz="1100" dirty="0">
                  <a:solidFill>
                    <a:schemeClr val="accent1">
                      <a:lumMod val="25000"/>
                    </a:schemeClr>
                  </a:solidFill>
                  <a:cs typeface="Arial"/>
                </a:rPr>
                <a:t>AlCrN</a:t>
              </a:r>
              <a:r>
                <a:rPr lang="zh-CN" altLang="en-US" sz="1100" dirty="0" smtClean="0">
                  <a:latin typeface="微软雅黑" panose="020B0503020204020204" pitchFamily="34" charset="-122"/>
                  <a:ea typeface="微软雅黑" panose="020B0503020204020204" pitchFamily="34" charset="-122"/>
                </a:rPr>
                <a:t>涂层</a:t>
              </a:r>
              <a:endParaRPr lang="zh-CN" altLang="en-US" sz="1100" dirty="0">
                <a:latin typeface="微软雅黑" panose="020B0503020204020204" pitchFamily="34" charset="-122"/>
                <a:ea typeface="微软雅黑" panose="020B0503020204020204" pitchFamily="34" charset="-122"/>
              </a:endParaRPr>
            </a:p>
          </p:txBody>
        </p:sp>
      </p:grpSp>
      <p:grpSp>
        <p:nvGrpSpPr>
          <p:cNvPr id="12" name="Group 11"/>
          <p:cNvGrpSpPr/>
          <p:nvPr/>
        </p:nvGrpSpPr>
        <p:grpSpPr>
          <a:xfrm>
            <a:off x="4653656" y="1762372"/>
            <a:ext cx="1692156" cy="4247722"/>
            <a:chOff x="4653656" y="1762372"/>
            <a:chExt cx="1692156" cy="4247722"/>
          </a:xfrm>
        </p:grpSpPr>
        <p:grpSp>
          <p:nvGrpSpPr>
            <p:cNvPr id="9" name="Gruppieren 8"/>
            <p:cNvGrpSpPr/>
            <p:nvPr/>
          </p:nvGrpSpPr>
          <p:grpSpPr>
            <a:xfrm>
              <a:off x="4653656" y="1762372"/>
              <a:ext cx="1692156" cy="3537884"/>
              <a:chOff x="4464020" y="1762372"/>
              <a:chExt cx="1692156" cy="3537884"/>
            </a:xfrm>
          </p:grpSpPr>
          <p:grpSp>
            <p:nvGrpSpPr>
              <p:cNvPr id="70" name="Gruppieren 69"/>
              <p:cNvGrpSpPr/>
              <p:nvPr/>
            </p:nvGrpSpPr>
            <p:grpSpPr>
              <a:xfrm>
                <a:off x="4464020" y="1762372"/>
                <a:ext cx="1692156" cy="3537884"/>
                <a:chOff x="2933691" y="1749379"/>
                <a:chExt cx="1692156" cy="3537884"/>
              </a:xfrm>
            </p:grpSpPr>
            <p:grpSp>
              <p:nvGrpSpPr>
                <p:cNvPr id="71" name="Gruppieren 70"/>
                <p:cNvGrpSpPr/>
                <p:nvPr/>
              </p:nvGrpSpPr>
              <p:grpSpPr>
                <a:xfrm>
                  <a:off x="3563850" y="2370427"/>
                  <a:ext cx="544469" cy="544469"/>
                  <a:chOff x="4788024" y="3452721"/>
                  <a:chExt cx="1692156" cy="1692156"/>
                </a:xfrm>
              </p:grpSpPr>
              <p:sp>
                <p:nvSpPr>
                  <p:cNvPr id="76" name="Ellipse 75"/>
                  <p:cNvSpPr/>
                  <p:nvPr/>
                </p:nvSpPr>
                <p:spPr>
                  <a:xfrm>
                    <a:off x="4788024" y="3452721"/>
                    <a:ext cx="1692156" cy="1692156"/>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77" name="Ellipse 76"/>
                  <p:cNvSpPr/>
                  <p:nvPr/>
                </p:nvSpPr>
                <p:spPr>
                  <a:xfrm>
                    <a:off x="5037444" y="3702141"/>
                    <a:ext cx="1193315" cy="1193315"/>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72" name="Textfeld 1"/>
                <p:cNvSpPr txBox="1"/>
                <p:nvPr/>
              </p:nvSpPr>
              <p:spPr>
                <a:xfrm>
                  <a:off x="3172971" y="4491285"/>
                  <a:ext cx="1397394" cy="795978"/>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a:solidFill>
                        <a:schemeClr val="bg2"/>
                      </a:solidFill>
                      <a:cs typeface="Arial"/>
                    </a:rPr>
                    <a:t>____</a:t>
                  </a:r>
                </a:p>
                <a:p>
                  <a:pPr marL="1588" algn="l" rtl="0" fontAlgn="base">
                    <a:spcBef>
                      <a:spcPct val="0"/>
                    </a:spcBef>
                    <a:spcAft>
                      <a:spcPct val="0"/>
                    </a:spcAft>
                    <a:buClr>
                      <a:schemeClr val="tx2"/>
                    </a:buClr>
                  </a:pPr>
                  <a:r>
                    <a:rPr lang="en" sz="1100" b="0" i="0" u="none" baseline="0">
                      <a:solidFill>
                        <a:schemeClr val="accent1">
                          <a:lumMod val="25000"/>
                        </a:schemeClr>
                      </a:solidFill>
                      <a:cs typeface="Arial"/>
                    </a:rPr>
                    <a:t>Introduction of the </a:t>
                  </a:r>
                </a:p>
                <a:p>
                  <a:pPr marL="1588" algn="l" rtl="0" fontAlgn="base">
                    <a:spcBef>
                      <a:spcPct val="0"/>
                    </a:spcBef>
                    <a:spcAft>
                      <a:spcPct val="0"/>
                    </a:spcAft>
                    <a:buClr>
                      <a:schemeClr val="tx2"/>
                    </a:buClr>
                  </a:pPr>
                  <a:r>
                    <a:rPr lang="en" sz="1100" b="0" i="0" u="none" baseline="0">
                      <a:solidFill>
                        <a:schemeClr val="accent1">
                          <a:lumMod val="25000"/>
                        </a:schemeClr>
                      </a:solidFill>
                      <a:cs typeface="Arial"/>
                    </a:rPr>
                    <a:t>new AlCrN coating generation</a:t>
                  </a:r>
                </a:p>
              </p:txBody>
            </p:sp>
            <p:sp>
              <p:nvSpPr>
                <p:cNvPr id="74" name="Textfeld 73"/>
                <p:cNvSpPr txBox="1"/>
                <p:nvPr/>
              </p:nvSpPr>
              <p:spPr>
                <a:xfrm>
                  <a:off x="2933691" y="1749379"/>
                  <a:ext cx="1692156" cy="584775"/>
                </a:xfrm>
                <a:prstGeom prst="rect">
                  <a:avLst/>
                </a:prstGeom>
                <a:noFill/>
              </p:spPr>
              <p:txBody>
                <a:bodyPr wrap="square" lIns="144000" rIns="144000" rtlCol="0">
                  <a:spAutoFit/>
                </a:bodyPr>
                <a:lstStyle/>
                <a:p>
                  <a:pPr algn="ctr" rtl="0"/>
                  <a:r>
                    <a:rPr lang="en" sz="3200" b="1" i="0" u="none" baseline="0">
                      <a:solidFill>
                        <a:schemeClr val="bg2"/>
                      </a:solidFill>
                      <a:effectLst>
                        <a:innerShdw blurRad="63500" dist="50800" dir="13500000">
                          <a:prstClr val="black">
                            <a:alpha val="50000"/>
                          </a:prstClr>
                        </a:innerShdw>
                      </a:effectLst>
                    </a:rPr>
                    <a:t>2010</a:t>
                  </a:r>
                  <a:endParaRPr lang="en" sz="2000" b="1" dirty="0">
                    <a:solidFill>
                      <a:schemeClr val="bg2"/>
                    </a:solidFill>
                    <a:effectLst>
                      <a:innerShdw blurRad="63500" dist="50800" dir="13500000">
                        <a:prstClr val="black">
                          <a:alpha val="50000"/>
                        </a:prstClr>
                      </a:innerShdw>
                    </a:effectLst>
                  </a:endParaRPr>
                </a:p>
              </p:txBody>
            </p:sp>
            <p:sp>
              <p:nvSpPr>
                <p:cNvPr id="75" name="Gleichschenkliges Dreieck 74"/>
                <p:cNvSpPr/>
                <p:nvPr/>
              </p:nvSpPr>
              <p:spPr>
                <a:xfrm rot="10800000">
                  <a:off x="3707905" y="3133048"/>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grpSp>
            <p:nvGrpSpPr>
              <p:cNvPr id="84" name="Gruppieren 83"/>
              <p:cNvGrpSpPr/>
              <p:nvPr/>
            </p:nvGrpSpPr>
            <p:grpSpPr>
              <a:xfrm>
                <a:off x="4995258" y="2275928"/>
                <a:ext cx="711350" cy="711350"/>
                <a:chOff x="-2332037" y="1638304"/>
                <a:chExt cx="544469" cy="544469"/>
              </a:xfrm>
            </p:grpSpPr>
            <p:sp>
              <p:nvSpPr>
                <p:cNvPr id="85" name="Ellipse 84"/>
                <p:cNvSpPr/>
                <p:nvPr/>
              </p:nvSpPr>
              <p:spPr>
                <a:xfrm>
                  <a:off x="-2332037"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86" name="Ellipse 85"/>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400" b="0" i="0" u="none" baseline="0">
                      <a:solidFill>
                        <a:schemeClr val="bg1"/>
                      </a:solidFill>
                    </a:rPr>
                    <a:t>84</a:t>
                  </a:r>
                </a:p>
              </p:txBody>
            </p:sp>
          </p:grpSp>
          <p:pic>
            <p:nvPicPr>
              <p:cNvPr id="93" name="Grafik 9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813384" y="3435138"/>
                <a:ext cx="1107951" cy="1107951"/>
              </a:xfrm>
              <a:prstGeom prst="ellipse">
                <a:avLst/>
              </a:prstGeom>
              <a:effectLst>
                <a:innerShdw blurRad="63500" dist="50800" dir="13500000">
                  <a:prstClr val="black">
                    <a:alpha val="50000"/>
                  </a:prstClr>
                </a:innerShdw>
              </a:effectLst>
            </p:spPr>
          </p:pic>
        </p:grpSp>
        <p:sp>
          <p:nvSpPr>
            <p:cNvPr id="61" name="Textfeld 1"/>
            <p:cNvSpPr txBox="1"/>
            <p:nvPr/>
          </p:nvSpPr>
          <p:spPr>
            <a:xfrm>
              <a:off x="4910749" y="5098700"/>
              <a:ext cx="1414801" cy="911394"/>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a:spcBef>
                  <a:spcPts val="300"/>
                </a:spcBef>
                <a:spcAft>
                  <a:spcPts val="300"/>
                </a:spcAft>
                <a:buClr>
                  <a:schemeClr val="bg2"/>
                </a:buClr>
              </a:pPr>
              <a:r>
                <a:rPr lang="zh-CN" altLang="en-US" sz="1100" dirty="0" smtClean="0">
                  <a:latin typeface="微软雅黑" panose="020B0503020204020204" pitchFamily="34" charset="-122"/>
                  <a:ea typeface="微软雅黑" panose="020B0503020204020204" pitchFamily="34" charset="-122"/>
                </a:rPr>
                <a:t>引入新一代</a:t>
              </a:r>
              <a:r>
                <a:rPr lang="en" altLang="zh-CN" sz="1100" dirty="0">
                  <a:solidFill>
                    <a:schemeClr val="accent1">
                      <a:lumMod val="25000"/>
                    </a:schemeClr>
                  </a:solidFill>
                  <a:latin typeface="微软雅黑" panose="020B0503020204020204" pitchFamily="34" charset="-122"/>
                  <a:ea typeface="微软雅黑" panose="020B0503020204020204" pitchFamily="34" charset="-122"/>
                  <a:cs typeface="Arial"/>
                </a:rPr>
                <a:t>AlCrN</a:t>
              </a:r>
              <a:r>
                <a:rPr lang="zh-CN" altLang="en-US" sz="1100" dirty="0" smtClean="0">
                  <a:latin typeface="微软雅黑" panose="020B0503020204020204" pitchFamily="34" charset="-122"/>
                  <a:ea typeface="微软雅黑" panose="020B0503020204020204" pitchFamily="34" charset="-122"/>
                </a:rPr>
                <a:t>涂层</a:t>
              </a:r>
              <a:endParaRPr lang="zh-CN" altLang="en-US" sz="1100" dirty="0">
                <a:latin typeface="微软雅黑" panose="020B0503020204020204" pitchFamily="34" charset="-122"/>
                <a:ea typeface="微软雅黑" panose="020B0503020204020204" pitchFamily="34" charset="-122"/>
              </a:endParaRPr>
            </a:p>
            <a:p>
              <a:pPr>
                <a:spcBef>
                  <a:spcPts val="300"/>
                </a:spcBef>
                <a:spcAft>
                  <a:spcPts val="300"/>
                </a:spcAft>
                <a:buClr>
                  <a:schemeClr val="bg2"/>
                </a:buClr>
              </a:pPr>
              <a:endParaRPr lang="zh-CN" altLang="en-US" sz="1100" dirty="0"/>
            </a:p>
          </p:txBody>
        </p:sp>
      </p:grpSp>
      <p:grpSp>
        <p:nvGrpSpPr>
          <p:cNvPr id="13" name="Group 12"/>
          <p:cNvGrpSpPr/>
          <p:nvPr/>
        </p:nvGrpSpPr>
        <p:grpSpPr>
          <a:xfrm>
            <a:off x="6709993" y="1746204"/>
            <a:ext cx="1750439" cy="3739787"/>
            <a:chOff x="6709993" y="1746204"/>
            <a:chExt cx="1750439" cy="3739787"/>
          </a:xfrm>
        </p:grpSpPr>
        <p:grpSp>
          <p:nvGrpSpPr>
            <p:cNvPr id="10" name="Gruppieren 9"/>
            <p:cNvGrpSpPr/>
            <p:nvPr/>
          </p:nvGrpSpPr>
          <p:grpSpPr>
            <a:xfrm>
              <a:off x="6709993" y="1746204"/>
              <a:ext cx="1750439" cy="3348599"/>
              <a:chOff x="6421961" y="1746204"/>
              <a:chExt cx="1750439" cy="3348599"/>
            </a:xfrm>
          </p:grpSpPr>
          <p:grpSp>
            <p:nvGrpSpPr>
              <p:cNvPr id="46" name="Gruppieren 45"/>
              <p:cNvGrpSpPr/>
              <p:nvPr/>
            </p:nvGrpSpPr>
            <p:grpSpPr>
              <a:xfrm>
                <a:off x="6421961" y="1746204"/>
                <a:ext cx="1750439" cy="3348599"/>
                <a:chOff x="4922991" y="1749379"/>
                <a:chExt cx="1750439" cy="3348599"/>
              </a:xfrm>
            </p:grpSpPr>
            <p:grpSp>
              <p:nvGrpSpPr>
                <p:cNvPr id="47" name="Gruppieren 46"/>
                <p:cNvGrpSpPr/>
                <p:nvPr/>
              </p:nvGrpSpPr>
              <p:grpSpPr>
                <a:xfrm>
                  <a:off x="5487878" y="2370427"/>
                  <a:ext cx="544469" cy="544469"/>
                  <a:chOff x="4788024" y="3452721"/>
                  <a:chExt cx="1692156" cy="1692156"/>
                </a:xfrm>
              </p:grpSpPr>
              <p:sp>
                <p:nvSpPr>
                  <p:cNvPr id="52" name="Ellipse 51"/>
                  <p:cNvSpPr/>
                  <p:nvPr/>
                </p:nvSpPr>
                <p:spPr>
                  <a:xfrm>
                    <a:off x="4788024" y="3452721"/>
                    <a:ext cx="1692156" cy="1692156"/>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53" name="Ellipse 52"/>
                  <p:cNvSpPr/>
                  <p:nvPr/>
                </p:nvSpPr>
                <p:spPr>
                  <a:xfrm>
                    <a:off x="5037444" y="3702141"/>
                    <a:ext cx="1193315" cy="1193315"/>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sp>
              <p:nvSpPr>
                <p:cNvPr id="48" name="Textfeld 1"/>
                <p:cNvSpPr txBox="1"/>
                <p:nvPr/>
              </p:nvSpPr>
              <p:spPr>
                <a:xfrm>
                  <a:off x="5258629" y="4471277"/>
                  <a:ext cx="1414801" cy="626701"/>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algn="l" rtl="0" fontAlgn="base">
                    <a:spcBef>
                      <a:spcPct val="0"/>
                    </a:spcBef>
                    <a:spcAft>
                      <a:spcPct val="0"/>
                    </a:spcAft>
                    <a:buClr>
                      <a:schemeClr val="tx2"/>
                    </a:buClr>
                  </a:pPr>
                  <a:r>
                    <a:rPr lang="en" sz="1100" b="0" i="0" u="none" baseline="0" dirty="0">
                      <a:solidFill>
                        <a:schemeClr val="accent1">
                          <a:lumMod val="25000"/>
                        </a:schemeClr>
                      </a:solidFill>
                      <a:cs typeface="Arial"/>
                    </a:rPr>
                    <a:t>Introduction of the </a:t>
                  </a:r>
                  <a:r>
                    <a:rPr lang="en" sz="1100" dirty="0">
                      <a:solidFill>
                        <a:schemeClr val="accent1">
                          <a:lumMod val="25000"/>
                        </a:schemeClr>
                      </a:solidFill>
                      <a:cs typeface="Arial"/>
                    </a:rPr>
                    <a:t/>
                  </a:r>
                  <a:br>
                    <a:rPr lang="en" sz="1100" dirty="0">
                      <a:solidFill>
                        <a:schemeClr val="accent1">
                          <a:lumMod val="25000"/>
                        </a:schemeClr>
                      </a:solidFill>
                      <a:cs typeface="Arial"/>
                    </a:rPr>
                  </a:br>
                  <a:r>
                    <a:rPr lang="en" sz="1100" b="0" i="0" u="none" baseline="0" dirty="0">
                      <a:solidFill>
                        <a:schemeClr val="accent1">
                          <a:lumMod val="25000"/>
                        </a:schemeClr>
                      </a:solidFill>
                      <a:cs typeface="Arial"/>
                    </a:rPr>
                    <a:t>S3p</a:t>
                  </a:r>
                  <a:r>
                    <a:rPr lang="en" sz="1100" b="0" i="0" u="none" baseline="30000" dirty="0">
                      <a:solidFill>
                        <a:schemeClr val="accent1">
                          <a:lumMod val="25000"/>
                        </a:schemeClr>
                      </a:solidFill>
                      <a:cs typeface="Arial"/>
                    </a:rPr>
                    <a:t>®</a:t>
                  </a:r>
                  <a:r>
                    <a:rPr lang="en" sz="1100" b="0" i="0" u="none" baseline="0" dirty="0">
                      <a:solidFill>
                        <a:schemeClr val="accent1">
                          <a:lumMod val="25000"/>
                        </a:schemeClr>
                      </a:solidFill>
                      <a:cs typeface="Arial"/>
                    </a:rPr>
                    <a:t> technology</a:t>
                  </a:r>
                  <a:endParaRPr lang="en" sz="1100" dirty="0">
                    <a:solidFill>
                      <a:schemeClr val="accent1">
                        <a:lumMod val="25000"/>
                      </a:schemeClr>
                    </a:solidFill>
                    <a:cs typeface="Arial"/>
                  </a:endParaRPr>
                </a:p>
              </p:txBody>
            </p:sp>
            <p:sp>
              <p:nvSpPr>
                <p:cNvPr id="49" name="Textfeld 48"/>
                <p:cNvSpPr txBox="1"/>
                <p:nvPr/>
              </p:nvSpPr>
              <p:spPr>
                <a:xfrm>
                  <a:off x="4922991" y="1749379"/>
                  <a:ext cx="1692156" cy="584775"/>
                </a:xfrm>
                <a:prstGeom prst="rect">
                  <a:avLst/>
                </a:prstGeom>
                <a:noFill/>
              </p:spPr>
              <p:txBody>
                <a:bodyPr wrap="square" lIns="144000" rIns="144000" rtlCol="0">
                  <a:spAutoFit/>
                </a:bodyPr>
                <a:lstStyle/>
                <a:p>
                  <a:pPr algn="ctr" rtl="0"/>
                  <a:r>
                    <a:rPr lang="en" sz="3200" b="1" i="0" u="none" baseline="0" dirty="0">
                      <a:solidFill>
                        <a:schemeClr val="bg2"/>
                      </a:solidFill>
                      <a:effectLst>
                        <a:innerShdw blurRad="63500" dist="50800" dir="13500000">
                          <a:prstClr val="black">
                            <a:alpha val="50000"/>
                          </a:prstClr>
                        </a:innerShdw>
                      </a:effectLst>
                    </a:rPr>
                    <a:t>2011</a:t>
                  </a:r>
                  <a:endParaRPr lang="en" sz="2000" b="1" dirty="0">
                    <a:solidFill>
                      <a:schemeClr val="bg2"/>
                    </a:solidFill>
                    <a:effectLst>
                      <a:innerShdw blurRad="63500" dist="50800" dir="13500000">
                        <a:prstClr val="black">
                          <a:alpha val="50000"/>
                        </a:prstClr>
                      </a:innerShdw>
                    </a:effectLst>
                  </a:endParaRPr>
                </a:p>
              </p:txBody>
            </p:sp>
            <p:sp>
              <p:nvSpPr>
                <p:cNvPr id="50" name="Gleichschenkliges Dreieck 49"/>
                <p:cNvSpPr/>
                <p:nvPr/>
              </p:nvSpPr>
              <p:spPr>
                <a:xfrm rot="10800000">
                  <a:off x="5652120" y="3133048"/>
                  <a:ext cx="252420" cy="155150"/>
                </a:xfrm>
                <a:prstGeom prst="triangle">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grpSp>
          <p:grpSp>
            <p:nvGrpSpPr>
              <p:cNvPr id="87" name="Gruppieren 86"/>
              <p:cNvGrpSpPr/>
              <p:nvPr/>
            </p:nvGrpSpPr>
            <p:grpSpPr>
              <a:xfrm>
                <a:off x="6912364" y="2282750"/>
                <a:ext cx="711350" cy="711350"/>
                <a:chOff x="-2332037" y="1638304"/>
                <a:chExt cx="544469" cy="544469"/>
              </a:xfrm>
            </p:grpSpPr>
            <p:sp>
              <p:nvSpPr>
                <p:cNvPr id="88" name="Ellipse 87"/>
                <p:cNvSpPr/>
                <p:nvPr/>
              </p:nvSpPr>
              <p:spPr>
                <a:xfrm>
                  <a:off x="-2332037" y="1638304"/>
                  <a:ext cx="544469" cy="544469"/>
                </a:xfrm>
                <a:prstGeom prst="ellipse">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rtl="0">
                    <a:spcBef>
                      <a:spcPts val="300"/>
                    </a:spcBef>
                    <a:spcAft>
                      <a:spcPts val="300"/>
                    </a:spcAft>
                  </a:pPr>
                  <a:endParaRPr lang="en" b="1" smtClean="0">
                    <a:solidFill>
                      <a:schemeClr val="tx1"/>
                    </a:solidFill>
                  </a:endParaRPr>
                </a:p>
              </p:txBody>
            </p:sp>
            <p:sp>
              <p:nvSpPr>
                <p:cNvPr id="89" name="Ellipse 88"/>
                <p:cNvSpPr/>
                <p:nvPr/>
              </p:nvSpPr>
              <p:spPr>
                <a:xfrm>
                  <a:off x="-2251784" y="1718558"/>
                  <a:ext cx="383962" cy="383962"/>
                </a:xfrm>
                <a:prstGeom prst="ellipse">
                  <a:avLst/>
                </a:prstGeom>
                <a:solidFill>
                  <a:schemeClr val="bg2"/>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rtl="0">
                    <a:spcBef>
                      <a:spcPts val="300"/>
                    </a:spcBef>
                    <a:spcAft>
                      <a:spcPts val="300"/>
                    </a:spcAft>
                  </a:pPr>
                  <a:r>
                    <a:rPr lang="en" sz="1400" b="0" i="0" u="none" baseline="0">
                      <a:solidFill>
                        <a:schemeClr val="bg1"/>
                      </a:solidFill>
                    </a:rPr>
                    <a:t>87</a:t>
                  </a:r>
                </a:p>
              </p:txBody>
            </p:sp>
          </p:grpSp>
          <p:pic>
            <p:nvPicPr>
              <p:cNvPr id="6" name="Grafik 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757599" y="3493540"/>
                <a:ext cx="1111694" cy="768080"/>
              </a:xfrm>
              <a:prstGeom prst="rect">
                <a:avLst/>
              </a:prstGeom>
            </p:spPr>
          </p:pic>
        </p:grpSp>
        <p:sp>
          <p:nvSpPr>
            <p:cNvPr id="80" name="Textfeld 1"/>
            <p:cNvSpPr txBox="1"/>
            <p:nvPr/>
          </p:nvSpPr>
          <p:spPr>
            <a:xfrm>
              <a:off x="7040086" y="5028567"/>
              <a:ext cx="1414801" cy="457424"/>
            </a:xfrm>
            <a:prstGeom prst="rect">
              <a:avLst/>
            </a:prstGeom>
            <a:noFill/>
          </p:spPr>
          <p:txBody>
            <a:bodyPr wrap="square" lIns="36000" tIns="36000" rIns="36000" bIns="36000" rtlCol="0">
              <a:spAutoFit/>
            </a:bodyPr>
            <a:lstStyle/>
            <a:p>
              <a:pPr marL="1588" algn="l" rtl="0" fontAlgn="base">
                <a:spcBef>
                  <a:spcPct val="0"/>
                </a:spcBef>
                <a:spcAft>
                  <a:spcPct val="0"/>
                </a:spcAft>
                <a:buClr>
                  <a:schemeClr val="tx2"/>
                </a:buClr>
              </a:pPr>
              <a:r>
                <a:rPr lang="en" sz="1400" b="1" i="0" u="none" baseline="0" dirty="0">
                  <a:solidFill>
                    <a:srgbClr val="EB0000"/>
                  </a:solidFill>
                  <a:cs typeface="Arial"/>
                </a:rPr>
                <a:t>____</a:t>
              </a:r>
            </a:p>
            <a:p>
              <a:pPr marL="1588" algn="l" rtl="0" fontAlgn="base">
                <a:spcBef>
                  <a:spcPct val="0"/>
                </a:spcBef>
                <a:spcAft>
                  <a:spcPct val="0"/>
                </a:spcAft>
                <a:buClr>
                  <a:schemeClr val="tx2"/>
                </a:buClr>
              </a:pPr>
              <a:r>
                <a:rPr lang="zh-CN" altLang="en-US"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引入</a:t>
              </a:r>
              <a:r>
                <a:rPr lang="en"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S3p</a:t>
              </a:r>
              <a:r>
                <a:rPr lang="en" sz="1100" b="0" i="0" u="none" baseline="30000" dirty="0">
                  <a:solidFill>
                    <a:schemeClr val="accent1">
                      <a:lumMod val="25000"/>
                    </a:schemeClr>
                  </a:solidFill>
                  <a:latin typeface="微软雅黑" panose="020B0503020204020204" pitchFamily="34" charset="-122"/>
                  <a:ea typeface="微软雅黑" panose="020B0503020204020204" pitchFamily="34" charset="-122"/>
                  <a:cs typeface="Arial"/>
                </a:rPr>
                <a:t>®</a:t>
              </a:r>
              <a:r>
                <a:rPr lang="en" sz="1100" b="0" i="0" u="none" baseline="0" dirty="0">
                  <a:solidFill>
                    <a:schemeClr val="accent1">
                      <a:lumMod val="25000"/>
                    </a:schemeClr>
                  </a:solidFill>
                  <a:latin typeface="微软雅黑" panose="020B0503020204020204" pitchFamily="34" charset="-122"/>
                  <a:ea typeface="微软雅黑" panose="020B0503020204020204" pitchFamily="34" charset="-122"/>
                  <a:cs typeface="Arial"/>
                </a:rPr>
                <a:t> </a:t>
              </a:r>
              <a:r>
                <a:rPr lang="zh-CN" altLang="en-US" sz="1100" b="0" i="0" u="none" baseline="0" dirty="0" smtClean="0">
                  <a:solidFill>
                    <a:schemeClr val="accent1">
                      <a:lumMod val="25000"/>
                    </a:schemeClr>
                  </a:solidFill>
                  <a:latin typeface="微软雅黑" panose="020B0503020204020204" pitchFamily="34" charset="-122"/>
                  <a:ea typeface="微软雅黑" panose="020B0503020204020204" pitchFamily="34" charset="-122"/>
                  <a:cs typeface="Arial"/>
                </a:rPr>
                <a:t>技术</a:t>
              </a:r>
              <a:endParaRPr lang="en" sz="1100" dirty="0">
                <a:solidFill>
                  <a:schemeClr val="accent1">
                    <a:lumMod val="25000"/>
                  </a:schemeClr>
                </a:solidFill>
                <a:latin typeface="微软雅黑" panose="020B0503020204020204" pitchFamily="34" charset="-122"/>
                <a:ea typeface="微软雅黑" panose="020B0503020204020204" pitchFamily="34" charset="-122"/>
                <a:cs typeface="Arial"/>
              </a:endParaRPr>
            </a:p>
          </p:txBody>
        </p:sp>
      </p:grpSp>
    </p:spTree>
    <p:extLst>
      <p:ext uri="{BB962C8B-B14F-4D97-AF65-F5344CB8AC3E}">
        <p14:creationId xmlns:p14="http://schemas.microsoft.com/office/powerpoint/2010/main" val="26319646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cc1b328fea89b35294e7fdab9c529f2a44d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m.iDf5hvEOFeTeoRK.k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zSuqTFZ1EKiyJ0F2bfML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_neB7yBxFkqp0PgYX.0OI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6qN3WnwFUqnEwovuPdni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tt15lT6euEuKSpN5SV4jR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2De2ZOSNY0ieja_.OjOW1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xERNIqkkWW4MfBZTs0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3MB3wrtCEqo5nTDnciWG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kkro60iVEu0fJbmBW6_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UrHE0umFpka.scmufyL_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cbAM8Z1eUaASuhM6WXxJ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ZL_K21lfU6QO3gvAbDKi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rqp9ATbkk6svWr5lSJZV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8caBttOJ5UipgftnsR5pi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GcW26NAa2ECRBLt3tCj0x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ZBjmlENEGkSmvGUsNcHC9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m.iDf5hvEOFeTeoRK.kE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6qN3WnwFUqnEwovuPdni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zSuqTFZ1EKiyJ0F2bfM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t15lT6euEuKSpN5SV4jR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C2fHtD7M0CSS65Ih0fyu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t15lT6euEuKSpN5SV4jR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2De2ZOSNY0ieja_.OjOW1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rEKBTQuT.06OeuV4OdExd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sMacJh7TkOeLugP688vl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8caBttOJ5UipgftnsR5pi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7.xERNIqkkWW4MfBZTs0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EvBml2KB0C18yBpmV5by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5UZRkN0nEObOdgvHvXUg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7OjDGSzPU2juWTN9WbvX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LS1YD2h3UCgGByF93hY3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m24fRICDpUmvayg.JgMq4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H_1pn96AkmnHqp5lZJy7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ZCNhJUoBQ0K54mC02PswR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E4SU1krakWsuHyuT95bF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vQTsEG5Z06tTuwQbutfE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iUZTNEanIE.AFrM51Lxc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6qN3WnwFUqnEwovuPdn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UzSuqTFZ1EKiyJ0F2bfML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GuY9Q8enFU2vFRD0gvvV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EvBml2KB0C18yBpmV5by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EvBml2KB0C18yBpmV5b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EvBml2KB0C18yBpmV5b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2GGVDdavE.1bIfED3rY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5G89KGqf0yxRhf0l0G7z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N_iweDs.F0O23p2M6kXP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HDaRryLiEW1f62cim.q0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_2Pw6AkwkOa20kxPYgw8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AYANsK1mU.mqoAJ716f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_gUKhSbAY061axVH8J4z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Lm9mKcA7E.bztiAdudm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wysYDvQ_E2yF3mggj_i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cVJNHllokajHLvt_iQj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VdPoNj1Bku2HdTC9se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109jkXOJnUi.GwSJ5S0ZL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UUybHGkCkuCOPmjBXEco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KXpu7X0pEiXXRFT3TrQ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VeGkGk1ZEmcM4G7O5jf9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CyHuGXdh06ODchu.8S8Q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Nohtgt50UutOtkqofpx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2wf1AYiwkiz6uE_Vh_U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EvBml2KB0C18yBpmV5by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HlM2eT4SUG7j9BZ066J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X8jbS9ArEy9fNu3nt4u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t4fFu2F.kWLhvFFN3D.1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oHJSDdvq06PuCArJ.Adz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38ZDJO98kWDBDctITolc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OP53PqZX0ifg639BZb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p.7GsRGkmverrz43nBV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Zoa7N8UWU.f0ZPRmOJp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kHzRRBccEuGR0yXL9zu6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zZTGTXiHUOCKGTwYnM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EvBml2KB0C18yBpmV5by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zMsX491pUqXN9ASC077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hvUU3gdC0eqSTKCRAlao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B9boxEX8kSZkMkU_gM7L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2GGVDdavE.1bIfED3rY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_2Pw6AkwkOa20kxPYgw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HDaRryLiEW1f62cim.q0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5G89KGqf0yxRhf0l0G7z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AYANsK1mU.mqoAJ716f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_iweDs.F0O23p2M6kXP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ox4SnmvbEqXwVV6b2Ad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cVJNHllokajHLvt_iQjO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VdPoNj1Bku2HdTC9sem.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09jkXOJnUi.GwSJ5S0ZL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Lm9mKcA7E.bztiAdudmO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KXpu7X0pEiXXRFT3TrQi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1UUybHGkCkuCOPmjBXEc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VeGkGk1ZEmcM4G7O5jf9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_brQDG8CKkiU3hh9L0iZ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wfzJiUH2UON.CSYfo6c9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eNZIf0AK0.TyuwF4jBS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bEfOObJL0yMoBHM0D981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tt15lT6euEuKSpN5SV4jR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zrjDhLEDEGzpelDYsglx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YkmOZLUEk.AVWBhE5WBF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tAMpIqExEKsXgIc7zeek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AbdcZVuYkes2v9i2vqT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EL3YLS9fUWoOy4jGMSkV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F0GJZgrA0KhlECc5uogw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fSdCuHS1U2mULDz0fuzV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4s.n37RcECKwoFo95zpX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t15lT6euEuKSpN5SV4j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De2ZOSNY0ieja_.OjOW1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5j10HunkOl8qBROD3o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caBttOJ5UipgftnsR5p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_BEDJ16ti02agX.vCTrP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S9jH4uM8kaHaiMOqrNo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wfzJiUH2UON.CSYfo6c9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YVgs7aXfEuHNimdi9tqK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7GFbicFYzEyKp49ear1Pr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PoOJ4JP9kGl4kno__HP.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KZCI8.51Ua0KCE9Wv_pR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skGcRfrP0mY8brG_z7bD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TlEdhDs.0evhowU4BAr1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K10fiMq2ESMLeucr5oEp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73BMM6oAEKQzHSrQeeg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cW26NAa2ECRBLt3tCj0x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BjmlENEGkSmvGUsNcHC9g"/>
</p:tagLst>
</file>

<file path=ppt/theme/theme1.xml><?xml version="1.0" encoding="utf-8"?>
<a:theme xmlns:a="http://schemas.openxmlformats.org/drawingml/2006/main" name="Blank">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solidFill>
            <a:schemeClr val="accent1"/>
          </a:solidFill>
        </a:ln>
        <a:effectLst>
          <a:outerShdw blurRad="50800" dist="38100" dir="2700000" algn="tl" rotWithShape="0">
            <a:prstClr val="black">
              <a:alpha val="40000"/>
            </a:prstClr>
          </a:outerShdw>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b="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dirty="0" err="1" smtClean="0"/>
        </a:defPPr>
      </a:lstStyle>
    </a:txDef>
  </a:objectDefaults>
  <a:extraClrSchemeLst/>
</a:theme>
</file>

<file path=ppt/theme/theme2.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ppt/theme/theme3.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4436</TotalTime>
  <Words>3139</Words>
  <Application>Microsoft Office PowerPoint</Application>
  <PresentationFormat>On-screen Show (4:3)</PresentationFormat>
  <Paragraphs>650</Paragraphs>
  <Slides>29</Slides>
  <Notes>23</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4</vt:i4>
      </vt:variant>
      <vt:variant>
        <vt:lpstr>Slide Titles</vt:lpstr>
      </vt:variant>
      <vt:variant>
        <vt:i4>29</vt:i4>
      </vt:variant>
    </vt:vector>
  </HeadingPairs>
  <TitlesOfParts>
    <vt:vector size="43" baseType="lpstr">
      <vt:lpstr>HelveticaNeue LT 45 Light</vt:lpstr>
      <vt:lpstr>HelveticaNeueLT Com 45 Lt</vt:lpstr>
      <vt:lpstr>HelveticaNeueLT Com 65 Md</vt:lpstr>
      <vt:lpstr>SimSun</vt:lpstr>
      <vt:lpstr>SimSun</vt:lpstr>
      <vt:lpstr>微软雅黑</vt:lpstr>
      <vt:lpstr>Arial</vt:lpstr>
      <vt:lpstr>Calibri</vt:lpstr>
      <vt:lpstr>Wingdings</vt:lpstr>
      <vt:lpstr>Blank</vt:lpstr>
      <vt:lpstr>think-cell Folie</vt:lpstr>
      <vt:lpstr>think-cell Slide</vt:lpstr>
      <vt:lpstr>Chart</vt:lpstr>
      <vt:lpstr>Graph</vt:lpstr>
      <vt:lpstr>BALINIT® 新涂层助力齿轮加工   </vt:lpstr>
      <vt:lpstr>PowerPoint Presentation</vt:lpstr>
      <vt:lpstr>Core expertise: Surface Solutions 核心业务：表面处理</vt:lpstr>
      <vt:lpstr>Key facts 重要事实 Surface Solutions Segment表面处理事业板块</vt:lpstr>
      <vt:lpstr>Business Units in the Surface Solutions Segment表面处理事业板块业务单元  </vt:lpstr>
      <vt:lpstr>Key facts 重要事实 Business Unit Balzers Industrial Solutions 巴尔查斯工业解决方案事业单元</vt:lpstr>
      <vt:lpstr>Balzers Industrial Solutions 巴尔查斯工业解决方案 </vt:lpstr>
      <vt:lpstr>Milestones in our history  我们历史上的重要里程碑 </vt:lpstr>
      <vt:lpstr>PowerPoint Presentation</vt:lpstr>
      <vt:lpstr>PowerPoint Presentation</vt:lpstr>
      <vt:lpstr>Close to you – Anywhere in the world: The Tools customer centres 在您身边-无论您在何处：工具客户中心</vt:lpstr>
      <vt:lpstr>PowerPoint Presentation</vt:lpstr>
      <vt:lpstr>Production workflow for tool coatings 工具涂层生产流程</vt:lpstr>
      <vt:lpstr>Key statements in gear cutting application 齿轮加工应用中的关键陈述 </vt:lpstr>
      <vt:lpstr>Productivity is the key 生产率是关键</vt:lpstr>
      <vt:lpstr>Reduction of manufacturing costs制造成本的减少 Example Gear Cutting齿轮加工案列</vt:lpstr>
      <vt:lpstr>The acceleration of gear cutting speeds in the last 35 years在过去35年齿轮加工速度的提升</vt:lpstr>
      <vt:lpstr>BALINIT® ALCRONA PRO  Facts and figures事实和数据 </vt:lpstr>
      <vt:lpstr>BALINIT® ALCRONA PRO is impressive in hobbing BALINIT® ALCRONA PRO应用于滚刀</vt:lpstr>
      <vt:lpstr>Shift up a gear with BALINIT ALTENSA! 采用BALINIT ALTENSA 提高齿轮加工速度</vt:lpstr>
      <vt:lpstr>High-end coating properties for high-speed gear-cutting applications高端涂层应用在高速齿轮加工</vt:lpstr>
      <vt:lpstr>BALINIT ALTENSA – Benefits at a glance BALINIT ALTENSA—优势一瞥</vt:lpstr>
      <vt:lpstr>BALINIT ALTENSA impresses in various high-end gear-cutting applications BALINIT ALTENSA应用于各种高端齿轮加工 </vt:lpstr>
      <vt:lpstr>Lab tests: convincing results at high-speed cutting 实验室测试：在高速加工中令人信服的结果</vt:lpstr>
      <vt:lpstr>Customer test 1: 30% increase in cutting speed results in 20% longer tool life 客户测试1：切削速度提高30%，结果提高20%刀具寿命 </vt:lpstr>
      <vt:lpstr>Customer test 2: Increasing the speed to 300 m/min – still the same long tool life  客户测试2：速度提高到300米/分钟—相同的刀具寿命</vt:lpstr>
      <vt:lpstr>Speeding up to 300m/min results in  20% savings in machine costs 速度提高到300米/分钟的结果节省了20%的生产成本</vt:lpstr>
      <vt:lpstr>PM-HSS hob: Confirmed results at high speed PM-HSS滚刀：在高速加工下验证的结果</vt:lpstr>
      <vt:lpstr>Thank you! 谢谢！  Time for questions and answers 提问回答时间</vt:lpstr>
    </vt:vector>
  </TitlesOfParts>
  <Company>Oerlik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gment Surface Solutions Oerlikon Balzers</dc:title>
  <dc:creator>Jin, Ray (Oerlikon China)</dc:creator>
  <cp:lastModifiedBy>Jin, Ray (Oerlikon China)</cp:lastModifiedBy>
  <cp:revision>149</cp:revision>
  <cp:lastPrinted>2013-08-16T07:49:43Z</cp:lastPrinted>
  <dcterms:created xsi:type="dcterms:W3CDTF">2014-07-15T02:55:51Z</dcterms:created>
  <dcterms:modified xsi:type="dcterms:W3CDTF">2017-05-15T02:39:59Z</dcterms:modified>
</cp:coreProperties>
</file>